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33"/>
  </p:notesMasterIdLst>
  <p:handoutMasterIdLst>
    <p:handoutMasterId r:id="rId34"/>
  </p:handoutMasterIdLst>
  <p:sldIdLst>
    <p:sldId id="322" r:id="rId5"/>
    <p:sldId id="2147468921" r:id="rId6"/>
    <p:sldId id="2147471532" r:id="rId7"/>
    <p:sldId id="2147468923" r:id="rId8"/>
    <p:sldId id="2147471533" r:id="rId9"/>
    <p:sldId id="2147471535" r:id="rId10"/>
    <p:sldId id="2147471534" r:id="rId11"/>
    <p:sldId id="2147470274" r:id="rId12"/>
    <p:sldId id="2147468918" r:id="rId13"/>
    <p:sldId id="2147468925" r:id="rId14"/>
    <p:sldId id="2147468926" r:id="rId15"/>
    <p:sldId id="2147470268" r:id="rId16"/>
    <p:sldId id="2147470269" r:id="rId17"/>
    <p:sldId id="2147470270" r:id="rId18"/>
    <p:sldId id="2147470278" r:id="rId19"/>
    <p:sldId id="278" r:id="rId20"/>
    <p:sldId id="277" r:id="rId21"/>
    <p:sldId id="259" r:id="rId22"/>
    <p:sldId id="282" r:id="rId23"/>
    <p:sldId id="2147470279" r:id="rId24"/>
    <p:sldId id="2147471512" r:id="rId25"/>
    <p:sldId id="2147471531" r:id="rId26"/>
    <p:sldId id="2147468934" r:id="rId27"/>
    <p:sldId id="2147468936" r:id="rId28"/>
    <p:sldId id="2147468929" r:id="rId29"/>
    <p:sldId id="2147468930" r:id="rId30"/>
    <p:sldId id="2147468931" r:id="rId31"/>
    <p:sldId id="2147470275" r:id="rId32"/>
  </p:sldIdLst>
  <p:sldSz cx="12192000" cy="6858000"/>
  <p:notesSz cx="7023100" cy="93091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36CA690-CF08-45C1-BAE9-6BFF6770C28F}">
          <p14:sldIdLst>
            <p14:sldId id="322"/>
            <p14:sldId id="2147468921"/>
            <p14:sldId id="2147471532"/>
            <p14:sldId id="2147468923"/>
            <p14:sldId id="2147471533"/>
            <p14:sldId id="2147471535"/>
            <p14:sldId id="2147471534"/>
            <p14:sldId id="2147470274"/>
            <p14:sldId id="2147468918"/>
            <p14:sldId id="2147468925"/>
            <p14:sldId id="2147468926"/>
            <p14:sldId id="2147470268"/>
            <p14:sldId id="2147470269"/>
            <p14:sldId id="2147470270"/>
            <p14:sldId id="2147470278"/>
            <p14:sldId id="278"/>
            <p14:sldId id="277"/>
            <p14:sldId id="259"/>
            <p14:sldId id="282"/>
            <p14:sldId id="2147470279"/>
            <p14:sldId id="2147471512"/>
            <p14:sldId id="2147471531"/>
            <p14:sldId id="2147468934"/>
            <p14:sldId id="2147468936"/>
            <p14:sldId id="2147468929"/>
            <p14:sldId id="2147468930"/>
            <p14:sldId id="2147468931"/>
            <p14:sldId id="21474702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9CA0"/>
    <a:srgbClr val="F4F4F4"/>
    <a:srgbClr val="DA291C"/>
    <a:srgbClr val="FE8A12"/>
    <a:srgbClr val="F4C65A"/>
    <a:srgbClr val="FFE2C4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man, Michael" userId="9c148986-6c84-478c-a607-a222e9a3f06f" providerId="ADAL" clId="{5AE52689-A230-4CFE-823C-E55B361021D7}"/>
    <pc:docChg chg="undo custSel addSld delSld modSld sldOrd modSection">
      <pc:chgData name="Markman, Michael" userId="9c148986-6c84-478c-a607-a222e9a3f06f" providerId="ADAL" clId="{5AE52689-A230-4CFE-823C-E55B361021D7}" dt="2023-02-16T01:42:00.826" v="1981" actId="478"/>
      <pc:docMkLst>
        <pc:docMk/>
      </pc:docMkLst>
      <pc:sldChg chg="modSp mod">
        <pc:chgData name="Markman, Michael" userId="9c148986-6c84-478c-a607-a222e9a3f06f" providerId="ADAL" clId="{5AE52689-A230-4CFE-823C-E55B361021D7}" dt="2023-02-15T22:27:58.589" v="4" actId="20577"/>
        <pc:sldMkLst>
          <pc:docMk/>
          <pc:sldMk cId="1997426286" sldId="322"/>
        </pc:sldMkLst>
        <pc:spChg chg="mod">
          <ac:chgData name="Markman, Michael" userId="9c148986-6c84-478c-a607-a222e9a3f06f" providerId="ADAL" clId="{5AE52689-A230-4CFE-823C-E55B361021D7}" dt="2023-02-15T22:27:58.589" v="4" actId="20577"/>
          <ac:spMkLst>
            <pc:docMk/>
            <pc:sldMk cId="1997426286" sldId="322"/>
            <ac:spMk id="7" creationId="{9BCBC527-C297-40F2-9FF9-708EEFB8FD75}"/>
          </ac:spMkLst>
        </pc:spChg>
      </pc:sldChg>
      <pc:sldChg chg="addSp delSp modSp mod">
        <pc:chgData name="Markman, Michael" userId="9c148986-6c84-478c-a607-a222e9a3f06f" providerId="ADAL" clId="{5AE52689-A230-4CFE-823C-E55B361021D7}" dt="2023-02-16T01:29:35.471" v="1848" actId="120"/>
        <pc:sldMkLst>
          <pc:docMk/>
          <pc:sldMk cId="1153162639" sldId="2147468918"/>
        </pc:sldMkLst>
        <pc:spChg chg="mod">
          <ac:chgData name="Markman, Michael" userId="9c148986-6c84-478c-a607-a222e9a3f06f" providerId="ADAL" clId="{5AE52689-A230-4CFE-823C-E55B361021D7}" dt="2023-02-16T01:29:31.140" v="1847" actId="120"/>
          <ac:spMkLst>
            <pc:docMk/>
            <pc:sldMk cId="1153162639" sldId="2147468918"/>
            <ac:spMk id="8" creationId="{FCB7AB1A-0689-4793-8B55-8CCECE2348F9}"/>
          </ac:spMkLst>
        </pc:spChg>
        <pc:spChg chg="mod">
          <ac:chgData name="Markman, Michael" userId="9c148986-6c84-478c-a607-a222e9a3f06f" providerId="ADAL" clId="{5AE52689-A230-4CFE-823C-E55B361021D7}" dt="2023-02-16T01:26:45.918" v="1837" actId="14100"/>
          <ac:spMkLst>
            <pc:docMk/>
            <pc:sldMk cId="1153162639" sldId="2147468918"/>
            <ac:spMk id="13" creationId="{FC9754E2-F0DF-4ACB-8FFE-6607F1D06DCC}"/>
          </ac:spMkLst>
        </pc:spChg>
        <pc:spChg chg="del">
          <ac:chgData name="Markman, Michael" userId="9c148986-6c84-478c-a607-a222e9a3f06f" providerId="ADAL" clId="{5AE52689-A230-4CFE-823C-E55B361021D7}" dt="2023-02-16T01:26:47.971" v="1838" actId="478"/>
          <ac:spMkLst>
            <pc:docMk/>
            <pc:sldMk cId="1153162639" sldId="2147468918"/>
            <ac:spMk id="16" creationId="{75D56E92-42AB-41BF-BE17-421F31F02DF6}"/>
          </ac:spMkLst>
        </pc:spChg>
        <pc:spChg chg="add mod">
          <ac:chgData name="Markman, Michael" userId="9c148986-6c84-478c-a607-a222e9a3f06f" providerId="ADAL" clId="{5AE52689-A230-4CFE-823C-E55B361021D7}" dt="2023-02-16T01:26:56.572" v="1839"/>
          <ac:spMkLst>
            <pc:docMk/>
            <pc:sldMk cId="1153162639" sldId="2147468918"/>
            <ac:spMk id="49" creationId="{836769A5-1DD4-48E2-BBCE-40FE2D884AA8}"/>
          </ac:spMkLst>
        </pc:spChg>
        <pc:spChg chg="mod">
          <ac:chgData name="Markman, Michael" userId="9c148986-6c84-478c-a607-a222e9a3f06f" providerId="ADAL" clId="{5AE52689-A230-4CFE-823C-E55B361021D7}" dt="2023-02-16T01:29:35.471" v="1848" actId="120"/>
          <ac:spMkLst>
            <pc:docMk/>
            <pc:sldMk cId="1153162639" sldId="2147468918"/>
            <ac:spMk id="58" creationId="{8B175991-4FDD-4605-8513-783EA38CBA9D}"/>
          </ac:spMkLst>
        </pc:spChg>
      </pc:sldChg>
      <pc:sldChg chg="del">
        <pc:chgData name="Markman, Michael" userId="9c148986-6c84-478c-a607-a222e9a3f06f" providerId="ADAL" clId="{5AE52689-A230-4CFE-823C-E55B361021D7}" dt="2023-02-16T01:26:07.274" v="1827" actId="47"/>
        <pc:sldMkLst>
          <pc:docMk/>
          <pc:sldMk cId="62883760" sldId="2147468920"/>
        </pc:sldMkLst>
      </pc:sldChg>
      <pc:sldChg chg="del">
        <pc:chgData name="Markman, Michael" userId="9c148986-6c84-478c-a607-a222e9a3f06f" providerId="ADAL" clId="{5AE52689-A230-4CFE-823C-E55B361021D7}" dt="2023-02-15T22:55:00.996" v="990" actId="47"/>
        <pc:sldMkLst>
          <pc:docMk/>
          <pc:sldMk cId="1588101317" sldId="2147468922"/>
        </pc:sldMkLst>
      </pc:sldChg>
      <pc:sldChg chg="addSp delSp modSp mod">
        <pc:chgData name="Markman, Michael" userId="9c148986-6c84-478c-a607-a222e9a3f06f" providerId="ADAL" clId="{5AE52689-A230-4CFE-823C-E55B361021D7}" dt="2023-02-15T22:53:26.277" v="989" actId="1035"/>
        <pc:sldMkLst>
          <pc:docMk/>
          <pc:sldMk cId="2317239546" sldId="2147468923"/>
        </pc:sldMkLst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2" creationId="{1E24D284-1A44-4399-BC51-1B5B0E357792}"/>
          </ac:spMkLst>
        </pc:spChg>
        <pc:spChg chg="del mod">
          <ac:chgData name="Markman, Michael" userId="9c148986-6c84-478c-a607-a222e9a3f06f" providerId="ADAL" clId="{5AE52689-A230-4CFE-823C-E55B361021D7}" dt="2023-02-15T22:33:04.796" v="53" actId="478"/>
          <ac:spMkLst>
            <pc:docMk/>
            <pc:sldMk cId="2317239546" sldId="2147468923"/>
            <ac:spMk id="3" creationId="{321CB8E8-8B5D-4210-A76D-A12BC88E5E0A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0" creationId="{BEB62742-61D8-4859-BF6D-E68B662CCE7B}"/>
          </ac:spMkLst>
        </pc:spChg>
        <pc:spChg chg="del">
          <ac:chgData name="Markman, Michael" userId="9c148986-6c84-478c-a607-a222e9a3f06f" providerId="ADAL" clId="{5AE52689-A230-4CFE-823C-E55B361021D7}" dt="2023-02-15T22:46:06.022" v="748" actId="478"/>
          <ac:spMkLst>
            <pc:docMk/>
            <pc:sldMk cId="2317239546" sldId="2147468923"/>
            <ac:spMk id="32" creationId="{2E62D5A3-4FAC-4387-8542-853FC0228CD3}"/>
          </ac:spMkLst>
        </pc:spChg>
        <pc:spChg chg="del mod">
          <ac:chgData name="Markman, Michael" userId="9c148986-6c84-478c-a607-a222e9a3f06f" providerId="ADAL" clId="{5AE52689-A230-4CFE-823C-E55B361021D7}" dt="2023-02-15T22:40:12.967" v="404" actId="478"/>
          <ac:spMkLst>
            <pc:docMk/>
            <pc:sldMk cId="2317239546" sldId="2147468923"/>
            <ac:spMk id="40" creationId="{3C04BD05-A688-4DA7-A9AF-A228FD29531B}"/>
          </ac:spMkLst>
        </pc:spChg>
        <pc:spChg chg="del mod">
          <ac:chgData name="Markman, Michael" userId="9c148986-6c84-478c-a607-a222e9a3f06f" providerId="ADAL" clId="{5AE52689-A230-4CFE-823C-E55B361021D7}" dt="2023-02-15T22:45:58.982" v="742" actId="478"/>
          <ac:spMkLst>
            <pc:docMk/>
            <pc:sldMk cId="2317239546" sldId="2147468923"/>
            <ac:spMk id="41" creationId="{947E9BD3-DCE2-42DB-B393-F001331F1CFF}"/>
          </ac:spMkLst>
        </pc:spChg>
        <pc:spChg chg="del">
          <ac:chgData name="Markman, Michael" userId="9c148986-6c84-478c-a607-a222e9a3f06f" providerId="ADAL" clId="{5AE52689-A230-4CFE-823C-E55B361021D7}" dt="2023-02-15T22:46:02.566" v="745" actId="478"/>
          <ac:spMkLst>
            <pc:docMk/>
            <pc:sldMk cId="2317239546" sldId="2147468923"/>
            <ac:spMk id="42" creationId="{B17FF87F-2467-4D52-8349-9E9405A8D403}"/>
          </ac:spMkLst>
        </pc:spChg>
        <pc:spChg chg="del mod">
          <ac:chgData name="Markman, Michael" userId="9c148986-6c84-478c-a607-a222e9a3f06f" providerId="ADAL" clId="{5AE52689-A230-4CFE-823C-E55B361021D7}" dt="2023-02-15T22:40:11.951" v="403" actId="478"/>
          <ac:spMkLst>
            <pc:docMk/>
            <pc:sldMk cId="2317239546" sldId="2147468923"/>
            <ac:spMk id="43" creationId="{E9B7412F-2121-433A-82A0-9A659FF95458}"/>
          </ac:spMkLst>
        </pc:spChg>
        <pc:spChg chg="del mod">
          <ac:chgData name="Markman, Michael" userId="9c148986-6c84-478c-a607-a222e9a3f06f" providerId="ADAL" clId="{5AE52689-A230-4CFE-823C-E55B361021D7}" dt="2023-02-15T22:40:13.512" v="405" actId="478"/>
          <ac:spMkLst>
            <pc:docMk/>
            <pc:sldMk cId="2317239546" sldId="2147468923"/>
            <ac:spMk id="44" creationId="{5FF9BE4A-6BEC-4193-938F-17DB2497111C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46" creationId="{23CF944E-CB80-4F20-A23F-BA7F7E1BEA1B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98" creationId="{65CBAD66-2B5B-4AE5-B913-43914A3AEAB2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99" creationId="{FDFDCDCD-6912-4201-B5E5-67FF7140FA8E}"/>
          </ac:spMkLst>
        </pc:spChg>
        <pc:spChg chg="add del 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00" creationId="{6723469C-2E30-43F8-8B97-15681796CD5A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01" creationId="{C2A2EABC-EF3D-423A-A724-3C0C29AE0DFC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02" creationId="{AC571002-ADB6-414E-8949-7531056C4958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10" creationId="{CA6B4F63-FCF2-483F-BF15-129AD6A209A3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12" creationId="{6758EBD3-5C0D-45D9-9734-66ED4584D0F6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14" creationId="{D8047237-C9B4-4F19-9372-3730A3724DDC}"/>
          </ac:spMkLst>
        </pc:spChg>
        <pc:spChg chg="mod">
          <ac:chgData name="Markman, Michael" userId="9c148986-6c84-478c-a607-a222e9a3f06f" providerId="ADAL" clId="{5AE52689-A230-4CFE-823C-E55B361021D7}" dt="2023-02-15T22:53:26.277" v="989" actId="1035"/>
          <ac:spMkLst>
            <pc:docMk/>
            <pc:sldMk cId="2317239546" sldId="2147468923"/>
            <ac:spMk id="116" creationId="{C36A27D4-6058-4ECC-9461-3D3461EA1ED2}"/>
          </ac:spMkLst>
        </pc:spChg>
        <pc:spChg chg="del mod">
          <ac:chgData name="Markman, Michael" userId="9c148986-6c84-478c-a607-a222e9a3f06f" providerId="ADAL" clId="{5AE52689-A230-4CFE-823C-E55B361021D7}" dt="2023-02-15T22:40:14.391" v="406" actId="478"/>
          <ac:spMkLst>
            <pc:docMk/>
            <pc:sldMk cId="2317239546" sldId="2147468923"/>
            <ac:spMk id="117" creationId="{49395D8D-C914-4255-A61C-A38BEF2A00D6}"/>
          </ac:spMkLst>
        </pc:spChg>
        <pc:spChg chg="del mod">
          <ac:chgData name="Markman, Michael" userId="9c148986-6c84-478c-a607-a222e9a3f06f" providerId="ADAL" clId="{5AE52689-A230-4CFE-823C-E55B361021D7}" dt="2023-02-15T22:40:10.311" v="401" actId="478"/>
          <ac:spMkLst>
            <pc:docMk/>
            <pc:sldMk cId="2317239546" sldId="2147468923"/>
            <ac:spMk id="118" creationId="{FAAA05A0-6175-4A4B-AA47-4AFFE37EBD00}"/>
          </ac:spMkLst>
        </pc:spChg>
        <pc:spChg chg="del mod">
          <ac:chgData name="Markman, Michael" userId="9c148986-6c84-478c-a607-a222e9a3f06f" providerId="ADAL" clId="{5AE52689-A230-4CFE-823C-E55B361021D7}" dt="2023-02-15T22:40:11.360" v="402" actId="478"/>
          <ac:spMkLst>
            <pc:docMk/>
            <pc:sldMk cId="2317239546" sldId="2147468923"/>
            <ac:spMk id="119" creationId="{252FF2B7-9EEC-43BF-9F29-64291B2381A9}"/>
          </ac:spMkLst>
        </pc:spChg>
        <pc:spChg chg="del mod">
          <ac:chgData name="Markman, Michael" userId="9c148986-6c84-478c-a607-a222e9a3f06f" providerId="ADAL" clId="{5AE52689-A230-4CFE-823C-E55B361021D7}" dt="2023-02-15T22:40:09.423" v="400" actId="478"/>
          <ac:spMkLst>
            <pc:docMk/>
            <pc:sldMk cId="2317239546" sldId="2147468923"/>
            <ac:spMk id="120" creationId="{EFB1EB6B-3959-4F99-A80B-4AE88417DF75}"/>
          </ac:spMkLst>
        </pc:spChg>
        <pc:spChg chg="del mod">
          <ac:chgData name="Markman, Michael" userId="9c148986-6c84-478c-a607-a222e9a3f06f" providerId="ADAL" clId="{5AE52689-A230-4CFE-823C-E55B361021D7}" dt="2023-02-15T22:40:07.727" v="398" actId="478"/>
          <ac:spMkLst>
            <pc:docMk/>
            <pc:sldMk cId="2317239546" sldId="2147468923"/>
            <ac:spMk id="122" creationId="{582A530A-6BA4-498B-BD2A-84DB25907BE4}"/>
          </ac:spMkLst>
        </pc:spChg>
        <pc:spChg chg="del mod">
          <ac:chgData name="Markman, Michael" userId="9c148986-6c84-478c-a607-a222e9a3f06f" providerId="ADAL" clId="{5AE52689-A230-4CFE-823C-E55B361021D7}" dt="2023-02-15T22:40:08.807" v="399" actId="478"/>
          <ac:spMkLst>
            <pc:docMk/>
            <pc:sldMk cId="2317239546" sldId="2147468923"/>
            <ac:spMk id="123" creationId="{341164AA-24F1-408C-B1D6-2DD9B961F213}"/>
          </ac:spMkLst>
        </pc:spChg>
        <pc:spChg chg="del">
          <ac:chgData name="Markman, Michael" userId="9c148986-6c84-478c-a607-a222e9a3f06f" providerId="ADAL" clId="{5AE52689-A230-4CFE-823C-E55B361021D7}" dt="2023-02-15T22:46:03.845" v="746" actId="478"/>
          <ac:spMkLst>
            <pc:docMk/>
            <pc:sldMk cId="2317239546" sldId="2147468923"/>
            <ac:spMk id="125" creationId="{08D31AA9-59E9-4068-8C1F-013E081B00BC}"/>
          </ac:spMkLst>
        </pc:spChg>
        <pc:spChg chg="del">
          <ac:chgData name="Markman, Michael" userId="9c148986-6c84-478c-a607-a222e9a3f06f" providerId="ADAL" clId="{5AE52689-A230-4CFE-823C-E55B361021D7}" dt="2023-02-15T22:46:04.942" v="747" actId="478"/>
          <ac:spMkLst>
            <pc:docMk/>
            <pc:sldMk cId="2317239546" sldId="2147468923"/>
            <ac:spMk id="127" creationId="{01E0269B-E57D-46AE-840E-8AD2281CC2BD}"/>
          </ac:spMkLst>
        </pc:spChg>
        <pc:picChg chg="add del mod">
          <ac:chgData name="Markman, Michael" userId="9c148986-6c84-478c-a607-a222e9a3f06f" providerId="ADAL" clId="{5AE52689-A230-4CFE-823C-E55B361021D7}" dt="2023-02-15T22:48:03.887" v="802" actId="478"/>
          <ac:picMkLst>
            <pc:docMk/>
            <pc:sldMk cId="2317239546" sldId="2147468923"/>
            <ac:picMk id="5" creationId="{AF0550CA-ED8F-4F8A-9159-35C0609BBD96}"/>
          </ac:picMkLst>
        </pc:picChg>
        <pc:picChg chg="add 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6" creationId="{B78A1BCE-AFCA-4D23-9EC8-A07382C222D3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35" creationId="{D51AFA13-560F-4EE3-850E-74CF60C39439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36" creationId="{65579B54-9B52-4985-870E-B5ED7176A75E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37" creationId="{0D4D7AA3-7EDF-4B6A-B123-1D0F37EB995A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38" creationId="{35F1198A-F902-46A3-86AD-A0E10841DF08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39" creationId="{6BC5B668-8967-4EDA-96D7-A894BA3BCE08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4" creationId="{6F4952E9-E41B-430D-901B-3184786B2C1B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5" creationId="{1F64CCBC-BEB4-415D-BEC5-47B97F66A686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6" creationId="{9C0E47EA-A7A6-451F-866D-0E06581450DE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7" creationId="{F44E491B-2905-4487-9855-2320C995C987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8" creationId="{292804A1-3BD2-41DA-992C-83EA3234154A}"/>
          </ac:picMkLst>
        </pc:picChg>
        <pc:picChg chg="mod">
          <ac:chgData name="Markman, Michael" userId="9c148986-6c84-478c-a607-a222e9a3f06f" providerId="ADAL" clId="{5AE52689-A230-4CFE-823C-E55B361021D7}" dt="2023-02-15T22:53:26.277" v="989" actId="1035"/>
          <ac:picMkLst>
            <pc:docMk/>
            <pc:sldMk cId="2317239546" sldId="2147468923"/>
            <ac:picMk id="109" creationId="{613D7137-CE41-469B-8906-3E32386D6D36}"/>
          </ac:picMkLst>
        </pc:picChg>
        <pc:cxnChg chg="add 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8" creationId="{56E0B5C4-50F9-47BE-A9BE-41E10370C7CA}"/>
          </ac:cxnSpMkLst>
        </pc:cxnChg>
        <pc:cxnChg chg="add 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12" creationId="{7569472A-47D6-44DF-BBC6-40B3EE07BEB2}"/>
          </ac:cxnSpMkLst>
        </pc:cxnChg>
        <pc:cxnChg chg="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103" creationId="{8E47C368-5987-4738-A654-2A1295F58130}"/>
          </ac:cxnSpMkLst>
        </pc:cxnChg>
        <pc:cxnChg chg="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111" creationId="{CB7FFF87-3D87-4A3B-AA17-0C557FDF67D2}"/>
          </ac:cxnSpMkLst>
        </pc:cxnChg>
        <pc:cxnChg chg="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113" creationId="{D02A653B-6139-4BF6-ABB5-174A162AABC3}"/>
          </ac:cxnSpMkLst>
        </pc:cxnChg>
        <pc:cxnChg chg="mod">
          <ac:chgData name="Markman, Michael" userId="9c148986-6c84-478c-a607-a222e9a3f06f" providerId="ADAL" clId="{5AE52689-A230-4CFE-823C-E55B361021D7}" dt="2023-02-15T22:53:26.277" v="989" actId="1035"/>
          <ac:cxnSpMkLst>
            <pc:docMk/>
            <pc:sldMk cId="2317239546" sldId="2147468923"/>
            <ac:cxnSpMk id="115" creationId="{53D9D581-2864-4A5E-88AB-226C0506FA86}"/>
          </ac:cxnSpMkLst>
        </pc:cxnChg>
      </pc:sldChg>
      <pc:sldChg chg="del">
        <pc:chgData name="Markman, Michael" userId="9c148986-6c84-478c-a607-a222e9a3f06f" providerId="ADAL" clId="{5AE52689-A230-4CFE-823C-E55B361021D7}" dt="2023-02-16T01:26:08.234" v="1828" actId="47"/>
        <pc:sldMkLst>
          <pc:docMk/>
          <pc:sldMk cId="1348040323" sldId="2147468924"/>
        </pc:sldMkLst>
      </pc:sldChg>
      <pc:sldChg chg="modSp mod">
        <pc:chgData name="Markman, Michael" userId="9c148986-6c84-478c-a607-a222e9a3f06f" providerId="ADAL" clId="{5AE52689-A230-4CFE-823C-E55B361021D7}" dt="2023-02-16T01:41:09.260" v="1904" actId="6549"/>
        <pc:sldMkLst>
          <pc:docMk/>
          <pc:sldMk cId="2746920633" sldId="2147468925"/>
        </pc:sldMkLst>
        <pc:spChg chg="mod">
          <ac:chgData name="Markman, Michael" userId="9c148986-6c84-478c-a607-a222e9a3f06f" providerId="ADAL" clId="{5AE52689-A230-4CFE-823C-E55B361021D7}" dt="2023-02-16T01:41:09.260" v="1904" actId="6549"/>
          <ac:spMkLst>
            <pc:docMk/>
            <pc:sldMk cId="2746920633" sldId="2147468925"/>
            <ac:spMk id="119" creationId="{01FF74B0-D75A-4646-8574-67A754037477}"/>
          </ac:spMkLst>
        </pc:spChg>
      </pc:sldChg>
      <pc:sldChg chg="modSp mod ord">
        <pc:chgData name="Markman, Michael" userId="9c148986-6c84-478c-a607-a222e9a3f06f" providerId="ADAL" clId="{5AE52689-A230-4CFE-823C-E55B361021D7}" dt="2023-02-16T01:41:25.698" v="1931" actId="20577"/>
        <pc:sldMkLst>
          <pc:docMk/>
          <pc:sldMk cId="2567192912" sldId="2147468926"/>
        </pc:sldMkLst>
        <pc:spChg chg="mod">
          <ac:chgData name="Markman, Michael" userId="9c148986-6c84-478c-a607-a222e9a3f06f" providerId="ADAL" clId="{5AE52689-A230-4CFE-823C-E55B361021D7}" dt="2023-02-16T01:41:25.698" v="1931" actId="20577"/>
          <ac:spMkLst>
            <pc:docMk/>
            <pc:sldMk cId="2567192912" sldId="2147468926"/>
            <ac:spMk id="55" creationId="{69C19082-B3DD-4DC2-B418-809B4149C090}"/>
          </ac:spMkLst>
        </pc:spChg>
      </pc:sldChg>
      <pc:sldChg chg="del">
        <pc:chgData name="Markman, Michael" userId="9c148986-6c84-478c-a607-a222e9a3f06f" providerId="ADAL" clId="{5AE52689-A230-4CFE-823C-E55B361021D7}" dt="2023-02-15T22:55:05.142" v="991" actId="47"/>
        <pc:sldMkLst>
          <pc:docMk/>
          <pc:sldMk cId="2627694641" sldId="2147468927"/>
        </pc:sldMkLst>
      </pc:sldChg>
      <pc:sldChg chg="del">
        <pc:chgData name="Markman, Michael" userId="9c148986-6c84-478c-a607-a222e9a3f06f" providerId="ADAL" clId="{5AE52689-A230-4CFE-823C-E55B361021D7}" dt="2023-02-16T01:28:07.077" v="1844" actId="47"/>
        <pc:sldMkLst>
          <pc:docMk/>
          <pc:sldMk cId="4217499756" sldId="2147468928"/>
        </pc:sldMkLst>
      </pc:sldChg>
      <pc:sldChg chg="modSp mod ord">
        <pc:chgData name="Markman, Michael" userId="9c148986-6c84-478c-a607-a222e9a3f06f" providerId="ADAL" clId="{5AE52689-A230-4CFE-823C-E55B361021D7}" dt="2023-02-16T01:40:50.409" v="1893"/>
        <pc:sldMkLst>
          <pc:docMk/>
          <pc:sldMk cId="2757120923" sldId="2147468929"/>
        </pc:sldMkLst>
        <pc:spChg chg="mod">
          <ac:chgData name="Markman, Michael" userId="9c148986-6c84-478c-a607-a222e9a3f06f" providerId="ADAL" clId="{5AE52689-A230-4CFE-823C-E55B361021D7}" dt="2023-02-16T01:31:40.462" v="1866" actId="6549"/>
          <ac:spMkLst>
            <pc:docMk/>
            <pc:sldMk cId="2757120923" sldId="2147468929"/>
            <ac:spMk id="2" creationId="{0BAB47CA-6502-4141-9EF9-81C9261C39EF}"/>
          </ac:spMkLst>
        </pc:spChg>
        <pc:spChg chg="mod">
          <ac:chgData name="Markman, Michael" userId="9c148986-6c84-478c-a607-a222e9a3f06f" providerId="ADAL" clId="{5AE52689-A230-4CFE-823C-E55B361021D7}" dt="2023-02-16T01:31:54.978" v="1874" actId="120"/>
          <ac:spMkLst>
            <pc:docMk/>
            <pc:sldMk cId="2757120923" sldId="2147468929"/>
            <ac:spMk id="8" creationId="{FCB7AB1A-0689-4793-8B55-8CCECE2348F9}"/>
          </ac:spMkLst>
        </pc:spChg>
        <pc:spChg chg="mod">
          <ac:chgData name="Markman, Michael" userId="9c148986-6c84-478c-a607-a222e9a3f06f" providerId="ADAL" clId="{5AE52689-A230-4CFE-823C-E55B361021D7}" dt="2023-02-16T01:31:48.661" v="1873" actId="20577"/>
          <ac:spMkLst>
            <pc:docMk/>
            <pc:sldMk cId="2757120923" sldId="2147468929"/>
            <ac:spMk id="41" creationId="{EBE82867-6B13-4C8E-8EA7-0268B59B58B8}"/>
          </ac:spMkLst>
        </pc:spChg>
        <pc:spChg chg="mod">
          <ac:chgData name="Markman, Michael" userId="9c148986-6c84-478c-a607-a222e9a3f06f" providerId="ADAL" clId="{5AE52689-A230-4CFE-823C-E55B361021D7}" dt="2023-02-16T01:31:57.391" v="1875" actId="120"/>
          <ac:spMkLst>
            <pc:docMk/>
            <pc:sldMk cId="2757120923" sldId="2147468929"/>
            <ac:spMk id="58" creationId="{8B175991-4FDD-4605-8513-783EA38CBA9D}"/>
          </ac:spMkLst>
        </pc:spChg>
      </pc:sldChg>
      <pc:sldChg chg="ord">
        <pc:chgData name="Markman, Michael" userId="9c148986-6c84-478c-a607-a222e9a3f06f" providerId="ADAL" clId="{5AE52689-A230-4CFE-823C-E55B361021D7}" dt="2023-02-16T01:40:50.409" v="1893"/>
        <pc:sldMkLst>
          <pc:docMk/>
          <pc:sldMk cId="1827812938" sldId="2147468930"/>
        </pc:sldMkLst>
      </pc:sldChg>
      <pc:sldChg chg="ord">
        <pc:chgData name="Markman, Michael" userId="9c148986-6c84-478c-a607-a222e9a3f06f" providerId="ADAL" clId="{5AE52689-A230-4CFE-823C-E55B361021D7}" dt="2023-02-16T01:40:50.409" v="1893"/>
        <pc:sldMkLst>
          <pc:docMk/>
          <pc:sldMk cId="1951436750" sldId="2147468931"/>
        </pc:sldMkLst>
      </pc:sldChg>
      <pc:sldChg chg="modSp mod ord">
        <pc:chgData name="Markman, Michael" userId="9c148986-6c84-478c-a607-a222e9a3f06f" providerId="ADAL" clId="{5AE52689-A230-4CFE-823C-E55B361021D7}" dt="2023-02-16T01:33:43.972" v="1877"/>
        <pc:sldMkLst>
          <pc:docMk/>
          <pc:sldMk cId="1125194592" sldId="2147468934"/>
        </pc:sldMkLst>
        <pc:spChg chg="mod">
          <ac:chgData name="Markman, Michael" userId="9c148986-6c84-478c-a607-a222e9a3f06f" providerId="ADAL" clId="{5AE52689-A230-4CFE-823C-E55B361021D7}" dt="2023-02-15T23:15:02.682" v="1151" actId="6549"/>
          <ac:spMkLst>
            <pc:docMk/>
            <pc:sldMk cId="1125194592" sldId="2147468934"/>
            <ac:spMk id="4" creationId="{F2756C86-9660-4710-B44C-45095A3EADEC}"/>
          </ac:spMkLst>
        </pc:spChg>
        <pc:spChg chg="mod">
          <ac:chgData name="Markman, Michael" userId="9c148986-6c84-478c-a607-a222e9a3f06f" providerId="ADAL" clId="{5AE52689-A230-4CFE-823C-E55B361021D7}" dt="2023-02-15T23:13:08.154" v="1133" actId="114"/>
          <ac:spMkLst>
            <pc:docMk/>
            <pc:sldMk cId="1125194592" sldId="2147468934"/>
            <ac:spMk id="63" creationId="{2693744E-88CD-44C1-8211-E07A056B9E3A}"/>
          </ac:spMkLst>
        </pc:spChg>
        <pc:spChg chg="mod">
          <ac:chgData name="Markman, Michael" userId="9c148986-6c84-478c-a607-a222e9a3f06f" providerId="ADAL" clId="{5AE52689-A230-4CFE-823C-E55B361021D7}" dt="2023-02-15T23:14:23.628" v="1136" actId="114"/>
          <ac:spMkLst>
            <pc:docMk/>
            <pc:sldMk cId="1125194592" sldId="2147468934"/>
            <ac:spMk id="69" creationId="{A55A4CB3-50F8-4811-8549-241FB732D8D4}"/>
          </ac:spMkLst>
        </pc:spChg>
        <pc:spChg chg="mod">
          <ac:chgData name="Markman, Michael" userId="9c148986-6c84-478c-a607-a222e9a3f06f" providerId="ADAL" clId="{5AE52689-A230-4CFE-823C-E55B361021D7}" dt="2023-02-15T23:14:30.803" v="1139" actId="114"/>
          <ac:spMkLst>
            <pc:docMk/>
            <pc:sldMk cId="1125194592" sldId="2147468934"/>
            <ac:spMk id="75" creationId="{1B787DFA-FD49-4BF2-B543-A019CA7A6609}"/>
          </ac:spMkLst>
        </pc:spChg>
      </pc:sldChg>
      <pc:sldChg chg="ord">
        <pc:chgData name="Markman, Michael" userId="9c148986-6c84-478c-a607-a222e9a3f06f" providerId="ADAL" clId="{5AE52689-A230-4CFE-823C-E55B361021D7}" dt="2023-02-16T01:33:43.972" v="1877"/>
        <pc:sldMkLst>
          <pc:docMk/>
          <pc:sldMk cId="3567439726" sldId="2147468936"/>
        </pc:sldMkLst>
      </pc:sldChg>
      <pc:sldChg chg="del">
        <pc:chgData name="Markman, Michael" userId="9c148986-6c84-478c-a607-a222e9a3f06f" providerId="ADAL" clId="{5AE52689-A230-4CFE-823C-E55B361021D7}" dt="2023-02-15T23:22:39.788" v="1152" actId="47"/>
        <pc:sldMkLst>
          <pc:docMk/>
          <pc:sldMk cId="1128218017" sldId="2147468937"/>
        </pc:sldMkLst>
      </pc:sldChg>
      <pc:sldChg chg="modSp mod ord">
        <pc:chgData name="Markman, Michael" userId="9c148986-6c84-478c-a607-a222e9a3f06f" providerId="ADAL" clId="{5AE52689-A230-4CFE-823C-E55B361021D7}" dt="2023-02-15T23:25:32.305" v="1166" actId="6549"/>
        <pc:sldMkLst>
          <pc:docMk/>
          <pc:sldMk cId="533112466" sldId="2147470265"/>
        </pc:sldMkLst>
        <pc:spChg chg="mod">
          <ac:chgData name="Markman, Michael" userId="9c148986-6c84-478c-a607-a222e9a3f06f" providerId="ADAL" clId="{5AE52689-A230-4CFE-823C-E55B361021D7}" dt="2023-02-15T23:25:32.305" v="1166" actId="6549"/>
          <ac:spMkLst>
            <pc:docMk/>
            <pc:sldMk cId="533112466" sldId="2147470265"/>
            <ac:spMk id="3" creationId="{70E5FD42-0776-4C89-BCA4-60BEBD028CFD}"/>
          </ac:spMkLst>
        </pc:spChg>
      </pc:sldChg>
      <pc:sldChg chg="del">
        <pc:chgData name="Markman, Michael" userId="9c148986-6c84-478c-a607-a222e9a3f06f" providerId="ADAL" clId="{5AE52689-A230-4CFE-823C-E55B361021D7}" dt="2023-02-16T01:30:19.203" v="1853" actId="47"/>
        <pc:sldMkLst>
          <pc:docMk/>
          <pc:sldMk cId="1871585434" sldId="2147470267"/>
        </pc:sldMkLst>
      </pc:sldChg>
      <pc:sldChg chg="delSp modSp mod ord">
        <pc:chgData name="Markman, Michael" userId="9c148986-6c84-478c-a607-a222e9a3f06f" providerId="ADAL" clId="{5AE52689-A230-4CFE-823C-E55B361021D7}" dt="2023-02-16T01:41:34.115" v="1948" actId="478"/>
        <pc:sldMkLst>
          <pc:docMk/>
          <pc:sldMk cId="340147455" sldId="2147470268"/>
        </pc:sldMkLst>
        <pc:spChg chg="mod">
          <ac:chgData name="Markman, Michael" userId="9c148986-6c84-478c-a607-a222e9a3f06f" providerId="ADAL" clId="{5AE52689-A230-4CFE-823C-E55B361021D7}" dt="2023-02-16T01:41:31.965" v="1947" actId="1035"/>
          <ac:spMkLst>
            <pc:docMk/>
            <pc:sldMk cId="340147455" sldId="2147470268"/>
            <ac:spMk id="13" creationId="{FC9754E2-F0DF-4ACB-8FFE-6607F1D06DCC}"/>
          </ac:spMkLst>
        </pc:spChg>
        <pc:spChg chg="del">
          <ac:chgData name="Markman, Michael" userId="9c148986-6c84-478c-a607-a222e9a3f06f" providerId="ADAL" clId="{5AE52689-A230-4CFE-823C-E55B361021D7}" dt="2023-02-16T01:41:34.115" v="1948" actId="478"/>
          <ac:spMkLst>
            <pc:docMk/>
            <pc:sldMk cId="340147455" sldId="2147470268"/>
            <ac:spMk id="16" creationId="{75D56E92-42AB-41BF-BE17-421F31F02DF6}"/>
          </ac:spMkLst>
        </pc:spChg>
      </pc:sldChg>
      <pc:sldChg chg="delSp modSp mod ord">
        <pc:chgData name="Markman, Michael" userId="9c148986-6c84-478c-a607-a222e9a3f06f" providerId="ADAL" clId="{5AE52689-A230-4CFE-823C-E55B361021D7}" dt="2023-02-16T01:41:51.578" v="1966" actId="478"/>
        <pc:sldMkLst>
          <pc:docMk/>
          <pc:sldMk cId="37465176" sldId="2147470269"/>
        </pc:sldMkLst>
        <pc:spChg chg="mod">
          <ac:chgData name="Markman, Michael" userId="9c148986-6c84-478c-a607-a222e9a3f06f" providerId="ADAL" clId="{5AE52689-A230-4CFE-823C-E55B361021D7}" dt="2023-02-16T01:41:41.411" v="1965" actId="1035"/>
          <ac:spMkLst>
            <pc:docMk/>
            <pc:sldMk cId="37465176" sldId="2147470269"/>
            <ac:spMk id="119" creationId="{01FF74B0-D75A-4646-8574-67A754037477}"/>
          </ac:spMkLst>
        </pc:spChg>
        <pc:spChg chg="del">
          <ac:chgData name="Markman, Michael" userId="9c148986-6c84-478c-a607-a222e9a3f06f" providerId="ADAL" clId="{5AE52689-A230-4CFE-823C-E55B361021D7}" dt="2023-02-16T01:41:51.578" v="1966" actId="478"/>
          <ac:spMkLst>
            <pc:docMk/>
            <pc:sldMk cId="37465176" sldId="2147470269"/>
            <ac:spMk id="121" creationId="{176D52D0-5068-415F-956A-5E08A76848CD}"/>
          </ac:spMkLst>
        </pc:spChg>
      </pc:sldChg>
      <pc:sldChg chg="delSp modSp mod ord">
        <pc:chgData name="Markman, Michael" userId="9c148986-6c84-478c-a607-a222e9a3f06f" providerId="ADAL" clId="{5AE52689-A230-4CFE-823C-E55B361021D7}" dt="2023-02-16T01:42:00.826" v="1981" actId="478"/>
        <pc:sldMkLst>
          <pc:docMk/>
          <pc:sldMk cId="3404248183" sldId="2147470270"/>
        </pc:sldMkLst>
        <pc:spChg chg="mod">
          <ac:chgData name="Markman, Michael" userId="9c148986-6c84-478c-a607-a222e9a3f06f" providerId="ADAL" clId="{5AE52689-A230-4CFE-823C-E55B361021D7}" dt="2023-02-16T01:41:58.114" v="1980" actId="1035"/>
          <ac:spMkLst>
            <pc:docMk/>
            <pc:sldMk cId="3404248183" sldId="2147470270"/>
            <ac:spMk id="55" creationId="{69C19082-B3DD-4DC2-B418-809B4149C090}"/>
          </ac:spMkLst>
        </pc:spChg>
        <pc:spChg chg="del">
          <ac:chgData name="Markman, Michael" userId="9c148986-6c84-478c-a607-a222e9a3f06f" providerId="ADAL" clId="{5AE52689-A230-4CFE-823C-E55B361021D7}" dt="2023-02-16T01:42:00.826" v="1981" actId="478"/>
          <ac:spMkLst>
            <pc:docMk/>
            <pc:sldMk cId="3404248183" sldId="2147470270"/>
            <ac:spMk id="58" creationId="{1712146B-DC35-4C28-BC28-C0B6B10C0023}"/>
          </ac:spMkLst>
        </pc:spChg>
      </pc:sldChg>
      <pc:sldChg chg="del">
        <pc:chgData name="Markman, Michael" userId="9c148986-6c84-478c-a607-a222e9a3f06f" providerId="ADAL" clId="{5AE52689-A230-4CFE-823C-E55B361021D7}" dt="2023-02-16T01:26:06.315" v="1826" actId="47"/>
        <pc:sldMkLst>
          <pc:docMk/>
          <pc:sldMk cId="1272278480" sldId="2147470271"/>
        </pc:sldMkLst>
      </pc:sldChg>
      <pc:sldChg chg="addSp delSp modSp mod ord">
        <pc:chgData name="Markman, Michael" userId="9c148986-6c84-478c-a607-a222e9a3f06f" providerId="ADAL" clId="{5AE52689-A230-4CFE-823C-E55B361021D7}" dt="2023-02-15T23:52:02.105" v="1619" actId="20577"/>
        <pc:sldMkLst>
          <pc:docMk/>
          <pc:sldMk cId="556816909" sldId="2147470274"/>
        </pc:sldMkLst>
        <pc:spChg chg="add mod">
          <ac:chgData name="Markman, Michael" userId="9c148986-6c84-478c-a607-a222e9a3f06f" providerId="ADAL" clId="{5AE52689-A230-4CFE-823C-E55B361021D7}" dt="2023-02-15T23:41:22.028" v="1332" actId="207"/>
          <ac:spMkLst>
            <pc:docMk/>
            <pc:sldMk cId="556816909" sldId="2147470274"/>
            <ac:spMk id="2" creationId="{E71EB903-8BDE-49F6-97EA-A73F696D2B25}"/>
          </ac:spMkLst>
        </pc:spChg>
        <pc:spChg chg="mod">
          <ac:chgData name="Markman, Michael" userId="9c148986-6c84-478c-a607-a222e9a3f06f" providerId="ADAL" clId="{5AE52689-A230-4CFE-823C-E55B361021D7}" dt="2023-02-15T23:52:02.105" v="1619" actId="20577"/>
          <ac:spMkLst>
            <pc:docMk/>
            <pc:sldMk cId="556816909" sldId="2147470274"/>
            <ac:spMk id="51" creationId="{5910E7FE-412F-496C-8DAD-D55E2A5CD075}"/>
          </ac:spMkLst>
        </pc:spChg>
        <pc:spChg chg="mod">
          <ac:chgData name="Markman, Michael" userId="9c148986-6c84-478c-a607-a222e9a3f06f" providerId="ADAL" clId="{5AE52689-A230-4CFE-823C-E55B361021D7}" dt="2023-02-15T23:50:50.828" v="1602" actId="14100"/>
          <ac:spMkLst>
            <pc:docMk/>
            <pc:sldMk cId="556816909" sldId="2147470274"/>
            <ac:spMk id="60" creationId="{43787028-B8F1-4980-8F89-E87E7BAA3EA1}"/>
          </ac:spMkLst>
        </pc:spChg>
        <pc:spChg chg="del">
          <ac:chgData name="Markman, Michael" userId="9c148986-6c84-478c-a607-a222e9a3f06f" providerId="ADAL" clId="{5AE52689-A230-4CFE-823C-E55B361021D7}" dt="2023-02-15T23:49:59.143" v="1562" actId="478"/>
          <ac:spMkLst>
            <pc:docMk/>
            <pc:sldMk cId="556816909" sldId="2147470274"/>
            <ac:spMk id="61" creationId="{C5EC1815-446C-4DCB-8693-F7201AF368BA}"/>
          </ac:spMkLst>
        </pc:spChg>
        <pc:spChg chg="mod">
          <ac:chgData name="Markman, Michael" userId="9c148986-6c84-478c-a607-a222e9a3f06f" providerId="ADAL" clId="{5AE52689-A230-4CFE-823C-E55B361021D7}" dt="2023-02-15T23:51:07.354" v="1603" actId="13926"/>
          <ac:spMkLst>
            <pc:docMk/>
            <pc:sldMk cId="556816909" sldId="2147470274"/>
            <ac:spMk id="72" creationId="{9D250473-4CF8-41BF-B2EC-8100E9BED813}"/>
          </ac:spMkLst>
        </pc:spChg>
        <pc:spChg chg="mod">
          <ac:chgData name="Markman, Michael" userId="9c148986-6c84-478c-a607-a222e9a3f06f" providerId="ADAL" clId="{5AE52689-A230-4CFE-823C-E55B361021D7}" dt="2023-02-15T23:51:23.639" v="1607" actId="20577"/>
          <ac:spMkLst>
            <pc:docMk/>
            <pc:sldMk cId="556816909" sldId="2147470274"/>
            <ac:spMk id="77" creationId="{CCE07229-CC37-43B5-8DF8-0C3D6788F3EC}"/>
          </ac:spMkLst>
        </pc:spChg>
        <pc:spChg chg="mod">
          <ac:chgData name="Markman, Michael" userId="9c148986-6c84-478c-a607-a222e9a3f06f" providerId="ADAL" clId="{5AE52689-A230-4CFE-823C-E55B361021D7}" dt="2023-02-15T23:38:34.034" v="1248" actId="1076"/>
          <ac:spMkLst>
            <pc:docMk/>
            <pc:sldMk cId="556816909" sldId="2147470274"/>
            <ac:spMk id="93" creationId="{CD48E9B8-6724-4AB5-B41F-56858CE4B912}"/>
          </ac:spMkLst>
        </pc:spChg>
        <pc:spChg chg="del">
          <ac:chgData name="Markman, Michael" userId="9c148986-6c84-478c-a607-a222e9a3f06f" providerId="ADAL" clId="{5AE52689-A230-4CFE-823C-E55B361021D7}" dt="2023-02-15T23:38:42.543" v="1250" actId="478"/>
          <ac:spMkLst>
            <pc:docMk/>
            <pc:sldMk cId="556816909" sldId="2147470274"/>
            <ac:spMk id="96" creationId="{8717B780-4099-4C35-B94F-0BF6B12111C4}"/>
          </ac:spMkLst>
        </pc:spChg>
        <pc:spChg chg="mod">
          <ac:chgData name="Markman, Michael" userId="9c148986-6c84-478c-a607-a222e9a3f06f" providerId="ADAL" clId="{5AE52689-A230-4CFE-823C-E55B361021D7}" dt="2023-02-15T23:43:14.042" v="1364" actId="255"/>
          <ac:spMkLst>
            <pc:docMk/>
            <pc:sldMk cId="556816909" sldId="2147470274"/>
            <ac:spMk id="98" creationId="{4FD850A8-4EFA-45FF-998F-6B591FE74262}"/>
          </ac:spMkLst>
        </pc:spChg>
        <pc:picChg chg="mod">
          <ac:chgData name="Markman, Michael" userId="9c148986-6c84-478c-a607-a222e9a3f06f" providerId="ADAL" clId="{5AE52689-A230-4CFE-823C-E55B361021D7}" dt="2023-02-15T23:37:38.129" v="1216" actId="1076"/>
          <ac:picMkLst>
            <pc:docMk/>
            <pc:sldMk cId="556816909" sldId="2147470274"/>
            <ac:picMk id="105" creationId="{ED30FFA0-AB99-4219-B8AD-9BD79D1E94C5}"/>
          </ac:picMkLst>
        </pc:picChg>
        <pc:picChg chg="mod">
          <ac:chgData name="Markman, Michael" userId="9c148986-6c84-478c-a607-a222e9a3f06f" providerId="ADAL" clId="{5AE52689-A230-4CFE-823C-E55B361021D7}" dt="2023-02-15T23:37:41.128" v="1218" actId="1076"/>
          <ac:picMkLst>
            <pc:docMk/>
            <pc:sldMk cId="556816909" sldId="2147470274"/>
            <ac:picMk id="106" creationId="{20C699C7-85AD-4FC9-8033-BDEBF20F82E8}"/>
          </ac:picMkLst>
        </pc:picChg>
      </pc:sldChg>
      <pc:sldChg chg="addSp delSp modSp mod ord">
        <pc:chgData name="Markman, Michael" userId="9c148986-6c84-478c-a607-a222e9a3f06f" providerId="ADAL" clId="{5AE52689-A230-4CFE-823C-E55B361021D7}" dt="2023-02-16T01:40:53.324" v="1895"/>
        <pc:sldMkLst>
          <pc:docMk/>
          <pc:sldMk cId="1046099991" sldId="2147470275"/>
        </pc:sldMkLst>
        <pc:spChg chg="mod">
          <ac:chgData name="Markman, Michael" userId="9c148986-6c84-478c-a607-a222e9a3f06f" providerId="ADAL" clId="{5AE52689-A230-4CFE-823C-E55B361021D7}" dt="2023-02-16T01:24:29.369" v="1823" actId="207"/>
          <ac:spMkLst>
            <pc:docMk/>
            <pc:sldMk cId="1046099991" sldId="2147470275"/>
            <ac:spMk id="51" creationId="{5910E7FE-412F-496C-8DAD-D55E2A5CD075}"/>
          </ac:spMkLst>
        </pc:spChg>
        <pc:spChg chg="add mod">
          <ac:chgData name="Markman, Michael" userId="9c148986-6c84-478c-a607-a222e9a3f06f" providerId="ADAL" clId="{5AE52689-A230-4CFE-823C-E55B361021D7}" dt="2023-02-16T01:22:12.380" v="1630" actId="20577"/>
          <ac:spMkLst>
            <pc:docMk/>
            <pc:sldMk cId="1046099991" sldId="2147470275"/>
            <ac:spMk id="53" creationId="{549ABFC5-C179-40E7-BBFE-8F387AD22EB6}"/>
          </ac:spMkLst>
        </pc:spChg>
        <pc:spChg chg="mod">
          <ac:chgData name="Markman, Michael" userId="9c148986-6c84-478c-a607-a222e9a3f06f" providerId="ADAL" clId="{5AE52689-A230-4CFE-823C-E55B361021D7}" dt="2023-02-16T01:22:03.551" v="1625" actId="1076"/>
          <ac:spMkLst>
            <pc:docMk/>
            <pc:sldMk cId="1046099991" sldId="2147470275"/>
            <ac:spMk id="93" creationId="{CD48E9B8-6724-4AB5-B41F-56858CE4B912}"/>
          </ac:spMkLst>
        </pc:spChg>
        <pc:spChg chg="del">
          <ac:chgData name="Markman, Michael" userId="9c148986-6c84-478c-a607-a222e9a3f06f" providerId="ADAL" clId="{5AE52689-A230-4CFE-823C-E55B361021D7}" dt="2023-02-16T01:22:05.036" v="1626" actId="478"/>
          <ac:spMkLst>
            <pc:docMk/>
            <pc:sldMk cId="1046099991" sldId="2147470275"/>
            <ac:spMk id="96" creationId="{8717B780-4099-4C35-B94F-0BF6B12111C4}"/>
          </ac:spMkLst>
        </pc:spChg>
        <pc:spChg chg="mod">
          <ac:chgData name="Markman, Michael" userId="9c148986-6c84-478c-a607-a222e9a3f06f" providerId="ADAL" clId="{5AE52689-A230-4CFE-823C-E55B361021D7}" dt="2023-02-15T23:32:23.095" v="1180" actId="120"/>
          <ac:spMkLst>
            <pc:docMk/>
            <pc:sldMk cId="1046099991" sldId="2147470275"/>
            <ac:spMk id="98" creationId="{4FD850A8-4EFA-45FF-998F-6B591FE74262}"/>
          </ac:spMkLst>
        </pc:spChg>
        <pc:spChg chg="mod">
          <ac:chgData name="Markman, Michael" userId="9c148986-6c84-478c-a607-a222e9a3f06f" providerId="ADAL" clId="{5AE52689-A230-4CFE-823C-E55B361021D7}" dt="2023-02-16T01:24:54.821" v="1825" actId="14100"/>
          <ac:spMkLst>
            <pc:docMk/>
            <pc:sldMk cId="1046099991" sldId="2147470275"/>
            <ac:spMk id="109" creationId="{AA0625FE-40EF-4920-A00B-C2EC5E583777}"/>
          </ac:spMkLst>
        </pc:spChg>
      </pc:sldChg>
      <pc:sldChg chg="modSp add mod">
        <pc:chgData name="Markman, Michael" userId="9c148986-6c84-478c-a607-a222e9a3f06f" providerId="ADAL" clId="{5AE52689-A230-4CFE-823C-E55B361021D7}" dt="2023-02-16T01:40:27.515" v="1891" actId="20577"/>
        <pc:sldMkLst>
          <pc:docMk/>
          <pc:sldMk cId="470089610" sldId="2147470279"/>
        </pc:sldMkLst>
        <pc:spChg chg="mod">
          <ac:chgData name="Markman, Michael" userId="9c148986-6c84-478c-a607-a222e9a3f06f" providerId="ADAL" clId="{5AE52689-A230-4CFE-823C-E55B361021D7}" dt="2023-02-16T01:40:24.514" v="1890" actId="20577"/>
          <ac:spMkLst>
            <pc:docMk/>
            <pc:sldMk cId="470089610" sldId="2147470279"/>
            <ac:spMk id="3" creationId="{CB5D5DA1-DACE-4236-B2A5-D674B23E4F3E}"/>
          </ac:spMkLst>
        </pc:spChg>
        <pc:spChg chg="mod">
          <ac:chgData name="Markman, Michael" userId="9c148986-6c84-478c-a607-a222e9a3f06f" providerId="ADAL" clId="{5AE52689-A230-4CFE-823C-E55B361021D7}" dt="2023-02-16T01:40:27.515" v="1891" actId="20577"/>
          <ac:spMkLst>
            <pc:docMk/>
            <pc:sldMk cId="470089610" sldId="2147470279"/>
            <ac:spMk id="8" creationId="{862D3331-0F5A-4344-9277-E609CEE8AAEF}"/>
          </ac:spMkLst>
        </pc:spChg>
      </pc:sldChg>
    </pc:docChg>
  </pc:docChgLst>
  <pc:docChgLst>
    <pc:chgData name="Petrova, Petrana" userId="S::petrana.petrova@iqvia.com::9b540464-07ca-43ab-b6f3-7eeb548ddf9f" providerId="AD" clId="Web-{A7B85A21-1285-8B65-9EF6-7F31E6B08521}"/>
    <pc:docChg chg="modSld">
      <pc:chgData name="Petrova, Petrana" userId="S::petrana.petrova@iqvia.com::9b540464-07ca-43ab-b6f3-7eeb548ddf9f" providerId="AD" clId="Web-{A7B85A21-1285-8B65-9EF6-7F31E6B08521}" dt="2023-02-15T08:12:46.276" v="88" actId="20577"/>
      <pc:docMkLst>
        <pc:docMk/>
      </pc:docMkLst>
      <pc:sldChg chg="modSp">
        <pc:chgData name="Petrova, Petrana" userId="S::petrana.petrova@iqvia.com::9b540464-07ca-43ab-b6f3-7eeb548ddf9f" providerId="AD" clId="Web-{A7B85A21-1285-8B65-9EF6-7F31E6B08521}" dt="2023-02-15T08:12:46.276" v="88" actId="20577"/>
        <pc:sldMkLst>
          <pc:docMk/>
          <pc:sldMk cId="2746920633" sldId="2147468925"/>
        </pc:sldMkLst>
        <pc:spChg chg="mod">
          <ac:chgData name="Petrova, Petrana" userId="S::petrana.petrova@iqvia.com::9b540464-07ca-43ab-b6f3-7eeb548ddf9f" providerId="AD" clId="Web-{A7B85A21-1285-8B65-9EF6-7F31E6B08521}" dt="2023-02-15T08:09:11.349" v="31" actId="20577"/>
          <ac:spMkLst>
            <pc:docMk/>
            <pc:sldMk cId="2746920633" sldId="2147468925"/>
            <ac:spMk id="59" creationId="{210794E2-9511-40C0-A13F-367654B5F27F}"/>
          </ac:spMkLst>
        </pc:spChg>
        <pc:spChg chg="mod">
          <ac:chgData name="Petrova, Petrana" userId="S::petrana.petrova@iqvia.com::9b540464-07ca-43ab-b6f3-7eeb548ddf9f" providerId="AD" clId="Web-{A7B85A21-1285-8B65-9EF6-7F31E6B08521}" dt="2023-02-15T08:12:46.276" v="88" actId="20577"/>
          <ac:spMkLst>
            <pc:docMk/>
            <pc:sldMk cId="2746920633" sldId="2147468925"/>
            <ac:spMk id="61" creationId="{3DC1284B-A20C-4752-84AA-DA3E437BAAC0}"/>
          </ac:spMkLst>
        </pc:spChg>
        <pc:spChg chg="mod">
          <ac:chgData name="Petrova, Petrana" userId="S::petrana.petrova@iqvia.com::9b540464-07ca-43ab-b6f3-7eeb548ddf9f" providerId="AD" clId="Web-{A7B85A21-1285-8B65-9EF6-7F31E6B08521}" dt="2023-02-15T08:12:23.729" v="77" actId="20577"/>
          <ac:spMkLst>
            <pc:docMk/>
            <pc:sldMk cId="2746920633" sldId="2147468925"/>
            <ac:spMk id="63" creationId="{E7D6A6A9-B79E-461C-97CD-999615C0DD92}"/>
          </ac:spMkLst>
        </pc:spChg>
        <pc:spChg chg="mod">
          <ac:chgData name="Petrova, Petrana" userId="S::petrana.petrova@iqvia.com::9b540464-07ca-43ab-b6f3-7eeb548ddf9f" providerId="AD" clId="Web-{A7B85A21-1285-8B65-9EF6-7F31E6B08521}" dt="2023-02-15T08:10:20.304" v="55" actId="20577"/>
          <ac:spMkLst>
            <pc:docMk/>
            <pc:sldMk cId="2746920633" sldId="2147468925"/>
            <ac:spMk id="65" creationId="{2279D267-0FEA-4FF8-81B8-F5E19E3DAF81}"/>
          </ac:spMkLst>
        </pc:spChg>
        <pc:spChg chg="mod">
          <ac:chgData name="Petrova, Petrana" userId="S::petrana.petrova@iqvia.com::9b540464-07ca-43ab-b6f3-7eeb548ddf9f" providerId="AD" clId="Web-{A7B85A21-1285-8B65-9EF6-7F31E6B08521}" dt="2023-02-15T08:12:31.713" v="79" actId="20577"/>
          <ac:spMkLst>
            <pc:docMk/>
            <pc:sldMk cId="2746920633" sldId="2147468925"/>
            <ac:spMk id="67" creationId="{8BB66E75-C30F-48E7-BFAD-4B955B1AE095}"/>
          </ac:spMkLst>
        </pc:spChg>
      </pc:sldChg>
    </pc:docChg>
  </pc:docChgLst>
  <pc:docChgLst>
    <pc:chgData name="Marin, Ayreen" userId="ca84c40d-ae20-485b-835c-3dc4e21df149" providerId="ADAL" clId="{CA126B6A-6B20-4B68-BEF3-1E3E2DB0AB69}"/>
    <pc:docChg chg="undo modSld">
      <pc:chgData name="Marin, Ayreen" userId="ca84c40d-ae20-485b-835c-3dc4e21df149" providerId="ADAL" clId="{CA126B6A-6B20-4B68-BEF3-1E3E2DB0AB69}" dt="2023-02-20T09:26:57.581" v="109" actId="6549"/>
      <pc:docMkLst>
        <pc:docMk/>
      </pc:docMkLst>
      <pc:sldChg chg="modSp mod">
        <pc:chgData name="Marin, Ayreen" userId="ca84c40d-ae20-485b-835c-3dc4e21df149" providerId="ADAL" clId="{CA126B6A-6B20-4B68-BEF3-1E3E2DB0AB69}" dt="2023-02-20T09:26:57.581" v="109" actId="6549"/>
        <pc:sldMkLst>
          <pc:docMk/>
          <pc:sldMk cId="1125194592" sldId="2147468934"/>
        </pc:sldMkLst>
        <pc:spChg chg="mod">
          <ac:chgData name="Marin, Ayreen" userId="ca84c40d-ae20-485b-835c-3dc4e21df149" providerId="ADAL" clId="{CA126B6A-6B20-4B68-BEF3-1E3E2DB0AB69}" dt="2023-02-20T09:26:57.581" v="109" actId="6549"/>
          <ac:spMkLst>
            <pc:docMk/>
            <pc:sldMk cId="1125194592" sldId="2147468934"/>
            <ac:spMk id="4" creationId="{F2756C86-9660-4710-B44C-45095A3EADEC}"/>
          </ac:spMkLst>
        </pc:spChg>
      </pc:sldChg>
    </pc:docChg>
  </pc:docChgLst>
  <pc:docChgLst>
    <pc:chgData name="Lloret, Enrique" userId="S::enrique.lloret@quintiles.com::73d13d76-5c13-4757-a6d7-af1b5f9cd13f" providerId="AD" clId="Web-{456474CE-6C1B-376D-9F55-E17272E095C1}"/>
    <pc:docChg chg="modSld">
      <pc:chgData name="Lloret, Enrique" userId="S::enrique.lloret@quintiles.com::73d13d76-5c13-4757-a6d7-af1b5f9cd13f" providerId="AD" clId="Web-{456474CE-6C1B-376D-9F55-E17272E095C1}" dt="2023-02-16T12:20:45.348" v="3" actId="1076"/>
      <pc:docMkLst>
        <pc:docMk/>
      </pc:docMkLst>
      <pc:sldChg chg="addSp modSp">
        <pc:chgData name="Lloret, Enrique" userId="S::enrique.lloret@quintiles.com::73d13d76-5c13-4757-a6d7-af1b5f9cd13f" providerId="AD" clId="Web-{456474CE-6C1B-376D-9F55-E17272E095C1}" dt="2023-02-16T12:20:45.348" v="3" actId="1076"/>
        <pc:sldMkLst>
          <pc:docMk/>
          <pc:sldMk cId="3103130812" sldId="2147471531"/>
        </pc:sldMkLst>
        <pc:picChg chg="add mod">
          <ac:chgData name="Lloret, Enrique" userId="S::enrique.lloret@quintiles.com::73d13d76-5c13-4757-a6d7-af1b5f9cd13f" providerId="AD" clId="Web-{456474CE-6C1B-376D-9F55-E17272E095C1}" dt="2023-02-16T12:20:45.348" v="3" actId="1076"/>
          <ac:picMkLst>
            <pc:docMk/>
            <pc:sldMk cId="3103130812" sldId="2147471531"/>
            <ac:picMk id="3" creationId="{22C98E91-E722-0918-8D8B-6ED4E7500979}"/>
          </ac:picMkLst>
        </pc:picChg>
      </pc:sldChg>
    </pc:docChg>
  </pc:docChgLst>
  <pc:docChgLst>
    <pc:chgData name="Sadlonova, Marianna" userId="S::marianna.sadlonova@quintiles.com::a8aee08f-701a-44dd-9deb-2c30c87fcb35" providerId="AD" clId="Web-{6EA9556D-277F-22F8-E905-5A54D48AE375}"/>
    <pc:docChg chg="modSld">
      <pc:chgData name="Sadlonova, Marianna" userId="S::marianna.sadlonova@quintiles.com::a8aee08f-701a-44dd-9deb-2c30c87fcb35" providerId="AD" clId="Web-{6EA9556D-277F-22F8-E905-5A54D48AE375}" dt="2023-02-17T11:52:27.371" v="21" actId="1076"/>
      <pc:docMkLst>
        <pc:docMk/>
      </pc:docMkLst>
      <pc:sldChg chg="addSp modSp">
        <pc:chgData name="Sadlonova, Marianna" userId="S::marianna.sadlonova@quintiles.com::a8aee08f-701a-44dd-9deb-2c30c87fcb35" providerId="AD" clId="Web-{6EA9556D-277F-22F8-E905-5A54D48AE375}" dt="2023-02-17T11:52:27.371" v="21" actId="1076"/>
        <pc:sldMkLst>
          <pc:docMk/>
          <pc:sldMk cId="4250689473" sldId="282"/>
        </pc:sldMkLst>
        <pc:spChg chg="add mod">
          <ac:chgData name="Sadlonova, Marianna" userId="S::marianna.sadlonova@quintiles.com::a8aee08f-701a-44dd-9deb-2c30c87fcb35" providerId="AD" clId="Web-{6EA9556D-277F-22F8-E905-5A54D48AE375}" dt="2023-02-17T11:51:58.355" v="15" actId="14100"/>
          <ac:spMkLst>
            <pc:docMk/>
            <pc:sldMk cId="4250689473" sldId="282"/>
            <ac:spMk id="3" creationId="{80D27579-B851-A7EB-A9F2-0AE2F2B3270B}"/>
          </ac:spMkLst>
        </pc:spChg>
        <pc:spChg chg="add mod">
          <ac:chgData name="Sadlonova, Marianna" userId="S::marianna.sadlonova@quintiles.com::a8aee08f-701a-44dd-9deb-2c30c87fcb35" providerId="AD" clId="Web-{6EA9556D-277F-22F8-E905-5A54D48AE375}" dt="2023-02-17T11:52:27.371" v="21" actId="1076"/>
          <ac:spMkLst>
            <pc:docMk/>
            <pc:sldMk cId="4250689473" sldId="282"/>
            <ac:spMk id="4" creationId="{62DEEAC0-E442-E97C-C6B1-C74EE0C89060}"/>
          </ac:spMkLst>
        </pc:spChg>
        <pc:picChg chg="add mod">
          <ac:chgData name="Sadlonova, Marianna" userId="S::marianna.sadlonova@quintiles.com::a8aee08f-701a-44dd-9deb-2c30c87fcb35" providerId="AD" clId="Web-{6EA9556D-277F-22F8-E905-5A54D48AE375}" dt="2023-02-17T11:51:12.697" v="6" actId="14100"/>
          <ac:picMkLst>
            <pc:docMk/>
            <pc:sldMk cId="4250689473" sldId="282"/>
            <ac:picMk id="2" creationId="{185A7FEE-D5FA-DA8D-724E-1470EA807C90}"/>
          </ac:picMkLst>
        </pc:picChg>
      </pc:sldChg>
    </pc:docChg>
  </pc:docChgLst>
  <pc:docChgLst>
    <pc:chgData name="Lloret, Enrique" userId="73d13d76-5c13-4757-a6d7-af1b5f9cd13f" providerId="ADAL" clId="{197416C0-5FC3-45BE-A504-B1DB1D419FA9}"/>
    <pc:docChg chg="modSld">
      <pc:chgData name="Lloret, Enrique" userId="73d13d76-5c13-4757-a6d7-af1b5f9cd13f" providerId="ADAL" clId="{197416C0-5FC3-45BE-A504-B1DB1D419FA9}" dt="2023-02-20T16:19:25.598" v="199" actId="1035"/>
      <pc:docMkLst>
        <pc:docMk/>
      </pc:docMkLst>
      <pc:sldChg chg="addSp modSp mod">
        <pc:chgData name="Lloret, Enrique" userId="73d13d76-5c13-4757-a6d7-af1b5f9cd13f" providerId="ADAL" clId="{197416C0-5FC3-45BE-A504-B1DB1D419FA9}" dt="2023-02-20T16:19:25.598" v="199" actId="1035"/>
        <pc:sldMkLst>
          <pc:docMk/>
          <pc:sldMk cId="2317239546" sldId="2147468923"/>
        </pc:sldMkLst>
        <pc:picChg chg="add mod">
          <ac:chgData name="Lloret, Enrique" userId="73d13d76-5c13-4757-a6d7-af1b5f9cd13f" providerId="ADAL" clId="{197416C0-5FC3-45BE-A504-B1DB1D419FA9}" dt="2023-02-20T16:19:25.598" v="199" actId="1035"/>
          <ac:picMkLst>
            <pc:docMk/>
            <pc:sldMk cId="2317239546" sldId="2147468923"/>
            <ac:picMk id="34" creationId="{DB20D50C-C481-4C19-8F47-E79A7458B006}"/>
          </ac:picMkLst>
        </pc:picChg>
        <pc:picChg chg="add mod">
          <ac:chgData name="Lloret, Enrique" userId="73d13d76-5c13-4757-a6d7-af1b5f9cd13f" providerId="ADAL" clId="{197416C0-5FC3-45BE-A504-B1DB1D419FA9}" dt="2023-02-20T16:19:14.104" v="189" actId="1038"/>
          <ac:picMkLst>
            <pc:docMk/>
            <pc:sldMk cId="2317239546" sldId="2147468923"/>
            <ac:picMk id="40" creationId="{99106F31-E17D-482C-99F6-03E50C1BA29A}"/>
          </ac:picMkLst>
        </pc:picChg>
        <pc:picChg chg="add mod">
          <ac:chgData name="Lloret, Enrique" userId="73d13d76-5c13-4757-a6d7-af1b5f9cd13f" providerId="ADAL" clId="{197416C0-5FC3-45BE-A504-B1DB1D419FA9}" dt="2023-02-20T16:19:14.104" v="189" actId="1038"/>
          <ac:picMkLst>
            <pc:docMk/>
            <pc:sldMk cId="2317239546" sldId="2147468923"/>
            <ac:picMk id="41" creationId="{436F1B5A-DDE6-44CD-9D16-DA3DD7763406}"/>
          </ac:picMkLst>
        </pc:picChg>
      </pc:sldChg>
    </pc:docChg>
  </pc:docChgLst>
  <pc:docChgLst>
    <pc:chgData name="Lloret, Enrique" userId="73d13d76-5c13-4757-a6d7-af1b5f9cd13f" providerId="ADAL" clId="{EB78B5CD-7FDE-4B39-BA1D-CB535EF9B715}"/>
    <pc:docChg chg="addSld modSld">
      <pc:chgData name="Lloret, Enrique" userId="73d13d76-5c13-4757-a6d7-af1b5f9cd13f" providerId="ADAL" clId="{EB78B5CD-7FDE-4B39-BA1D-CB535EF9B715}" dt="2023-02-16T08:07:11.058" v="2" actId="1035"/>
      <pc:docMkLst>
        <pc:docMk/>
      </pc:docMkLst>
      <pc:sldChg chg="modSp add mod">
        <pc:chgData name="Lloret, Enrique" userId="73d13d76-5c13-4757-a6d7-af1b5f9cd13f" providerId="ADAL" clId="{EB78B5CD-7FDE-4B39-BA1D-CB535EF9B715}" dt="2023-02-16T08:07:11.058" v="2" actId="1035"/>
        <pc:sldMkLst>
          <pc:docMk/>
          <pc:sldMk cId="3917067351" sldId="2147471512"/>
        </pc:sldMkLst>
        <pc:spChg chg="mod">
          <ac:chgData name="Lloret, Enrique" userId="73d13d76-5c13-4757-a6d7-af1b5f9cd13f" providerId="ADAL" clId="{EB78B5CD-7FDE-4B39-BA1D-CB535EF9B715}" dt="2023-02-16T08:07:11.058" v="2" actId="1035"/>
          <ac:spMkLst>
            <pc:docMk/>
            <pc:sldMk cId="3917067351" sldId="2147471512"/>
            <ac:spMk id="31" creationId="{3FB0FF2A-9258-450A-949D-AB7FF6B7F1F3}"/>
          </ac:spMkLst>
        </pc:spChg>
      </pc:sldChg>
      <pc:sldChg chg="add">
        <pc:chgData name="Lloret, Enrique" userId="73d13d76-5c13-4757-a6d7-af1b5f9cd13f" providerId="ADAL" clId="{EB78B5CD-7FDE-4B39-BA1D-CB535EF9B715}" dt="2023-02-16T08:06:30.202" v="0"/>
        <pc:sldMkLst>
          <pc:docMk/>
          <pc:sldMk cId="3103130812" sldId="2147471531"/>
        </pc:sldMkLst>
      </pc:sldChg>
    </pc:docChg>
  </pc:docChgLst>
  <pc:docChgLst>
    <pc:chgData name="Sadlonova, Marianna" userId="S::marianna.sadlonova@quintiles.com::a8aee08f-701a-44dd-9deb-2c30c87fcb35" providerId="AD" clId="Web-{8F7F0713-FA53-984C-C6BF-1CDA899E6AD3}"/>
    <pc:docChg chg="modSld">
      <pc:chgData name="Sadlonova, Marianna" userId="S::marianna.sadlonova@quintiles.com::a8aee08f-701a-44dd-9deb-2c30c87fcb35" providerId="AD" clId="Web-{8F7F0713-FA53-984C-C6BF-1CDA899E6AD3}" dt="2023-02-15T15:25:02.658" v="1"/>
      <pc:docMkLst>
        <pc:docMk/>
      </pc:docMkLst>
      <pc:sldChg chg="addSp delSp modSp">
        <pc:chgData name="Sadlonova, Marianna" userId="S::marianna.sadlonova@quintiles.com::a8aee08f-701a-44dd-9deb-2c30c87fcb35" providerId="AD" clId="Web-{8F7F0713-FA53-984C-C6BF-1CDA899E6AD3}" dt="2023-02-15T15:25:02.658" v="1"/>
        <pc:sldMkLst>
          <pc:docMk/>
          <pc:sldMk cId="3962665222" sldId="2147470277"/>
        </pc:sldMkLst>
        <pc:picChg chg="add del mod">
          <ac:chgData name="Sadlonova, Marianna" userId="S::marianna.sadlonova@quintiles.com::a8aee08f-701a-44dd-9deb-2c30c87fcb35" providerId="AD" clId="Web-{8F7F0713-FA53-984C-C6BF-1CDA899E6AD3}" dt="2023-02-15T15:25:02.658" v="1"/>
          <ac:picMkLst>
            <pc:docMk/>
            <pc:sldMk cId="3962665222" sldId="2147470277"/>
            <ac:picMk id="4" creationId="{21C6D715-3F5A-44FC-A6AB-22BEF141EF9D}"/>
          </ac:picMkLst>
        </pc:picChg>
      </pc:sldChg>
    </pc:docChg>
  </pc:docChgLst>
  <pc:docChgLst>
    <pc:chgData name="Sadlonova, Marianna" userId="S::marianna.sadlonova@quintiles.com::a8aee08f-701a-44dd-9deb-2c30c87fcb35" providerId="AD" clId="Web-{5A3AFC2B-979D-15E5-601F-CAC9F7ED0359}"/>
    <pc:docChg chg="modSld">
      <pc:chgData name="Sadlonova, Marianna" userId="S::marianna.sadlonova@quintiles.com::a8aee08f-701a-44dd-9deb-2c30c87fcb35" providerId="AD" clId="Web-{5A3AFC2B-979D-15E5-601F-CAC9F7ED0359}" dt="2023-02-16T06:13:17.914" v="0"/>
      <pc:docMkLst>
        <pc:docMk/>
      </pc:docMkLst>
      <pc:sldChg chg="delSp">
        <pc:chgData name="Sadlonova, Marianna" userId="S::marianna.sadlonova@quintiles.com::a8aee08f-701a-44dd-9deb-2c30c87fcb35" providerId="AD" clId="Web-{5A3AFC2B-979D-15E5-601F-CAC9F7ED0359}" dt="2023-02-16T06:13:17.914" v="0"/>
        <pc:sldMkLst>
          <pc:docMk/>
          <pc:sldMk cId="4250689473" sldId="282"/>
        </pc:sldMkLst>
        <pc:spChg chg="del">
          <ac:chgData name="Sadlonova, Marianna" userId="S::marianna.sadlonova@quintiles.com::a8aee08f-701a-44dd-9deb-2c30c87fcb35" providerId="AD" clId="Web-{5A3AFC2B-979D-15E5-601F-CAC9F7ED0359}" dt="2023-02-16T06:13:17.914" v="0"/>
          <ac:spMkLst>
            <pc:docMk/>
            <pc:sldMk cId="4250689473" sldId="282"/>
            <ac:spMk id="8" creationId="{3912CA2E-0AB8-4C27-87BF-CB394ACD1887}"/>
          </ac:spMkLst>
        </pc:spChg>
      </pc:sldChg>
    </pc:docChg>
  </pc:docChgLst>
  <pc:docChgLst>
    <pc:chgData name="Marin, Ayreen" userId="ca84c40d-ae20-485b-835c-3dc4e21df149" providerId="ADAL" clId="{2A3CD8AE-CDB8-4E60-B8E6-5DB08D04E8F5}"/>
    <pc:docChg chg="undo custSel addSld modSld">
      <pc:chgData name="Marin, Ayreen" userId="ca84c40d-ae20-485b-835c-3dc4e21df149" providerId="ADAL" clId="{2A3CD8AE-CDB8-4E60-B8E6-5DB08D04E8F5}" dt="2023-02-14T10:02:34.253" v="177" actId="20577"/>
      <pc:docMkLst>
        <pc:docMk/>
      </pc:docMkLst>
      <pc:sldChg chg="addSp delSp modSp add mod">
        <pc:chgData name="Marin, Ayreen" userId="ca84c40d-ae20-485b-835c-3dc4e21df149" providerId="ADAL" clId="{2A3CD8AE-CDB8-4E60-B8E6-5DB08D04E8F5}" dt="2023-02-14T10:02:34.253" v="177" actId="20577"/>
        <pc:sldMkLst>
          <pc:docMk/>
          <pc:sldMk cId="1046099991" sldId="2147470275"/>
        </pc:sldMkLst>
        <pc:spChg chg="del">
          <ac:chgData name="Marin, Ayreen" userId="ca84c40d-ae20-485b-835c-3dc4e21df149" providerId="ADAL" clId="{2A3CD8AE-CDB8-4E60-B8E6-5DB08D04E8F5}" dt="2023-02-14T10:00:48.689" v="120" actId="478"/>
          <ac:spMkLst>
            <pc:docMk/>
            <pc:sldMk cId="1046099991" sldId="2147470275"/>
            <ac:spMk id="45" creationId="{B2EFEAC7-94B9-40EE-B0F7-A95B8E048F1C}"/>
          </ac:spMkLst>
        </pc:spChg>
        <pc:spChg chg="del">
          <ac:chgData name="Marin, Ayreen" userId="ca84c40d-ae20-485b-835c-3dc4e21df149" providerId="ADAL" clId="{2A3CD8AE-CDB8-4E60-B8E6-5DB08D04E8F5}" dt="2023-02-14T10:00:45.362" v="116" actId="478"/>
          <ac:spMkLst>
            <pc:docMk/>
            <pc:sldMk cId="1046099991" sldId="2147470275"/>
            <ac:spMk id="47" creationId="{E2F3163A-21F5-4221-8CA6-A93A32223A20}"/>
          </ac:spMkLst>
        </pc:spChg>
        <pc:spChg chg="mod">
          <ac:chgData name="Marin, Ayreen" userId="ca84c40d-ae20-485b-835c-3dc4e21df149" providerId="ADAL" clId="{2A3CD8AE-CDB8-4E60-B8E6-5DB08D04E8F5}" dt="2023-02-14T10:00:41.909" v="115"/>
          <ac:spMkLst>
            <pc:docMk/>
            <pc:sldMk cId="1046099991" sldId="2147470275"/>
            <ac:spMk id="51" creationId="{5910E7FE-412F-496C-8DAD-D55E2A5CD075}"/>
          </ac:spMkLst>
        </pc:spChg>
        <pc:spChg chg="del">
          <ac:chgData name="Marin, Ayreen" userId="ca84c40d-ae20-485b-835c-3dc4e21df149" providerId="ADAL" clId="{2A3CD8AE-CDB8-4E60-B8E6-5DB08D04E8F5}" dt="2023-02-14T10:00:50.581" v="121" actId="478"/>
          <ac:spMkLst>
            <pc:docMk/>
            <pc:sldMk cId="1046099991" sldId="2147470275"/>
            <ac:spMk id="53" creationId="{AE0BE256-D30B-4006-A430-800E452B4F9B}"/>
          </ac:spMkLst>
        </pc:spChg>
        <pc:spChg chg="del">
          <ac:chgData name="Marin, Ayreen" userId="ca84c40d-ae20-485b-835c-3dc4e21df149" providerId="ADAL" clId="{2A3CD8AE-CDB8-4E60-B8E6-5DB08D04E8F5}" dt="2023-02-14T10:00:46.257" v="117" actId="478"/>
          <ac:spMkLst>
            <pc:docMk/>
            <pc:sldMk cId="1046099991" sldId="2147470275"/>
            <ac:spMk id="54" creationId="{A70A39CB-AF79-4B78-B4C9-0362B442072F}"/>
          </ac:spMkLst>
        </pc:spChg>
        <pc:spChg chg="add del mod">
          <ac:chgData name="Marin, Ayreen" userId="ca84c40d-ae20-485b-835c-3dc4e21df149" providerId="ADAL" clId="{2A3CD8AE-CDB8-4E60-B8E6-5DB08D04E8F5}" dt="2023-02-14T09:58:37.817" v="28" actId="478"/>
          <ac:spMkLst>
            <pc:docMk/>
            <pc:sldMk cId="1046099991" sldId="2147470275"/>
            <ac:spMk id="58" creationId="{56524A7C-5757-482B-9576-892B7B223664}"/>
          </ac:spMkLst>
        </pc:spChg>
        <pc:spChg chg="add del mod">
          <ac:chgData name="Marin, Ayreen" userId="ca84c40d-ae20-485b-835c-3dc4e21df149" providerId="ADAL" clId="{2A3CD8AE-CDB8-4E60-B8E6-5DB08D04E8F5}" dt="2023-02-14T09:58:37.817" v="28" actId="478"/>
          <ac:spMkLst>
            <pc:docMk/>
            <pc:sldMk cId="1046099991" sldId="2147470275"/>
            <ac:spMk id="59" creationId="{F2E4CF68-8693-478C-A313-872D043319A2}"/>
          </ac:spMkLst>
        </pc:spChg>
        <pc:spChg chg="mod">
          <ac:chgData name="Marin, Ayreen" userId="ca84c40d-ae20-485b-835c-3dc4e21df149" providerId="ADAL" clId="{2A3CD8AE-CDB8-4E60-B8E6-5DB08D04E8F5}" dt="2023-02-14T10:02:30.972" v="175" actId="20577"/>
          <ac:spMkLst>
            <pc:docMk/>
            <pc:sldMk cId="1046099991" sldId="2147470275"/>
            <ac:spMk id="62" creationId="{3A6D241F-B800-4946-9397-153EDD7758B7}"/>
          </ac:spMkLst>
        </pc:spChg>
        <pc:spChg chg="del">
          <ac:chgData name="Marin, Ayreen" userId="ca84c40d-ae20-485b-835c-3dc4e21df149" providerId="ADAL" clId="{2A3CD8AE-CDB8-4E60-B8E6-5DB08D04E8F5}" dt="2023-02-14T10:00:48.073" v="119" actId="478"/>
          <ac:spMkLst>
            <pc:docMk/>
            <pc:sldMk cId="1046099991" sldId="2147470275"/>
            <ac:spMk id="63" creationId="{48E800C1-60D5-4507-96B1-997EE484C8B8}"/>
          </ac:spMkLst>
        </pc:spChg>
        <pc:spChg chg="del">
          <ac:chgData name="Marin, Ayreen" userId="ca84c40d-ae20-485b-835c-3dc4e21df149" providerId="ADAL" clId="{2A3CD8AE-CDB8-4E60-B8E6-5DB08D04E8F5}" dt="2023-02-14T10:00:47.105" v="118" actId="478"/>
          <ac:spMkLst>
            <pc:docMk/>
            <pc:sldMk cId="1046099991" sldId="2147470275"/>
            <ac:spMk id="64" creationId="{34F30005-1E10-48C8-B4AA-31D8C6484F5C}"/>
          </ac:spMkLst>
        </pc:spChg>
        <pc:spChg chg="add del mod">
          <ac:chgData name="Marin, Ayreen" userId="ca84c40d-ae20-485b-835c-3dc4e21df149" providerId="ADAL" clId="{2A3CD8AE-CDB8-4E60-B8E6-5DB08D04E8F5}" dt="2023-02-14T09:58:37.817" v="28" actId="478"/>
          <ac:spMkLst>
            <pc:docMk/>
            <pc:sldMk cId="1046099991" sldId="2147470275"/>
            <ac:spMk id="69" creationId="{D32E0F6E-DDEE-4D1F-9C24-0B97CE467D42}"/>
          </ac:spMkLst>
        </pc:spChg>
        <pc:spChg chg="add del mod">
          <ac:chgData name="Marin, Ayreen" userId="ca84c40d-ae20-485b-835c-3dc4e21df149" providerId="ADAL" clId="{2A3CD8AE-CDB8-4E60-B8E6-5DB08D04E8F5}" dt="2023-02-14T09:58:37.817" v="28" actId="478"/>
          <ac:spMkLst>
            <pc:docMk/>
            <pc:sldMk cId="1046099991" sldId="2147470275"/>
            <ac:spMk id="75" creationId="{724C8B9A-3BDB-4D68-9456-3737A6F5DB98}"/>
          </ac:spMkLst>
        </pc:spChg>
        <pc:spChg chg="mod">
          <ac:chgData name="Marin, Ayreen" userId="ca84c40d-ae20-485b-835c-3dc4e21df149" providerId="ADAL" clId="{2A3CD8AE-CDB8-4E60-B8E6-5DB08D04E8F5}" dt="2023-02-14T10:02:34.253" v="177" actId="20577"/>
          <ac:spMkLst>
            <pc:docMk/>
            <pc:sldMk cId="1046099991" sldId="2147470275"/>
            <ac:spMk id="77" creationId="{CCE07229-CC37-43B5-8DF8-0C3D6788F3EC}"/>
          </ac:spMkLst>
        </pc:spChg>
        <pc:spChg chg="add mod">
          <ac:chgData name="Marin, Ayreen" userId="ca84c40d-ae20-485b-835c-3dc4e21df149" providerId="ADAL" clId="{2A3CD8AE-CDB8-4E60-B8E6-5DB08D04E8F5}" dt="2023-02-14T09:59:30.741" v="106" actId="1037"/>
          <ac:spMkLst>
            <pc:docMk/>
            <pc:sldMk cId="1046099991" sldId="2147470275"/>
            <ac:spMk id="83" creationId="{F71569A0-0F73-42F9-90BF-31C45BC75A16}"/>
          </ac:spMkLst>
        </pc:spChg>
        <pc:spChg chg="add mod">
          <ac:chgData name="Marin, Ayreen" userId="ca84c40d-ae20-485b-835c-3dc4e21df149" providerId="ADAL" clId="{2A3CD8AE-CDB8-4E60-B8E6-5DB08D04E8F5}" dt="2023-02-14T09:59:01.388" v="47" actId="1037"/>
          <ac:spMkLst>
            <pc:docMk/>
            <pc:sldMk cId="1046099991" sldId="2147470275"/>
            <ac:spMk id="87" creationId="{F604E8B6-E5E3-440D-9FC3-E3BB2B16F79F}"/>
          </ac:spMkLst>
        </pc:spChg>
        <pc:spChg chg="add mod">
          <ac:chgData name="Marin, Ayreen" userId="ca84c40d-ae20-485b-835c-3dc4e21df149" providerId="ADAL" clId="{2A3CD8AE-CDB8-4E60-B8E6-5DB08D04E8F5}" dt="2023-02-14T10:00:23.544" v="114" actId="1038"/>
          <ac:spMkLst>
            <pc:docMk/>
            <pc:sldMk cId="1046099991" sldId="2147470275"/>
            <ac:spMk id="88" creationId="{553715DF-43AB-49A9-874A-EF3457492CF0}"/>
          </ac:spMkLst>
        </pc:spChg>
        <pc:spChg chg="add mod">
          <ac:chgData name="Marin, Ayreen" userId="ca84c40d-ae20-485b-835c-3dc4e21df149" providerId="ADAL" clId="{2A3CD8AE-CDB8-4E60-B8E6-5DB08D04E8F5}" dt="2023-02-14T10:00:23.544" v="114" actId="1038"/>
          <ac:spMkLst>
            <pc:docMk/>
            <pc:sldMk cId="1046099991" sldId="2147470275"/>
            <ac:spMk id="89" creationId="{F9A918F6-8C9C-47AD-BED8-B6690858EB0E}"/>
          </ac:spMkLst>
        </pc:spChg>
        <pc:spChg chg="add mod">
          <ac:chgData name="Marin, Ayreen" userId="ca84c40d-ae20-485b-835c-3dc4e21df149" providerId="ADAL" clId="{2A3CD8AE-CDB8-4E60-B8E6-5DB08D04E8F5}" dt="2023-02-14T10:00:23.544" v="114" actId="1038"/>
          <ac:spMkLst>
            <pc:docMk/>
            <pc:sldMk cId="1046099991" sldId="2147470275"/>
            <ac:spMk id="90" creationId="{B939DFD7-46CC-4F0C-BFDB-3470CBA8165F}"/>
          </ac:spMkLst>
        </pc:spChg>
        <pc:spChg chg="add mod">
          <ac:chgData name="Marin, Ayreen" userId="ca84c40d-ae20-485b-835c-3dc4e21df149" providerId="ADAL" clId="{2A3CD8AE-CDB8-4E60-B8E6-5DB08D04E8F5}" dt="2023-02-14T10:00:23.544" v="114" actId="1038"/>
          <ac:spMkLst>
            <pc:docMk/>
            <pc:sldMk cId="1046099991" sldId="2147470275"/>
            <ac:spMk id="91" creationId="{457D6F4E-6C04-45EA-979B-88CB1D1E6F50}"/>
          </ac:spMkLst>
        </pc:spChg>
        <pc:spChg chg="add mod">
          <ac:chgData name="Marin, Ayreen" userId="ca84c40d-ae20-485b-835c-3dc4e21df149" providerId="ADAL" clId="{2A3CD8AE-CDB8-4E60-B8E6-5DB08D04E8F5}" dt="2023-02-14T10:01:04.585" v="123" actId="1076"/>
          <ac:spMkLst>
            <pc:docMk/>
            <pc:sldMk cId="1046099991" sldId="2147470275"/>
            <ac:spMk id="92" creationId="{B8A03C6F-E3F1-4501-BF2D-13C7A8BEBF48}"/>
          </ac:spMkLst>
        </pc:spChg>
        <pc:spChg chg="mod">
          <ac:chgData name="Marin, Ayreen" userId="ca84c40d-ae20-485b-835c-3dc4e21df149" providerId="ADAL" clId="{2A3CD8AE-CDB8-4E60-B8E6-5DB08D04E8F5}" dt="2023-02-14T09:57:18.340" v="1"/>
          <ac:spMkLst>
            <pc:docMk/>
            <pc:sldMk cId="1046099991" sldId="2147470275"/>
            <ac:spMk id="93" creationId="{CD48E9B8-6724-4AB5-B41F-56858CE4B912}"/>
          </ac:spMkLst>
        </pc:spChg>
        <pc:spChg chg="add mod">
          <ac:chgData name="Marin, Ayreen" userId="ca84c40d-ae20-485b-835c-3dc4e21df149" providerId="ADAL" clId="{2A3CD8AE-CDB8-4E60-B8E6-5DB08D04E8F5}" dt="2023-02-14T10:01:04.585" v="123" actId="1076"/>
          <ac:spMkLst>
            <pc:docMk/>
            <pc:sldMk cId="1046099991" sldId="2147470275"/>
            <ac:spMk id="94" creationId="{5BFBD028-80BF-4F82-B6BD-E2FA71A8EF43}"/>
          </ac:spMkLst>
        </pc:spChg>
        <pc:spChg chg="mod">
          <ac:chgData name="Marin, Ayreen" userId="ca84c40d-ae20-485b-835c-3dc4e21df149" providerId="ADAL" clId="{2A3CD8AE-CDB8-4E60-B8E6-5DB08D04E8F5}" dt="2023-02-14T09:57:31.466" v="2"/>
          <ac:spMkLst>
            <pc:docMk/>
            <pc:sldMk cId="1046099991" sldId="2147470275"/>
            <ac:spMk id="98" creationId="{4FD850A8-4EFA-45FF-998F-6B591FE74262}"/>
          </ac:spMkLst>
        </pc:spChg>
        <pc:spChg chg="mod">
          <ac:chgData name="Marin, Ayreen" userId="ca84c40d-ae20-485b-835c-3dc4e21df149" providerId="ADAL" clId="{2A3CD8AE-CDB8-4E60-B8E6-5DB08D04E8F5}" dt="2023-02-14T09:57:56.229" v="18" actId="1037"/>
          <ac:spMkLst>
            <pc:docMk/>
            <pc:sldMk cId="1046099991" sldId="2147470275"/>
            <ac:spMk id="107" creationId="{0D548263-2095-40C2-99A6-C65E56F8E021}"/>
          </ac:spMkLst>
        </pc:spChg>
        <pc:spChg chg="add mod">
          <ac:chgData name="Marin, Ayreen" userId="ca84c40d-ae20-485b-835c-3dc4e21df149" providerId="ADAL" clId="{2A3CD8AE-CDB8-4E60-B8E6-5DB08D04E8F5}" dt="2023-02-14T10:01:04.585" v="123" actId="1076"/>
          <ac:spMkLst>
            <pc:docMk/>
            <pc:sldMk cId="1046099991" sldId="2147470275"/>
            <ac:spMk id="108" creationId="{70471963-36C0-4BAB-B6EE-2B923037CE2C}"/>
          </ac:spMkLst>
        </pc:spChg>
        <pc:spChg chg="add mod">
          <ac:chgData name="Marin, Ayreen" userId="ca84c40d-ae20-485b-835c-3dc4e21df149" providerId="ADAL" clId="{2A3CD8AE-CDB8-4E60-B8E6-5DB08D04E8F5}" dt="2023-02-14T10:01:04.585" v="123" actId="1076"/>
          <ac:spMkLst>
            <pc:docMk/>
            <pc:sldMk cId="1046099991" sldId="2147470275"/>
            <ac:spMk id="109" creationId="{AA0625FE-40EF-4920-A00B-C2EC5E583777}"/>
          </ac:spMkLst>
        </pc:spChg>
        <pc:spChg chg="add del">
          <ac:chgData name="Marin, Ayreen" userId="ca84c40d-ae20-485b-835c-3dc4e21df149" providerId="ADAL" clId="{2A3CD8AE-CDB8-4E60-B8E6-5DB08D04E8F5}" dt="2023-02-14T09:58:05.092" v="20" actId="478"/>
          <ac:spMkLst>
            <pc:docMk/>
            <pc:sldMk cId="1046099991" sldId="2147470275"/>
            <ac:spMk id="110" creationId="{8CD59763-5A6D-4CFC-ABFF-D575511AF534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17" creationId="{2450BD17-656A-4299-AC34-F2F2260281D0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18" creationId="{2EEA2CE5-2FDA-4874-BC99-E651463B6471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19" creationId="{CCF8BCC5-B32B-4F4D-A5A8-4D9E6E7441B8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20" creationId="{04EADD87-D2A2-4C9B-AB9F-28A609B3CD6C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23" creationId="{91BC08AE-CEA8-4B3D-A074-60C352CD2C0E}"/>
          </ac:spMkLst>
        </pc:spChg>
        <pc:spChg chg="del">
          <ac:chgData name="Marin, Ayreen" userId="ca84c40d-ae20-485b-835c-3dc4e21df149" providerId="ADAL" clId="{2A3CD8AE-CDB8-4E60-B8E6-5DB08D04E8F5}" dt="2023-02-14T10:00:11.057" v="110" actId="478"/>
          <ac:spMkLst>
            <pc:docMk/>
            <pc:sldMk cId="1046099991" sldId="2147470275"/>
            <ac:spMk id="124" creationId="{B5F0A8F3-376E-4155-A743-00D43BBE51AC}"/>
          </ac:spMkLst>
        </pc:spChg>
        <pc:spChg chg="add del">
          <ac:chgData name="Marin, Ayreen" userId="ca84c40d-ae20-485b-835c-3dc4e21df149" providerId="ADAL" clId="{2A3CD8AE-CDB8-4E60-B8E6-5DB08D04E8F5}" dt="2023-02-14T09:58:16.338" v="21" actId="478"/>
          <ac:spMkLst>
            <pc:docMk/>
            <pc:sldMk cId="1046099991" sldId="2147470275"/>
            <ac:spMk id="131" creationId="{C3C63079-B501-4E9D-8CA6-0305D6776C60}"/>
          </ac:spMkLst>
        </pc:spChg>
        <pc:spChg chg="add del">
          <ac:chgData name="Marin, Ayreen" userId="ca84c40d-ae20-485b-835c-3dc4e21df149" providerId="ADAL" clId="{2A3CD8AE-CDB8-4E60-B8E6-5DB08D04E8F5}" dt="2023-02-14T09:58:16.338" v="21" actId="478"/>
          <ac:spMkLst>
            <pc:docMk/>
            <pc:sldMk cId="1046099991" sldId="2147470275"/>
            <ac:spMk id="134" creationId="{C6AED27B-BBEE-4016-818F-9FDE158118A2}"/>
          </ac:spMkLst>
        </pc:spChg>
        <pc:picChg chg="add mod">
          <ac:chgData name="Marin, Ayreen" userId="ca84c40d-ae20-485b-835c-3dc4e21df149" providerId="ADAL" clId="{2A3CD8AE-CDB8-4E60-B8E6-5DB08D04E8F5}" dt="2023-02-14T09:57:48.061" v="5" actId="1076"/>
          <ac:picMkLst>
            <pc:docMk/>
            <pc:sldMk cId="1046099991" sldId="2147470275"/>
            <ac:picMk id="57" creationId="{A359DA72-9D6A-4B53-AED7-C7B526F35CB8}"/>
          </ac:picMkLst>
        </pc:picChg>
        <pc:picChg chg="add del mod">
          <ac:chgData name="Marin, Ayreen" userId="ca84c40d-ae20-485b-835c-3dc4e21df149" providerId="ADAL" clId="{2A3CD8AE-CDB8-4E60-B8E6-5DB08D04E8F5}" dt="2023-02-14T09:58:37.817" v="28" actId="478"/>
          <ac:picMkLst>
            <pc:docMk/>
            <pc:sldMk cId="1046099991" sldId="2147470275"/>
            <ac:picMk id="60" creationId="{7803AE27-4875-4761-835C-FB5A6955CC1A}"/>
          </ac:picMkLst>
        </pc:picChg>
        <pc:picChg chg="add del mod">
          <ac:chgData name="Marin, Ayreen" userId="ca84c40d-ae20-485b-835c-3dc4e21df149" providerId="ADAL" clId="{2A3CD8AE-CDB8-4E60-B8E6-5DB08D04E8F5}" dt="2023-02-14T09:58:37.817" v="28" actId="478"/>
          <ac:picMkLst>
            <pc:docMk/>
            <pc:sldMk cId="1046099991" sldId="2147470275"/>
            <ac:picMk id="61" creationId="{C76BB639-6F3A-4F5E-8FFE-19C18E1A4740}"/>
          </ac:picMkLst>
        </pc:picChg>
        <pc:picChg chg="add del mod">
          <ac:chgData name="Marin, Ayreen" userId="ca84c40d-ae20-485b-835c-3dc4e21df149" providerId="ADAL" clId="{2A3CD8AE-CDB8-4E60-B8E6-5DB08D04E8F5}" dt="2023-02-14T09:58:37.817" v="28" actId="478"/>
          <ac:picMkLst>
            <pc:docMk/>
            <pc:sldMk cId="1046099991" sldId="2147470275"/>
            <ac:picMk id="68" creationId="{26EECF2A-D20E-4842-B90A-DC8E479C2F90}"/>
          </ac:picMkLst>
        </pc:picChg>
        <pc:picChg chg="add del mod">
          <ac:chgData name="Marin, Ayreen" userId="ca84c40d-ae20-485b-835c-3dc4e21df149" providerId="ADAL" clId="{2A3CD8AE-CDB8-4E60-B8E6-5DB08D04E8F5}" dt="2023-02-14T09:58:37.817" v="28" actId="478"/>
          <ac:picMkLst>
            <pc:docMk/>
            <pc:sldMk cId="1046099991" sldId="2147470275"/>
            <ac:picMk id="70" creationId="{548C67AF-2A66-4006-BA70-003D5F99DF0D}"/>
          </ac:picMkLst>
        </pc:picChg>
        <pc:picChg chg="add del mod">
          <ac:chgData name="Marin, Ayreen" userId="ca84c40d-ae20-485b-835c-3dc4e21df149" providerId="ADAL" clId="{2A3CD8AE-CDB8-4E60-B8E6-5DB08D04E8F5}" dt="2023-02-14T09:58:37.817" v="28" actId="478"/>
          <ac:picMkLst>
            <pc:docMk/>
            <pc:sldMk cId="1046099991" sldId="2147470275"/>
            <ac:picMk id="74" creationId="{8B3D08E7-17AA-490E-845D-52567E09046E}"/>
          </ac:picMkLst>
        </pc:picChg>
        <pc:picChg chg="add mod">
          <ac:chgData name="Marin, Ayreen" userId="ca84c40d-ae20-485b-835c-3dc4e21df149" providerId="ADAL" clId="{2A3CD8AE-CDB8-4E60-B8E6-5DB08D04E8F5}" dt="2023-02-14T09:59:37.648" v="109" actId="1038"/>
          <ac:picMkLst>
            <pc:docMk/>
            <pc:sldMk cId="1046099991" sldId="2147470275"/>
            <ac:picMk id="76" creationId="{F890C61E-1156-45E7-966E-7148FBB0A4FF}"/>
          </ac:picMkLst>
        </pc:picChg>
        <pc:picChg chg="add mod">
          <ac:chgData name="Marin, Ayreen" userId="ca84c40d-ae20-485b-835c-3dc4e21df149" providerId="ADAL" clId="{2A3CD8AE-CDB8-4E60-B8E6-5DB08D04E8F5}" dt="2023-02-14T09:59:37.648" v="109" actId="1038"/>
          <ac:picMkLst>
            <pc:docMk/>
            <pc:sldMk cId="1046099991" sldId="2147470275"/>
            <ac:picMk id="78" creationId="{26D080CE-01A2-4FA9-83B3-31D3F60E66EB}"/>
          </ac:picMkLst>
        </pc:picChg>
        <pc:picChg chg="add mod">
          <ac:chgData name="Marin, Ayreen" userId="ca84c40d-ae20-485b-835c-3dc4e21df149" providerId="ADAL" clId="{2A3CD8AE-CDB8-4E60-B8E6-5DB08D04E8F5}" dt="2023-02-14T09:59:24.897" v="87" actId="1037"/>
          <ac:picMkLst>
            <pc:docMk/>
            <pc:sldMk cId="1046099991" sldId="2147470275"/>
            <ac:picMk id="82" creationId="{E4A2B5D8-DB61-4F85-9BF0-6669D694D552}"/>
          </ac:picMkLst>
        </pc:picChg>
        <pc:picChg chg="add mod">
          <ac:chgData name="Marin, Ayreen" userId="ca84c40d-ae20-485b-835c-3dc4e21df149" providerId="ADAL" clId="{2A3CD8AE-CDB8-4E60-B8E6-5DB08D04E8F5}" dt="2023-02-14T09:59:37.648" v="109" actId="1038"/>
          <ac:picMkLst>
            <pc:docMk/>
            <pc:sldMk cId="1046099991" sldId="2147470275"/>
            <ac:picMk id="84" creationId="{D80F5A64-5205-4C8E-B054-8CD115B68F3D}"/>
          </ac:picMkLst>
        </pc:picChg>
        <pc:picChg chg="add mod">
          <ac:chgData name="Marin, Ayreen" userId="ca84c40d-ae20-485b-835c-3dc4e21df149" providerId="ADAL" clId="{2A3CD8AE-CDB8-4E60-B8E6-5DB08D04E8F5}" dt="2023-02-14T09:59:01.388" v="47" actId="1037"/>
          <ac:picMkLst>
            <pc:docMk/>
            <pc:sldMk cId="1046099991" sldId="2147470275"/>
            <ac:picMk id="86" creationId="{447596B8-E131-407B-B542-5016D112F6C2}"/>
          </ac:picMkLst>
        </pc:picChg>
        <pc:picChg chg="del">
          <ac:chgData name="Marin, Ayreen" userId="ca84c40d-ae20-485b-835c-3dc4e21df149" providerId="ADAL" clId="{2A3CD8AE-CDB8-4E60-B8E6-5DB08D04E8F5}" dt="2023-02-14T09:57:40.650" v="3" actId="478"/>
          <ac:picMkLst>
            <pc:docMk/>
            <pc:sldMk cId="1046099991" sldId="2147470275"/>
            <ac:picMk id="105" creationId="{ED30FFA0-AB99-4219-B8AD-9BD79D1E94C5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12" creationId="{461616C2-6BAA-4B8B-A215-9B0EC1FFD5B2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13" creationId="{E832BD43-6E09-4E4A-A4DF-A5D62A1A066D}"/>
          </ac:picMkLst>
        </pc:picChg>
        <pc:picChg chg="add del">
          <ac:chgData name="Marin, Ayreen" userId="ca84c40d-ae20-485b-835c-3dc4e21df149" providerId="ADAL" clId="{2A3CD8AE-CDB8-4E60-B8E6-5DB08D04E8F5}" dt="2023-02-14T09:58:18.312" v="22" actId="478"/>
          <ac:picMkLst>
            <pc:docMk/>
            <pc:sldMk cId="1046099991" sldId="2147470275"/>
            <ac:picMk id="114" creationId="{5BDF3EC0-E1A0-4DA3-9837-DD3DB98EF9BA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22" creationId="{B6CB8315-D433-4E33-B91A-3419311F3D88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30" creationId="{A7969F12-3A5C-43AA-A20A-3800B33A52CB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33" creationId="{1974947D-3620-4AD1-B224-5DAFECC15D86}"/>
          </ac:picMkLst>
        </pc:picChg>
        <pc:picChg chg="add del">
          <ac:chgData name="Marin, Ayreen" userId="ca84c40d-ae20-485b-835c-3dc4e21df149" providerId="ADAL" clId="{2A3CD8AE-CDB8-4E60-B8E6-5DB08D04E8F5}" dt="2023-02-14T09:58:16.338" v="21" actId="478"/>
          <ac:picMkLst>
            <pc:docMk/>
            <pc:sldMk cId="1046099991" sldId="2147470275"/>
            <ac:picMk id="135" creationId="{FA2DEE95-CB78-4E13-9229-3C0FC6EE1876}"/>
          </ac:picMkLst>
        </pc:picChg>
        <pc:cxnChg chg="add del mod">
          <ac:chgData name="Marin, Ayreen" userId="ca84c40d-ae20-485b-835c-3dc4e21df149" providerId="ADAL" clId="{2A3CD8AE-CDB8-4E60-B8E6-5DB08D04E8F5}" dt="2023-02-14T09:58:37.817" v="28" actId="478"/>
          <ac:cxnSpMkLst>
            <pc:docMk/>
            <pc:sldMk cId="1046099991" sldId="2147470275"/>
            <ac:cxnSpMk id="65" creationId="{F443B755-BEE4-43EE-8852-9CB71369CA8D}"/>
          </ac:cxnSpMkLst>
        </pc:cxnChg>
        <pc:cxnChg chg="add del mod">
          <ac:chgData name="Marin, Ayreen" userId="ca84c40d-ae20-485b-835c-3dc4e21df149" providerId="ADAL" clId="{2A3CD8AE-CDB8-4E60-B8E6-5DB08D04E8F5}" dt="2023-02-14T09:58:37.817" v="28" actId="478"/>
          <ac:cxnSpMkLst>
            <pc:docMk/>
            <pc:sldMk cId="1046099991" sldId="2147470275"/>
            <ac:cxnSpMk id="66" creationId="{177D4AD7-8274-4A4F-8DC8-909F1728202B}"/>
          </ac:cxnSpMkLst>
        </pc:cxnChg>
        <pc:cxnChg chg="add del mod">
          <ac:chgData name="Marin, Ayreen" userId="ca84c40d-ae20-485b-835c-3dc4e21df149" providerId="ADAL" clId="{2A3CD8AE-CDB8-4E60-B8E6-5DB08D04E8F5}" dt="2023-02-14T09:58:37.817" v="28" actId="478"/>
          <ac:cxnSpMkLst>
            <pc:docMk/>
            <pc:sldMk cId="1046099991" sldId="2147470275"/>
            <ac:cxnSpMk id="67" creationId="{E3BD80D0-9032-4787-AE0B-7FC8989A9230}"/>
          </ac:cxnSpMkLst>
        </pc:cxnChg>
        <pc:cxnChg chg="add del mod">
          <ac:chgData name="Marin, Ayreen" userId="ca84c40d-ae20-485b-835c-3dc4e21df149" providerId="ADAL" clId="{2A3CD8AE-CDB8-4E60-B8E6-5DB08D04E8F5}" dt="2023-02-14T09:58:37.817" v="28" actId="478"/>
          <ac:cxnSpMkLst>
            <pc:docMk/>
            <pc:sldMk cId="1046099991" sldId="2147470275"/>
            <ac:cxnSpMk id="71" creationId="{63052251-2E65-4300-B1DB-1F0D01B3BA78}"/>
          </ac:cxnSpMkLst>
        </pc:cxnChg>
        <pc:cxnChg chg="add mod">
          <ac:chgData name="Marin, Ayreen" userId="ca84c40d-ae20-485b-835c-3dc4e21df149" providerId="ADAL" clId="{2A3CD8AE-CDB8-4E60-B8E6-5DB08D04E8F5}" dt="2023-02-14T09:59:37.648" v="109" actId="1038"/>
          <ac:cxnSpMkLst>
            <pc:docMk/>
            <pc:sldMk cId="1046099991" sldId="2147470275"/>
            <ac:cxnSpMk id="79" creationId="{31F3149A-C920-43B9-9F72-1F6C128C7268}"/>
          </ac:cxnSpMkLst>
        </pc:cxnChg>
        <pc:cxnChg chg="add mod">
          <ac:chgData name="Marin, Ayreen" userId="ca84c40d-ae20-485b-835c-3dc4e21df149" providerId="ADAL" clId="{2A3CD8AE-CDB8-4E60-B8E6-5DB08D04E8F5}" dt="2023-02-14T09:59:37.648" v="109" actId="1038"/>
          <ac:cxnSpMkLst>
            <pc:docMk/>
            <pc:sldMk cId="1046099991" sldId="2147470275"/>
            <ac:cxnSpMk id="80" creationId="{08214B39-C80C-42C7-A811-A1B78B32F056}"/>
          </ac:cxnSpMkLst>
        </pc:cxnChg>
        <pc:cxnChg chg="add mod">
          <ac:chgData name="Marin, Ayreen" userId="ca84c40d-ae20-485b-835c-3dc4e21df149" providerId="ADAL" clId="{2A3CD8AE-CDB8-4E60-B8E6-5DB08D04E8F5}" dt="2023-02-14T09:59:37.648" v="109" actId="1038"/>
          <ac:cxnSpMkLst>
            <pc:docMk/>
            <pc:sldMk cId="1046099991" sldId="2147470275"/>
            <ac:cxnSpMk id="81" creationId="{285D5FF9-018E-4A3E-B388-953055D42DB7}"/>
          </ac:cxnSpMkLst>
        </pc:cxnChg>
        <pc:cxnChg chg="add mod">
          <ac:chgData name="Marin, Ayreen" userId="ca84c40d-ae20-485b-835c-3dc4e21df149" providerId="ADAL" clId="{2A3CD8AE-CDB8-4E60-B8E6-5DB08D04E8F5}" dt="2023-02-14T09:59:19.026" v="69" actId="1037"/>
          <ac:cxnSpMkLst>
            <pc:docMk/>
            <pc:sldMk cId="1046099991" sldId="2147470275"/>
            <ac:cxnSpMk id="85" creationId="{5D922C9F-CD86-4242-AA36-A1F852854AD9}"/>
          </ac:cxnSpMkLst>
        </pc:cxnChg>
        <pc:cxnChg chg="add del">
          <ac:chgData name="Marin, Ayreen" userId="ca84c40d-ae20-485b-835c-3dc4e21df149" providerId="ADAL" clId="{2A3CD8AE-CDB8-4E60-B8E6-5DB08D04E8F5}" dt="2023-02-14T09:58:21.897" v="25" actId="478"/>
          <ac:cxnSpMkLst>
            <pc:docMk/>
            <pc:sldMk cId="1046099991" sldId="2147470275"/>
            <ac:cxnSpMk id="125" creationId="{BAC2D1DA-B563-43BA-97A5-F0DC8EE10663}"/>
          </ac:cxnSpMkLst>
        </pc:cxnChg>
        <pc:cxnChg chg="add del">
          <ac:chgData name="Marin, Ayreen" userId="ca84c40d-ae20-485b-835c-3dc4e21df149" providerId="ADAL" clId="{2A3CD8AE-CDB8-4E60-B8E6-5DB08D04E8F5}" dt="2023-02-14T09:58:16.338" v="21" actId="478"/>
          <ac:cxnSpMkLst>
            <pc:docMk/>
            <pc:sldMk cId="1046099991" sldId="2147470275"/>
            <ac:cxnSpMk id="126" creationId="{3E3DC23C-956C-46BE-80FF-0DB819DF4D06}"/>
          </ac:cxnSpMkLst>
        </pc:cxnChg>
        <pc:cxnChg chg="add del">
          <ac:chgData name="Marin, Ayreen" userId="ca84c40d-ae20-485b-835c-3dc4e21df149" providerId="ADAL" clId="{2A3CD8AE-CDB8-4E60-B8E6-5DB08D04E8F5}" dt="2023-02-14T09:58:20.764" v="24" actId="478"/>
          <ac:cxnSpMkLst>
            <pc:docMk/>
            <pc:sldMk cId="1046099991" sldId="2147470275"/>
            <ac:cxnSpMk id="127" creationId="{800AF2D3-9460-44C2-9591-60994EA6C7DA}"/>
          </ac:cxnSpMkLst>
        </pc:cxnChg>
        <pc:cxnChg chg="add del">
          <ac:chgData name="Marin, Ayreen" userId="ca84c40d-ae20-485b-835c-3dc4e21df149" providerId="ADAL" clId="{2A3CD8AE-CDB8-4E60-B8E6-5DB08D04E8F5}" dt="2023-02-14T09:58:16.338" v="21" actId="478"/>
          <ac:cxnSpMkLst>
            <pc:docMk/>
            <pc:sldMk cId="1046099991" sldId="2147470275"/>
            <ac:cxnSpMk id="129" creationId="{22A87617-CD5A-4721-8D80-03E847295574}"/>
          </ac:cxnSpMkLst>
        </pc:cxnChg>
        <pc:cxnChg chg="add del">
          <ac:chgData name="Marin, Ayreen" userId="ca84c40d-ae20-485b-835c-3dc4e21df149" providerId="ADAL" clId="{2A3CD8AE-CDB8-4E60-B8E6-5DB08D04E8F5}" dt="2023-02-14T09:58:19.744" v="23" actId="478"/>
          <ac:cxnSpMkLst>
            <pc:docMk/>
            <pc:sldMk cId="1046099991" sldId="2147470275"/>
            <ac:cxnSpMk id="132" creationId="{6EC4F9BE-4216-4E19-BF86-DFD8361CAFCA}"/>
          </ac:cxnSpMkLst>
        </pc:cxnChg>
      </pc:sldChg>
    </pc:docChg>
  </pc:docChgLst>
  <pc:docChgLst>
    <pc:chgData name="Marin, Ayreen" userId="ca84c40d-ae20-485b-835c-3dc4e21df149" providerId="ADAL" clId="{32DC2F31-F285-4757-A3CA-EE2D827436DE}"/>
    <pc:docChg chg="undo custSel addSld delSld modSld modSection">
      <pc:chgData name="Marin, Ayreen" userId="ca84c40d-ae20-485b-835c-3dc4e21df149" providerId="ADAL" clId="{32DC2F31-F285-4757-A3CA-EE2D827436DE}" dt="2023-02-14T09:31:49.511" v="101" actId="47"/>
      <pc:docMkLst>
        <pc:docMk/>
      </pc:docMkLst>
      <pc:sldChg chg="modSp mod">
        <pc:chgData name="Marin, Ayreen" userId="ca84c40d-ae20-485b-835c-3dc4e21df149" providerId="ADAL" clId="{32DC2F31-F285-4757-A3CA-EE2D827436DE}" dt="2023-02-14T09:20:22.485" v="3" actId="6549"/>
        <pc:sldMkLst>
          <pc:docMk/>
          <pc:sldMk cId="3567439726" sldId="2147468936"/>
        </pc:sldMkLst>
        <pc:spChg chg="mod">
          <ac:chgData name="Marin, Ayreen" userId="ca84c40d-ae20-485b-835c-3dc4e21df149" providerId="ADAL" clId="{32DC2F31-F285-4757-A3CA-EE2D827436DE}" dt="2023-02-14T09:20:15.905" v="0" actId="6549"/>
          <ac:spMkLst>
            <pc:docMk/>
            <pc:sldMk cId="3567439726" sldId="2147468936"/>
            <ac:spMk id="50" creationId="{C9B30B91-9996-4372-A40D-6F0BB7AD08DF}"/>
          </ac:spMkLst>
        </pc:spChg>
        <pc:spChg chg="mod">
          <ac:chgData name="Marin, Ayreen" userId="ca84c40d-ae20-485b-835c-3dc4e21df149" providerId="ADAL" clId="{32DC2F31-F285-4757-A3CA-EE2D827436DE}" dt="2023-02-14T09:20:18.448" v="1" actId="6549"/>
          <ac:spMkLst>
            <pc:docMk/>
            <pc:sldMk cId="3567439726" sldId="2147468936"/>
            <ac:spMk id="55" creationId="{BC02130B-CBEF-413A-9101-104E76F7D9AF}"/>
          </ac:spMkLst>
        </pc:spChg>
        <pc:spChg chg="mod">
          <ac:chgData name="Marin, Ayreen" userId="ca84c40d-ae20-485b-835c-3dc4e21df149" providerId="ADAL" clId="{32DC2F31-F285-4757-A3CA-EE2D827436DE}" dt="2023-02-14T09:20:20.544" v="2" actId="6549"/>
          <ac:spMkLst>
            <pc:docMk/>
            <pc:sldMk cId="3567439726" sldId="2147468936"/>
            <ac:spMk id="64" creationId="{E3EAC619-FF84-43CB-9E31-2D92FE427FD8}"/>
          </ac:spMkLst>
        </pc:spChg>
        <pc:spChg chg="mod">
          <ac:chgData name="Marin, Ayreen" userId="ca84c40d-ae20-485b-835c-3dc4e21df149" providerId="ADAL" clId="{32DC2F31-F285-4757-A3CA-EE2D827436DE}" dt="2023-02-14T09:20:22.485" v="3" actId="6549"/>
          <ac:spMkLst>
            <pc:docMk/>
            <pc:sldMk cId="3567439726" sldId="2147468936"/>
            <ac:spMk id="77" creationId="{9575554E-384D-4491-969B-550FD87BF228}"/>
          </ac:spMkLst>
        </pc:spChg>
      </pc:sldChg>
      <pc:sldChg chg="add">
        <pc:chgData name="Marin, Ayreen" userId="ca84c40d-ae20-485b-835c-3dc4e21df149" providerId="ADAL" clId="{32DC2F31-F285-4757-A3CA-EE2D827436DE}" dt="2023-02-14T09:22:14.114" v="4"/>
        <pc:sldMkLst>
          <pc:docMk/>
          <pc:sldMk cId="1871585434" sldId="2147470267"/>
        </pc:sldMkLst>
      </pc:sldChg>
      <pc:sldChg chg="add">
        <pc:chgData name="Marin, Ayreen" userId="ca84c40d-ae20-485b-835c-3dc4e21df149" providerId="ADAL" clId="{32DC2F31-F285-4757-A3CA-EE2D827436DE}" dt="2023-02-14T09:22:14.114" v="4"/>
        <pc:sldMkLst>
          <pc:docMk/>
          <pc:sldMk cId="340147455" sldId="2147470268"/>
        </pc:sldMkLst>
      </pc:sldChg>
      <pc:sldChg chg="addSp delSp modSp add mod">
        <pc:chgData name="Marin, Ayreen" userId="ca84c40d-ae20-485b-835c-3dc4e21df149" providerId="ADAL" clId="{32DC2F31-F285-4757-A3CA-EE2D827436DE}" dt="2023-02-14T09:30:15.937" v="93" actId="20577"/>
        <pc:sldMkLst>
          <pc:docMk/>
          <pc:sldMk cId="37465176" sldId="2147470269"/>
        </pc:sldMkLst>
        <pc:spChg chg="add mod">
          <ac:chgData name="Marin, Ayreen" userId="ca84c40d-ae20-485b-835c-3dc4e21df149" providerId="ADAL" clId="{32DC2F31-F285-4757-A3CA-EE2D827436DE}" dt="2023-02-14T09:28:35.353" v="36" actId="14100"/>
          <ac:spMkLst>
            <pc:docMk/>
            <pc:sldMk cId="37465176" sldId="2147470269"/>
            <ac:spMk id="2" creationId="{1128E972-7D4F-4A1E-A7DD-820D05302451}"/>
          </ac:spMkLst>
        </pc:spChg>
        <pc:spChg chg="add mod">
          <ac:chgData name="Marin, Ayreen" userId="ca84c40d-ae20-485b-835c-3dc4e21df149" providerId="ADAL" clId="{32DC2F31-F285-4757-A3CA-EE2D827436DE}" dt="2023-02-14T09:23:00.690" v="22" actId="1076"/>
          <ac:spMkLst>
            <pc:docMk/>
            <pc:sldMk cId="37465176" sldId="2147470269"/>
            <ac:spMk id="25" creationId="{254F0174-A3F4-4065-A447-FB6D73DA1DFF}"/>
          </ac:spMkLst>
        </pc:spChg>
        <pc:spChg chg="add mod">
          <ac:chgData name="Marin, Ayreen" userId="ca84c40d-ae20-485b-835c-3dc4e21df149" providerId="ADAL" clId="{32DC2F31-F285-4757-A3CA-EE2D827436DE}" dt="2023-02-14T09:30:15.937" v="93" actId="20577"/>
          <ac:spMkLst>
            <pc:docMk/>
            <pc:sldMk cId="37465176" sldId="2147470269"/>
            <ac:spMk id="27" creationId="{AFB4D251-08B7-4E59-A9F1-5B80BB338CC2}"/>
          </ac:spMkLst>
        </pc:spChg>
        <pc:spChg chg="mod">
          <ac:chgData name="Marin, Ayreen" userId="ca84c40d-ae20-485b-835c-3dc4e21df149" providerId="ADAL" clId="{32DC2F31-F285-4757-A3CA-EE2D827436DE}" dt="2023-02-14T09:22:45.638" v="20" actId="20577"/>
          <ac:spMkLst>
            <pc:docMk/>
            <pc:sldMk cId="37465176" sldId="2147470269"/>
            <ac:spMk id="107" creationId="{33CF1737-E665-45EC-8760-162CA5892489}"/>
          </ac:spMkLst>
        </pc:spChg>
        <pc:picChg chg="del">
          <ac:chgData name="Marin, Ayreen" userId="ca84c40d-ae20-485b-835c-3dc4e21df149" providerId="ADAL" clId="{32DC2F31-F285-4757-A3CA-EE2D827436DE}" dt="2023-02-14T09:22:31.982" v="5" actId="478"/>
          <ac:picMkLst>
            <pc:docMk/>
            <pc:sldMk cId="37465176" sldId="2147470269"/>
            <ac:picMk id="42" creationId="{27A6B21C-EFEF-472C-9641-34A7FACD8591}"/>
          </ac:picMkLst>
        </pc:picChg>
        <pc:picChg chg="del">
          <ac:chgData name="Marin, Ayreen" userId="ca84c40d-ae20-485b-835c-3dc4e21df149" providerId="ADAL" clId="{32DC2F31-F285-4757-A3CA-EE2D827436DE}" dt="2023-02-14T09:22:37.638" v="6" actId="478"/>
          <ac:picMkLst>
            <pc:docMk/>
            <pc:sldMk cId="37465176" sldId="2147470269"/>
            <ac:picMk id="43" creationId="{AFA7E28E-DFAE-4222-A92A-7604E43EBB5B}"/>
          </ac:picMkLst>
        </pc:picChg>
      </pc:sldChg>
      <pc:sldChg chg="add">
        <pc:chgData name="Marin, Ayreen" userId="ca84c40d-ae20-485b-835c-3dc4e21df149" providerId="ADAL" clId="{32DC2F31-F285-4757-A3CA-EE2D827436DE}" dt="2023-02-14T09:22:14.114" v="4"/>
        <pc:sldMkLst>
          <pc:docMk/>
          <pc:sldMk cId="3404248183" sldId="2147470270"/>
        </pc:sldMkLst>
      </pc:sldChg>
      <pc:sldChg chg="add">
        <pc:chgData name="Marin, Ayreen" userId="ca84c40d-ae20-485b-835c-3dc4e21df149" providerId="ADAL" clId="{32DC2F31-F285-4757-A3CA-EE2D827436DE}" dt="2023-02-14T09:22:14.114" v="4"/>
        <pc:sldMkLst>
          <pc:docMk/>
          <pc:sldMk cId="1272278480" sldId="2147470271"/>
        </pc:sldMkLst>
      </pc:sldChg>
      <pc:sldChg chg="add">
        <pc:chgData name="Marin, Ayreen" userId="ca84c40d-ae20-485b-835c-3dc4e21df149" providerId="ADAL" clId="{32DC2F31-F285-4757-A3CA-EE2D827436DE}" dt="2023-02-14T09:22:14.114" v="4"/>
        <pc:sldMkLst>
          <pc:docMk/>
          <pc:sldMk cId="2603693855" sldId="2147470272"/>
        </pc:sldMkLst>
      </pc:sldChg>
      <pc:sldChg chg="modSp add del mod">
        <pc:chgData name="Marin, Ayreen" userId="ca84c40d-ae20-485b-835c-3dc4e21df149" providerId="ADAL" clId="{32DC2F31-F285-4757-A3CA-EE2D827436DE}" dt="2023-02-14T09:31:49.511" v="101" actId="47"/>
        <pc:sldMkLst>
          <pc:docMk/>
          <pc:sldMk cId="2643153996" sldId="2147470273"/>
        </pc:sldMkLst>
        <pc:spChg chg="mod">
          <ac:chgData name="Marin, Ayreen" userId="ca84c40d-ae20-485b-835c-3dc4e21df149" providerId="ADAL" clId="{32DC2F31-F285-4757-A3CA-EE2D827436DE}" dt="2023-02-14T09:31:07.804" v="97"/>
          <ac:spMkLst>
            <pc:docMk/>
            <pc:sldMk cId="2643153996" sldId="2147470273"/>
            <ac:spMk id="13" creationId="{FC9754E2-F0DF-4ACB-8FFE-6607F1D06DCC}"/>
          </ac:spMkLst>
        </pc:spChg>
        <pc:spChg chg="mod">
          <ac:chgData name="Marin, Ayreen" userId="ca84c40d-ae20-485b-835c-3dc4e21df149" providerId="ADAL" clId="{32DC2F31-F285-4757-A3CA-EE2D827436DE}" dt="2023-02-14T09:31:16.647" v="99" actId="14100"/>
          <ac:spMkLst>
            <pc:docMk/>
            <pc:sldMk cId="2643153996" sldId="2147470273"/>
            <ac:spMk id="58" creationId="{B8EF36FC-3078-45E4-8584-67E04954C8A0}"/>
          </ac:spMkLst>
        </pc:spChg>
        <pc:spChg chg="mod">
          <ac:chgData name="Marin, Ayreen" userId="ca84c40d-ae20-485b-835c-3dc4e21df149" providerId="ADAL" clId="{32DC2F31-F285-4757-A3CA-EE2D827436DE}" dt="2023-02-14T09:31:23.393" v="100" actId="14100"/>
          <ac:spMkLst>
            <pc:docMk/>
            <pc:sldMk cId="2643153996" sldId="2147470273"/>
            <ac:spMk id="121" creationId="{52A5FAF2-4D14-424E-A368-2EC1C6322716}"/>
          </ac:spMkLst>
        </pc:spChg>
        <pc:grpChg chg="mod">
          <ac:chgData name="Marin, Ayreen" userId="ca84c40d-ae20-485b-835c-3dc4e21df149" providerId="ADAL" clId="{32DC2F31-F285-4757-A3CA-EE2D827436DE}" dt="2023-02-14T09:31:16.647" v="99" actId="14100"/>
          <ac:grpSpMkLst>
            <pc:docMk/>
            <pc:sldMk cId="2643153996" sldId="2147470273"/>
            <ac:grpSpMk id="59" creationId="{F3484E70-A6F5-4E45-BA35-8548482002C1}"/>
          </ac:grpSpMkLst>
        </pc:grpChg>
      </pc:sldChg>
      <pc:sldChg chg="add del">
        <pc:chgData name="Marin, Ayreen" userId="ca84c40d-ae20-485b-835c-3dc4e21df149" providerId="ADAL" clId="{32DC2F31-F285-4757-A3CA-EE2D827436DE}" dt="2023-02-14T09:30:59.002" v="96"/>
        <pc:sldMkLst>
          <pc:docMk/>
          <pc:sldMk cId="3118509167" sldId="2147470274"/>
        </pc:sldMkLst>
      </pc:sldChg>
    </pc:docChg>
  </pc:docChgLst>
  <pc:docChgLst>
    <pc:chgData name="Marin, Ayreen" userId="ca84c40d-ae20-485b-835c-3dc4e21df149" providerId="ADAL" clId="{F97FE2A1-D7FA-4D78-89C7-B12882AEE550}"/>
    <pc:docChg chg="custSel modSld">
      <pc:chgData name="Marin, Ayreen" userId="ca84c40d-ae20-485b-835c-3dc4e21df149" providerId="ADAL" clId="{F97FE2A1-D7FA-4D78-89C7-B12882AEE550}" dt="2023-02-17T11:28:32.383" v="100" actId="1076"/>
      <pc:docMkLst>
        <pc:docMk/>
      </pc:docMkLst>
      <pc:sldChg chg="modSp mod">
        <pc:chgData name="Marin, Ayreen" userId="ca84c40d-ae20-485b-835c-3dc4e21df149" providerId="ADAL" clId="{F97FE2A1-D7FA-4D78-89C7-B12882AEE550}" dt="2023-02-17T11:28:32.383" v="100" actId="1076"/>
        <pc:sldMkLst>
          <pc:docMk/>
          <pc:sldMk cId="340147455" sldId="2147470268"/>
        </pc:sldMkLst>
        <pc:spChg chg="mod">
          <ac:chgData name="Marin, Ayreen" userId="ca84c40d-ae20-485b-835c-3dc4e21df149" providerId="ADAL" clId="{F97FE2A1-D7FA-4D78-89C7-B12882AEE550}" dt="2023-02-17T11:28:32.383" v="100" actId="1076"/>
          <ac:spMkLst>
            <pc:docMk/>
            <pc:sldMk cId="340147455" sldId="2147470268"/>
            <ac:spMk id="41" creationId="{EBE82867-6B13-4C8E-8EA7-0268B59B58B8}"/>
          </ac:spMkLst>
        </pc:spChg>
        <pc:spChg chg="mod">
          <ac:chgData name="Marin, Ayreen" userId="ca84c40d-ae20-485b-835c-3dc4e21df149" providerId="ADAL" clId="{F97FE2A1-D7FA-4D78-89C7-B12882AEE550}" dt="2023-02-17T11:26:51.699" v="97" actId="1076"/>
          <ac:spMkLst>
            <pc:docMk/>
            <pc:sldMk cId="340147455" sldId="2147470268"/>
            <ac:spMk id="46" creationId="{E690606D-4ECD-4115-88DD-14D4635F22E9}"/>
          </ac:spMkLst>
        </pc:spChg>
        <pc:spChg chg="mod">
          <ac:chgData name="Marin, Ayreen" userId="ca84c40d-ae20-485b-835c-3dc4e21df149" providerId="ADAL" clId="{F97FE2A1-D7FA-4D78-89C7-B12882AEE550}" dt="2023-02-17T11:26:54.705" v="98" actId="1076"/>
          <ac:spMkLst>
            <pc:docMk/>
            <pc:sldMk cId="340147455" sldId="2147470268"/>
            <ac:spMk id="47" creationId="{6E1C4236-5034-4FFE-98E7-A7B8EC9DEAC7}"/>
          </ac:spMkLst>
        </pc:spChg>
      </pc:sldChg>
      <pc:sldChg chg="addSp modSp mod">
        <pc:chgData name="Marin, Ayreen" userId="ca84c40d-ae20-485b-835c-3dc4e21df149" providerId="ADAL" clId="{F97FE2A1-D7FA-4D78-89C7-B12882AEE550}" dt="2023-02-17T10:37:10.157" v="84" actId="207"/>
        <pc:sldMkLst>
          <pc:docMk/>
          <pc:sldMk cId="2642771562" sldId="2147471534"/>
        </pc:sldMkLst>
        <pc:spChg chg="mod">
          <ac:chgData name="Marin, Ayreen" userId="ca84c40d-ae20-485b-835c-3dc4e21df149" providerId="ADAL" clId="{F97FE2A1-D7FA-4D78-89C7-B12882AEE550}" dt="2023-02-17T10:35:26.027" v="24" actId="20577"/>
          <ac:spMkLst>
            <pc:docMk/>
            <pc:sldMk cId="2642771562" sldId="2147471534"/>
            <ac:spMk id="44" creationId="{520BBBEB-C59A-4EEE-B691-70F18C1E464B}"/>
          </ac:spMkLst>
        </pc:spChg>
        <pc:spChg chg="add mod">
          <ac:chgData name="Marin, Ayreen" userId="ca84c40d-ae20-485b-835c-3dc4e21df149" providerId="ADAL" clId="{F97FE2A1-D7FA-4D78-89C7-B12882AEE550}" dt="2023-02-17T10:37:10.157" v="84" actId="207"/>
          <ac:spMkLst>
            <pc:docMk/>
            <pc:sldMk cId="2642771562" sldId="2147471534"/>
            <ac:spMk id="60" creationId="{75C42308-C866-4A8C-B6ED-907E45D243B4}"/>
          </ac:spMkLst>
        </pc:spChg>
        <pc:spChg chg="add mod">
          <ac:chgData name="Marin, Ayreen" userId="ca84c40d-ae20-485b-835c-3dc4e21df149" providerId="ADAL" clId="{F97FE2A1-D7FA-4D78-89C7-B12882AEE550}" dt="2023-02-17T10:37:06.865" v="83" actId="207"/>
          <ac:spMkLst>
            <pc:docMk/>
            <pc:sldMk cId="2642771562" sldId="2147471534"/>
            <ac:spMk id="63" creationId="{633C0FA5-7BD9-44B6-A8B7-75A7B48DE2B7}"/>
          </ac:spMkLst>
        </pc:spChg>
      </pc:sldChg>
    </pc:docChg>
  </pc:docChgLst>
  <pc:docChgLst>
    <pc:chgData name="Marin, Ayreen" userId="ca84c40d-ae20-485b-835c-3dc4e21df149" providerId="ADAL" clId="{BB9E10D5-DF0E-4B91-91BE-39DAA057EE48}"/>
    <pc:docChg chg="undo custSel modSld">
      <pc:chgData name="Marin, Ayreen" userId="ca84c40d-ae20-485b-835c-3dc4e21df149" providerId="ADAL" clId="{BB9E10D5-DF0E-4B91-91BE-39DAA057EE48}" dt="2023-02-14T11:14:20.614" v="520" actId="14100"/>
      <pc:docMkLst>
        <pc:docMk/>
      </pc:docMkLst>
      <pc:sldChg chg="addSp delSp modSp mod">
        <pc:chgData name="Marin, Ayreen" userId="ca84c40d-ae20-485b-835c-3dc4e21df149" providerId="ADAL" clId="{BB9E10D5-DF0E-4B91-91BE-39DAA057EE48}" dt="2023-02-14T11:14:20.614" v="520" actId="14100"/>
        <pc:sldMkLst>
          <pc:docMk/>
          <pc:sldMk cId="37465176" sldId="2147470269"/>
        </pc:sldMkLst>
        <pc:spChg chg="del">
          <ac:chgData name="Marin, Ayreen" userId="ca84c40d-ae20-485b-835c-3dc4e21df149" providerId="ADAL" clId="{BB9E10D5-DF0E-4B91-91BE-39DAA057EE48}" dt="2023-02-14T10:58:30.830" v="3" actId="478"/>
          <ac:spMkLst>
            <pc:docMk/>
            <pc:sldMk cId="37465176" sldId="2147470269"/>
            <ac:spMk id="2" creationId="{1128E972-7D4F-4A1E-A7DD-820D05302451}"/>
          </ac:spMkLst>
        </pc:spChg>
        <pc:spChg chg="add del">
          <ac:chgData name="Marin, Ayreen" userId="ca84c40d-ae20-485b-835c-3dc4e21df149" providerId="ADAL" clId="{BB9E10D5-DF0E-4B91-91BE-39DAA057EE48}" dt="2023-02-14T10:58:27.047" v="1" actId="478"/>
          <ac:spMkLst>
            <pc:docMk/>
            <pc:sldMk cId="37465176" sldId="2147470269"/>
            <ac:spMk id="3" creationId="{5872DC2B-147D-4AA9-BB12-829DDABE404E}"/>
          </ac:spMkLst>
        </pc:spChg>
        <pc:spChg chg="mod">
          <ac:chgData name="Marin, Ayreen" userId="ca84c40d-ae20-485b-835c-3dc4e21df149" providerId="ADAL" clId="{BB9E10D5-DF0E-4B91-91BE-39DAA057EE48}" dt="2023-02-14T11:14:17.236" v="519" actId="14100"/>
          <ac:spMkLst>
            <pc:docMk/>
            <pc:sldMk cId="37465176" sldId="2147470269"/>
            <ac:spMk id="25" creationId="{254F0174-A3F4-4065-A447-FB6D73DA1DFF}"/>
          </ac:spMkLst>
        </pc:spChg>
        <pc:spChg chg="del">
          <ac:chgData name="Marin, Ayreen" userId="ca84c40d-ae20-485b-835c-3dc4e21df149" providerId="ADAL" clId="{BB9E10D5-DF0E-4B91-91BE-39DAA057EE48}" dt="2023-02-14T10:58:29.463" v="2" actId="478"/>
          <ac:spMkLst>
            <pc:docMk/>
            <pc:sldMk cId="37465176" sldId="2147470269"/>
            <ac:spMk id="27" creationId="{AFB4D251-08B7-4E59-A9F1-5B80BB338CC2}"/>
          </ac:spMkLst>
        </pc:spChg>
        <pc:spChg chg="add mod">
          <ac:chgData name="Marin, Ayreen" userId="ca84c40d-ae20-485b-835c-3dc4e21df149" providerId="ADAL" clId="{BB9E10D5-DF0E-4B91-91BE-39DAA057EE48}" dt="2023-02-14T11:03:41.594" v="147" actId="14100"/>
          <ac:spMkLst>
            <pc:docMk/>
            <pc:sldMk cId="37465176" sldId="2147470269"/>
            <ac:spMk id="28" creationId="{09E4417A-86B4-4670-B3CF-B793A3AA963C}"/>
          </ac:spMkLst>
        </pc:spChg>
        <pc:spChg chg="add mod">
          <ac:chgData name="Marin, Ayreen" userId="ca84c40d-ae20-485b-835c-3dc4e21df149" providerId="ADAL" clId="{BB9E10D5-DF0E-4B91-91BE-39DAA057EE48}" dt="2023-02-14T11:04:04.081" v="151" actId="20577"/>
          <ac:spMkLst>
            <pc:docMk/>
            <pc:sldMk cId="37465176" sldId="2147470269"/>
            <ac:spMk id="29" creationId="{A07071F2-107E-41ED-B77D-BECDF5B86781}"/>
          </ac:spMkLst>
        </pc:spChg>
        <pc:spChg chg="add mod">
          <ac:chgData name="Marin, Ayreen" userId="ca84c40d-ae20-485b-835c-3dc4e21df149" providerId="ADAL" clId="{BB9E10D5-DF0E-4B91-91BE-39DAA057EE48}" dt="2023-02-14T11:04:45.647" v="159" actId="20577"/>
          <ac:spMkLst>
            <pc:docMk/>
            <pc:sldMk cId="37465176" sldId="2147470269"/>
            <ac:spMk id="31" creationId="{3ABCFA2B-4310-449D-BCBE-B5226E0E4121}"/>
          </ac:spMkLst>
        </pc:spChg>
        <pc:spChg chg="add mod">
          <ac:chgData name="Marin, Ayreen" userId="ca84c40d-ae20-485b-835c-3dc4e21df149" providerId="ADAL" clId="{BB9E10D5-DF0E-4B91-91BE-39DAA057EE48}" dt="2023-02-14T11:05:30.031" v="166" actId="20577"/>
          <ac:spMkLst>
            <pc:docMk/>
            <pc:sldMk cId="37465176" sldId="2147470269"/>
            <ac:spMk id="32" creationId="{00BB787F-339C-4147-A57F-B3C41E3E785A}"/>
          </ac:spMkLst>
        </pc:spChg>
        <pc:spChg chg="add mod">
          <ac:chgData name="Marin, Ayreen" userId="ca84c40d-ae20-485b-835c-3dc4e21df149" providerId="ADAL" clId="{BB9E10D5-DF0E-4B91-91BE-39DAA057EE48}" dt="2023-02-14T11:05:49.216" v="180" actId="20577"/>
          <ac:spMkLst>
            <pc:docMk/>
            <pc:sldMk cId="37465176" sldId="2147470269"/>
            <ac:spMk id="33" creationId="{95D91D59-1C7A-4223-8665-1F4AD422E8D0}"/>
          </ac:spMkLst>
        </pc:spChg>
        <pc:spChg chg="add mod">
          <ac:chgData name="Marin, Ayreen" userId="ca84c40d-ae20-485b-835c-3dc4e21df149" providerId="ADAL" clId="{BB9E10D5-DF0E-4B91-91BE-39DAA057EE48}" dt="2023-02-14T11:07:45.692" v="303" actId="20577"/>
          <ac:spMkLst>
            <pc:docMk/>
            <pc:sldMk cId="37465176" sldId="2147470269"/>
            <ac:spMk id="34" creationId="{987937CF-4D22-42C3-AD64-CFF29235A339}"/>
          </ac:spMkLst>
        </pc:spChg>
        <pc:spChg chg="add mod">
          <ac:chgData name="Marin, Ayreen" userId="ca84c40d-ae20-485b-835c-3dc4e21df149" providerId="ADAL" clId="{BB9E10D5-DF0E-4B91-91BE-39DAA057EE48}" dt="2023-02-14T11:09:59.481" v="337" actId="1076"/>
          <ac:spMkLst>
            <pc:docMk/>
            <pc:sldMk cId="37465176" sldId="2147470269"/>
            <ac:spMk id="35" creationId="{024EFE99-0051-489E-944E-7F35ED2D9976}"/>
          </ac:spMkLst>
        </pc:spChg>
        <pc:spChg chg="add mod">
          <ac:chgData name="Marin, Ayreen" userId="ca84c40d-ae20-485b-835c-3dc4e21df149" providerId="ADAL" clId="{BB9E10D5-DF0E-4B91-91BE-39DAA057EE48}" dt="2023-02-14T11:09:59.481" v="337" actId="1076"/>
          <ac:spMkLst>
            <pc:docMk/>
            <pc:sldMk cId="37465176" sldId="2147470269"/>
            <ac:spMk id="36" creationId="{50771D77-3370-46E7-8EBA-4ED334B74F7C}"/>
          </ac:spMkLst>
        </pc:spChg>
        <pc:spChg chg="add mod">
          <ac:chgData name="Marin, Ayreen" userId="ca84c40d-ae20-485b-835c-3dc4e21df149" providerId="ADAL" clId="{BB9E10D5-DF0E-4B91-91BE-39DAA057EE48}" dt="2023-02-14T11:11:27.175" v="362" actId="20577"/>
          <ac:spMkLst>
            <pc:docMk/>
            <pc:sldMk cId="37465176" sldId="2147470269"/>
            <ac:spMk id="37" creationId="{BE8E9C20-2417-473E-ABDA-B878B787FA43}"/>
          </ac:spMkLst>
        </pc:spChg>
        <pc:spChg chg="add mod">
          <ac:chgData name="Marin, Ayreen" userId="ca84c40d-ae20-485b-835c-3dc4e21df149" providerId="ADAL" clId="{BB9E10D5-DF0E-4B91-91BE-39DAA057EE48}" dt="2023-02-14T11:12:28.245" v="420" actId="14100"/>
          <ac:spMkLst>
            <pc:docMk/>
            <pc:sldMk cId="37465176" sldId="2147470269"/>
            <ac:spMk id="38" creationId="{8D232F44-4285-4BC3-B233-36045106F457}"/>
          </ac:spMkLst>
        </pc:spChg>
        <pc:spChg chg="add mod">
          <ac:chgData name="Marin, Ayreen" userId="ca84c40d-ae20-485b-835c-3dc4e21df149" providerId="ADAL" clId="{BB9E10D5-DF0E-4B91-91BE-39DAA057EE48}" dt="2023-02-14T11:13:11.887" v="455" actId="20577"/>
          <ac:spMkLst>
            <pc:docMk/>
            <pc:sldMk cId="37465176" sldId="2147470269"/>
            <ac:spMk id="39" creationId="{CC105EB9-D593-46BA-84EB-10156442E467}"/>
          </ac:spMkLst>
        </pc:spChg>
        <pc:spChg chg="add mod">
          <ac:chgData name="Marin, Ayreen" userId="ca84c40d-ae20-485b-835c-3dc4e21df149" providerId="ADAL" clId="{BB9E10D5-DF0E-4B91-91BE-39DAA057EE48}" dt="2023-02-14T11:14:12.121" v="518" actId="20577"/>
          <ac:spMkLst>
            <pc:docMk/>
            <pc:sldMk cId="37465176" sldId="2147470269"/>
            <ac:spMk id="40" creationId="{53767902-A86C-4B7C-9F25-5437D37B243D}"/>
          </ac:spMkLst>
        </pc:spChg>
        <pc:spChg chg="mod">
          <ac:chgData name="Marin, Ayreen" userId="ca84c40d-ae20-485b-835c-3dc4e21df149" providerId="ADAL" clId="{BB9E10D5-DF0E-4B91-91BE-39DAA057EE48}" dt="2023-02-14T11:14:20.614" v="520" actId="14100"/>
          <ac:spMkLst>
            <pc:docMk/>
            <pc:sldMk cId="37465176" sldId="2147470269"/>
            <ac:spMk id="73" creationId="{CAF70200-153B-4F84-A0BB-50DB6C9F787C}"/>
          </ac:spMkLst>
        </pc:spChg>
        <pc:grpChg chg="add mod">
          <ac:chgData name="Marin, Ayreen" userId="ca84c40d-ae20-485b-835c-3dc4e21df149" providerId="ADAL" clId="{BB9E10D5-DF0E-4B91-91BE-39DAA057EE48}" dt="2023-02-14T11:01:22.917" v="8" actId="164"/>
          <ac:grpSpMkLst>
            <pc:docMk/>
            <pc:sldMk cId="37465176" sldId="2147470269"/>
            <ac:grpSpMk id="5" creationId="{11B3D289-F24C-4B66-A16C-3572BFC613C3}"/>
          </ac:grpSpMkLst>
        </pc:grpChg>
      </pc:sldChg>
    </pc:docChg>
  </pc:docChgLst>
  <pc:docChgLst>
    <pc:chgData name="Marin, Ayreen" userId="ca84c40d-ae20-485b-835c-3dc4e21df149" providerId="ADAL" clId="{B4E8988D-0DF9-4487-B51C-73B6996621C7}"/>
    <pc:docChg chg="modSld">
      <pc:chgData name="Marin, Ayreen" userId="ca84c40d-ae20-485b-835c-3dc4e21df149" providerId="ADAL" clId="{B4E8988D-0DF9-4487-B51C-73B6996621C7}" dt="2023-02-16T14:09:42.618" v="33" actId="1035"/>
      <pc:docMkLst>
        <pc:docMk/>
      </pc:docMkLst>
      <pc:sldChg chg="modSp mod">
        <pc:chgData name="Marin, Ayreen" userId="ca84c40d-ae20-485b-835c-3dc4e21df149" providerId="ADAL" clId="{B4E8988D-0DF9-4487-B51C-73B6996621C7}" dt="2023-02-16T13:50:13.410" v="7" actId="113"/>
        <pc:sldMkLst>
          <pc:docMk/>
          <pc:sldMk cId="340147455" sldId="2147470268"/>
        </pc:sldMkLst>
        <pc:spChg chg="mod">
          <ac:chgData name="Marin, Ayreen" userId="ca84c40d-ae20-485b-835c-3dc4e21df149" providerId="ADAL" clId="{B4E8988D-0DF9-4487-B51C-73B6996621C7}" dt="2023-02-16T13:50:13.410" v="7" actId="113"/>
          <ac:spMkLst>
            <pc:docMk/>
            <pc:sldMk cId="340147455" sldId="2147470268"/>
            <ac:spMk id="8" creationId="{FCB7AB1A-0689-4793-8B55-8CCECE2348F9}"/>
          </ac:spMkLst>
        </pc:spChg>
      </pc:sldChg>
      <pc:sldChg chg="addSp modSp mod">
        <pc:chgData name="Marin, Ayreen" userId="ca84c40d-ae20-485b-835c-3dc4e21df149" providerId="ADAL" clId="{B4E8988D-0DF9-4487-B51C-73B6996621C7}" dt="2023-02-16T14:09:42.618" v="33" actId="1035"/>
        <pc:sldMkLst>
          <pc:docMk/>
          <pc:sldMk cId="3404248183" sldId="2147470270"/>
        </pc:sldMkLst>
        <pc:spChg chg="add mod">
          <ac:chgData name="Marin, Ayreen" userId="ca84c40d-ae20-485b-835c-3dc4e21df149" providerId="ADAL" clId="{B4E8988D-0DF9-4487-B51C-73B6996621C7}" dt="2023-02-16T14:09:42.618" v="33" actId="1035"/>
          <ac:spMkLst>
            <pc:docMk/>
            <pc:sldMk cId="3404248183" sldId="2147470270"/>
            <ac:spMk id="2" creationId="{448AC2C0-D18F-4D8A-9DA9-7659D4C4E04A}"/>
          </ac:spMkLst>
        </pc:spChg>
        <pc:picChg chg="mod">
          <ac:chgData name="Marin, Ayreen" userId="ca84c40d-ae20-485b-835c-3dc4e21df149" providerId="ADAL" clId="{B4E8988D-0DF9-4487-B51C-73B6996621C7}" dt="2023-02-16T13:53:07.278" v="8"/>
          <ac:picMkLst>
            <pc:docMk/>
            <pc:sldMk cId="3404248183" sldId="2147470270"/>
            <ac:picMk id="21" creationId="{BD73FA6E-5790-40B3-921B-B14389543FDF}"/>
          </ac:picMkLst>
        </pc:picChg>
      </pc:sldChg>
      <pc:sldChg chg="modSp mod">
        <pc:chgData name="Marin, Ayreen" userId="ca84c40d-ae20-485b-835c-3dc4e21df149" providerId="ADAL" clId="{B4E8988D-0DF9-4487-B51C-73B6996621C7}" dt="2023-02-16T13:46:14.787" v="5" actId="20577"/>
        <pc:sldMkLst>
          <pc:docMk/>
          <pc:sldMk cId="1046099991" sldId="2147470275"/>
        </pc:sldMkLst>
        <pc:spChg chg="mod">
          <ac:chgData name="Marin, Ayreen" userId="ca84c40d-ae20-485b-835c-3dc4e21df149" providerId="ADAL" clId="{B4E8988D-0DF9-4487-B51C-73B6996621C7}" dt="2023-02-16T13:46:14.787" v="5" actId="20577"/>
          <ac:spMkLst>
            <pc:docMk/>
            <pc:sldMk cId="1046099991" sldId="2147470275"/>
            <ac:spMk id="67" creationId="{0134AD76-DCD5-4996-97D8-94768B1BC5A2}"/>
          </ac:spMkLst>
        </pc:spChg>
      </pc:sldChg>
    </pc:docChg>
  </pc:docChgLst>
  <pc:docChgLst>
    <pc:chgData name="Sadlonova, Marianna" userId="a8aee08f-701a-44dd-9deb-2c30c87fcb35" providerId="ADAL" clId="{10DC3EE5-445C-4101-998C-811BA2B315B4}"/>
    <pc:docChg chg="custSel modSld">
      <pc:chgData name="Sadlonova, Marianna" userId="a8aee08f-701a-44dd-9deb-2c30c87fcb35" providerId="ADAL" clId="{10DC3EE5-445C-4101-998C-811BA2B315B4}" dt="2023-02-20T08:48:29.351" v="10" actId="14100"/>
      <pc:docMkLst>
        <pc:docMk/>
      </pc:docMkLst>
      <pc:sldChg chg="modNotesTx">
        <pc:chgData name="Sadlonova, Marianna" userId="a8aee08f-701a-44dd-9deb-2c30c87fcb35" providerId="ADAL" clId="{10DC3EE5-445C-4101-998C-811BA2B315B4}" dt="2023-02-20T08:35:22.955" v="7" actId="6549"/>
        <pc:sldMkLst>
          <pc:docMk/>
          <pc:sldMk cId="2393417468" sldId="259"/>
        </pc:sldMkLst>
      </pc:sldChg>
      <pc:sldChg chg="modNotesTx">
        <pc:chgData name="Sadlonova, Marianna" userId="a8aee08f-701a-44dd-9deb-2c30c87fcb35" providerId="ADAL" clId="{10DC3EE5-445C-4101-998C-811BA2B315B4}" dt="2023-02-20T08:35:28.482" v="8" actId="6549"/>
        <pc:sldMkLst>
          <pc:docMk/>
          <pc:sldMk cId="2703726348" sldId="277"/>
        </pc:sldMkLst>
      </pc:sldChg>
      <pc:sldChg chg="modNotesTx">
        <pc:chgData name="Sadlonova, Marianna" userId="a8aee08f-701a-44dd-9deb-2c30c87fcb35" providerId="ADAL" clId="{10DC3EE5-445C-4101-998C-811BA2B315B4}" dt="2023-02-20T08:35:33.050" v="9" actId="6549"/>
        <pc:sldMkLst>
          <pc:docMk/>
          <pc:sldMk cId="973826153" sldId="278"/>
        </pc:sldMkLst>
      </pc:sldChg>
      <pc:sldChg chg="delSp modSp mod modNotesTx">
        <pc:chgData name="Sadlonova, Marianna" userId="a8aee08f-701a-44dd-9deb-2c30c87fcb35" providerId="ADAL" clId="{10DC3EE5-445C-4101-998C-811BA2B315B4}" dt="2023-02-20T08:48:29.351" v="10" actId="14100"/>
        <pc:sldMkLst>
          <pc:docMk/>
          <pc:sldMk cId="4250689473" sldId="282"/>
        </pc:sldMkLst>
        <pc:spChg chg="del">
          <ac:chgData name="Sadlonova, Marianna" userId="a8aee08f-701a-44dd-9deb-2c30c87fcb35" providerId="ADAL" clId="{10DC3EE5-445C-4101-998C-811BA2B315B4}" dt="2023-02-20T08:33:49.119" v="1" actId="478"/>
          <ac:spMkLst>
            <pc:docMk/>
            <pc:sldMk cId="4250689473" sldId="282"/>
            <ac:spMk id="3" creationId="{80D27579-B851-A7EB-A9F2-0AE2F2B3270B}"/>
          </ac:spMkLst>
        </pc:spChg>
        <pc:spChg chg="del">
          <ac:chgData name="Sadlonova, Marianna" userId="a8aee08f-701a-44dd-9deb-2c30c87fcb35" providerId="ADAL" clId="{10DC3EE5-445C-4101-998C-811BA2B315B4}" dt="2023-02-20T08:33:50.256" v="2" actId="478"/>
          <ac:spMkLst>
            <pc:docMk/>
            <pc:sldMk cId="4250689473" sldId="282"/>
            <ac:spMk id="4" creationId="{62DEEAC0-E442-E97C-C6B1-C74EE0C89060}"/>
          </ac:spMkLst>
        </pc:spChg>
        <pc:spChg chg="mod">
          <ac:chgData name="Sadlonova, Marianna" userId="a8aee08f-701a-44dd-9deb-2c30c87fcb35" providerId="ADAL" clId="{10DC3EE5-445C-4101-998C-811BA2B315B4}" dt="2023-02-20T08:48:29.351" v="10" actId="14100"/>
          <ac:spMkLst>
            <pc:docMk/>
            <pc:sldMk cId="4250689473" sldId="282"/>
            <ac:spMk id="39" creationId="{8CA267B4-55C4-44D9-B42B-4F9C4CC70D89}"/>
          </ac:spMkLst>
        </pc:spChg>
        <pc:spChg chg="mod">
          <ac:chgData name="Sadlonova, Marianna" userId="a8aee08f-701a-44dd-9deb-2c30c87fcb35" providerId="ADAL" clId="{10DC3EE5-445C-4101-998C-811BA2B315B4}" dt="2023-02-20T08:35:07.495" v="4" actId="313"/>
          <ac:spMkLst>
            <pc:docMk/>
            <pc:sldMk cId="4250689473" sldId="282"/>
            <ac:spMk id="40" creationId="{3C24D00F-6ADD-4BE7-A683-D34944E7B358}"/>
          </ac:spMkLst>
        </pc:spChg>
        <pc:graphicFrameChg chg="modGraphic">
          <ac:chgData name="Sadlonova, Marianna" userId="a8aee08f-701a-44dd-9deb-2c30c87fcb35" providerId="ADAL" clId="{10DC3EE5-445C-4101-998C-811BA2B315B4}" dt="2023-02-20T08:34:41.932" v="3" actId="2166"/>
          <ac:graphicFrameMkLst>
            <pc:docMk/>
            <pc:sldMk cId="4250689473" sldId="282"/>
            <ac:graphicFrameMk id="51" creationId="{4766408B-EC0F-47A5-AB6C-0FFE6F6EED8F}"/>
          </ac:graphicFrameMkLst>
        </pc:graphicFrameChg>
        <pc:picChg chg="del">
          <ac:chgData name="Sadlonova, Marianna" userId="a8aee08f-701a-44dd-9deb-2c30c87fcb35" providerId="ADAL" clId="{10DC3EE5-445C-4101-998C-811BA2B315B4}" dt="2023-02-20T08:33:47.785" v="0" actId="478"/>
          <ac:picMkLst>
            <pc:docMk/>
            <pc:sldMk cId="4250689473" sldId="282"/>
            <ac:picMk id="2" creationId="{185A7FEE-D5FA-DA8D-724E-1470EA807C90}"/>
          </ac:picMkLst>
        </pc:picChg>
      </pc:sldChg>
    </pc:docChg>
  </pc:docChgLst>
  <pc:docChgLst>
    <pc:chgData name="Tejada, Carmen" userId="4e46fa0d-51a0-4b7a-a6a6-e5b06c9f6d76" providerId="ADAL" clId="{0F93E6D3-7306-4F51-BEDB-FEFB5CF382EB}"/>
    <pc:docChg chg="undo redo custSel addSld delSld modSld sldOrd addSection modSection replTag">
      <pc:chgData name="Tejada, Carmen" userId="4e46fa0d-51a0-4b7a-a6a6-e5b06c9f6d76" providerId="ADAL" clId="{0F93E6D3-7306-4F51-BEDB-FEFB5CF382EB}" dt="2023-02-14T09:54:10.299" v="5666" actId="1076"/>
      <pc:docMkLst>
        <pc:docMk/>
      </pc:docMkLst>
      <pc:sldChg chg="del">
        <pc:chgData name="Tejada, Carmen" userId="4e46fa0d-51a0-4b7a-a6a6-e5b06c9f6d76" providerId="ADAL" clId="{0F93E6D3-7306-4F51-BEDB-FEFB5CF382EB}" dt="2023-02-13T18:10:37.426" v="1028" actId="47"/>
        <pc:sldMkLst>
          <pc:docMk/>
          <pc:sldMk cId="2706595542" sldId="257"/>
        </pc:sldMkLst>
      </pc:sldChg>
      <pc:sldChg chg="del">
        <pc:chgData name="Tejada, Carmen" userId="4e46fa0d-51a0-4b7a-a6a6-e5b06c9f6d76" providerId="ADAL" clId="{0F93E6D3-7306-4F51-BEDB-FEFB5CF382EB}" dt="2023-02-13T18:17:43.108" v="1401" actId="47"/>
        <pc:sldMkLst>
          <pc:docMk/>
          <pc:sldMk cId="3967394997" sldId="258"/>
        </pc:sldMkLst>
      </pc:sldChg>
      <pc:sldChg chg="del">
        <pc:chgData name="Tejada, Carmen" userId="4e46fa0d-51a0-4b7a-a6a6-e5b06c9f6d76" providerId="ADAL" clId="{0F93E6D3-7306-4F51-BEDB-FEFB5CF382EB}" dt="2023-02-13T18:17:42.411" v="1400" actId="47"/>
        <pc:sldMkLst>
          <pc:docMk/>
          <pc:sldMk cId="1243012513" sldId="259"/>
        </pc:sldMkLst>
      </pc:sldChg>
      <pc:sldChg chg="addSp delSp modSp mod">
        <pc:chgData name="Tejada, Carmen" userId="4e46fa0d-51a0-4b7a-a6a6-e5b06c9f6d76" providerId="ADAL" clId="{0F93E6D3-7306-4F51-BEDB-FEFB5CF382EB}" dt="2023-02-13T18:10:23.905" v="1026"/>
        <pc:sldMkLst>
          <pc:docMk/>
          <pc:sldMk cId="1997426286" sldId="322"/>
        </pc:sldMkLst>
        <pc:spChg chg="mod">
          <ac:chgData name="Tejada, Carmen" userId="4e46fa0d-51a0-4b7a-a6a6-e5b06c9f6d76" providerId="ADAL" clId="{0F93E6D3-7306-4F51-BEDB-FEFB5CF382EB}" dt="2023-02-13T18:10:23.849" v="984" actId="948"/>
          <ac:spMkLst>
            <pc:docMk/>
            <pc:sldMk cId="1997426286" sldId="322"/>
            <ac:spMk id="3" creationId="{CB5D5DA1-DACE-4236-B2A5-D674B23E4F3E}"/>
          </ac:spMkLst>
        </pc:spChg>
        <pc:spChg chg="add del mod modVis">
          <ac:chgData name="Tejada, Carmen" userId="4e46fa0d-51a0-4b7a-a6a6-e5b06c9f6d76" providerId="ADAL" clId="{0F93E6D3-7306-4F51-BEDB-FEFB5CF382EB}" dt="2023-02-13T18:10:23.902" v="1024"/>
          <ac:spMkLst>
            <pc:docMk/>
            <pc:sldMk cId="1997426286" sldId="322"/>
            <ac:spMk id="4" creationId="{439EFBF1-01B9-4499-AE27-16AE388CF068}"/>
          </ac:spMkLst>
        </pc:spChg>
        <pc:graphicFrameChg chg="mod">
          <ac:chgData name="Tejada, Carmen" userId="4e46fa0d-51a0-4b7a-a6a6-e5b06c9f6d76" providerId="ADAL" clId="{0F93E6D3-7306-4F51-BEDB-FEFB5CF382EB}" dt="2023-02-13T18:10:23.905" v="1026"/>
          <ac:graphicFrameMkLst>
            <pc:docMk/>
            <pc:sldMk cId="1997426286" sldId="322"/>
            <ac:graphicFrameMk id="2" creationId="{FF35952B-7D58-4000-B955-05395328737C}"/>
          </ac:graphicFrameMkLst>
        </pc:graphicFrameChg>
      </pc:sldChg>
      <pc:sldChg chg="add del">
        <pc:chgData name="Tejada, Carmen" userId="4e46fa0d-51a0-4b7a-a6a6-e5b06c9f6d76" providerId="ADAL" clId="{0F93E6D3-7306-4F51-BEDB-FEFB5CF382EB}" dt="2023-02-13T18:17:40.231" v="1396" actId="47"/>
        <pc:sldMkLst>
          <pc:docMk/>
          <pc:sldMk cId="1591297837" sldId="1590"/>
        </pc:sldMkLst>
      </pc:sldChg>
      <pc:sldChg chg="delSp modSp add mod ord">
        <pc:chgData name="Tejada, Carmen" userId="4e46fa0d-51a0-4b7a-a6a6-e5b06c9f6d76" providerId="ADAL" clId="{0F93E6D3-7306-4F51-BEDB-FEFB5CF382EB}" dt="2023-02-13T21:13:35.185" v="4281"/>
        <pc:sldMkLst>
          <pc:docMk/>
          <pc:sldMk cId="4171336514" sldId="2147468269"/>
        </pc:sldMkLst>
        <pc:spChg chg="mod ord">
          <ac:chgData name="Tejada, Carmen" userId="4e46fa0d-51a0-4b7a-a6a6-e5b06c9f6d76" providerId="ADAL" clId="{0F93E6D3-7306-4F51-BEDB-FEFB5CF382EB}" dt="2023-02-13T18:30:15.479" v="1793"/>
          <ac:spMkLst>
            <pc:docMk/>
            <pc:sldMk cId="4171336514" sldId="2147468269"/>
            <ac:spMk id="7" creationId="{126B8072-F3BE-4EC7-8636-737E6A7AEA68}"/>
          </ac:spMkLst>
        </pc:spChg>
        <pc:spChg chg="mod ord">
          <ac:chgData name="Tejada, Carmen" userId="4e46fa0d-51a0-4b7a-a6a6-e5b06c9f6d76" providerId="ADAL" clId="{0F93E6D3-7306-4F51-BEDB-FEFB5CF382EB}" dt="2023-02-13T18:30:15.483" v="1804"/>
          <ac:spMkLst>
            <pc:docMk/>
            <pc:sldMk cId="4171336514" sldId="2147468269"/>
            <ac:spMk id="36" creationId="{5B3149EE-5285-4CED-BB0A-E332ECAD6422}"/>
          </ac:spMkLst>
        </pc:spChg>
        <pc:spChg chg="mod ord">
          <ac:chgData name="Tejada, Carmen" userId="4e46fa0d-51a0-4b7a-a6a6-e5b06c9f6d76" providerId="ADAL" clId="{0F93E6D3-7306-4F51-BEDB-FEFB5CF382EB}" dt="2023-02-13T18:30:15.484" v="1806"/>
          <ac:spMkLst>
            <pc:docMk/>
            <pc:sldMk cId="4171336514" sldId="2147468269"/>
            <ac:spMk id="37" creationId="{9F8A494A-815B-4060-81BF-472C1327BFB5}"/>
          </ac:spMkLst>
        </pc:spChg>
        <pc:spChg chg="mod ord">
          <ac:chgData name="Tejada, Carmen" userId="4e46fa0d-51a0-4b7a-a6a6-e5b06c9f6d76" providerId="ADAL" clId="{0F93E6D3-7306-4F51-BEDB-FEFB5CF382EB}" dt="2023-02-13T18:30:15.484" v="1808"/>
          <ac:spMkLst>
            <pc:docMk/>
            <pc:sldMk cId="4171336514" sldId="2147468269"/>
            <ac:spMk id="38" creationId="{C8C746A9-71C8-436B-985C-808EDF6EA904}"/>
          </ac:spMkLst>
        </pc:spChg>
        <pc:spChg chg="del mod">
          <ac:chgData name="Tejada, Carmen" userId="4e46fa0d-51a0-4b7a-a6a6-e5b06c9f6d76" providerId="ADAL" clId="{0F93E6D3-7306-4F51-BEDB-FEFB5CF382EB}" dt="2023-02-13T18:25:49.429" v="1628" actId="478"/>
          <ac:spMkLst>
            <pc:docMk/>
            <pc:sldMk cId="4171336514" sldId="2147468269"/>
            <ac:spMk id="40" creationId="{F7E7CE09-D88E-4208-ABCE-CE35FFE2A27F}"/>
          </ac:spMkLst>
        </pc:spChg>
        <pc:spChg chg="mod ord">
          <ac:chgData name="Tejada, Carmen" userId="4e46fa0d-51a0-4b7a-a6a6-e5b06c9f6d76" providerId="ADAL" clId="{0F93E6D3-7306-4F51-BEDB-FEFB5CF382EB}" dt="2023-02-13T18:30:15.491" v="1829"/>
          <ac:spMkLst>
            <pc:docMk/>
            <pc:sldMk cId="4171336514" sldId="2147468269"/>
            <ac:spMk id="42" creationId="{A413D42E-FC28-451D-8295-D434D2544777}"/>
          </ac:spMkLst>
        </pc:spChg>
        <pc:spChg chg="mod ord">
          <ac:chgData name="Tejada, Carmen" userId="4e46fa0d-51a0-4b7a-a6a6-e5b06c9f6d76" providerId="ADAL" clId="{0F93E6D3-7306-4F51-BEDB-FEFB5CF382EB}" dt="2023-02-13T18:30:15.485" v="1810"/>
          <ac:spMkLst>
            <pc:docMk/>
            <pc:sldMk cId="4171336514" sldId="2147468269"/>
            <ac:spMk id="46" creationId="{044B495E-57CD-40F3-839A-703CD112D0F2}"/>
          </ac:spMkLst>
        </pc:spChg>
        <pc:spChg chg="mod ord">
          <ac:chgData name="Tejada, Carmen" userId="4e46fa0d-51a0-4b7a-a6a6-e5b06c9f6d76" providerId="ADAL" clId="{0F93E6D3-7306-4F51-BEDB-FEFB5CF382EB}" dt="2023-02-13T18:30:15.491" v="1831"/>
          <ac:spMkLst>
            <pc:docMk/>
            <pc:sldMk cId="4171336514" sldId="2147468269"/>
            <ac:spMk id="48" creationId="{91A76258-10E3-4DBC-9F16-288C55A05034}"/>
          </ac:spMkLst>
        </pc:spChg>
        <pc:spChg chg="mod ord">
          <ac:chgData name="Tejada, Carmen" userId="4e46fa0d-51a0-4b7a-a6a6-e5b06c9f6d76" providerId="ADAL" clId="{0F93E6D3-7306-4F51-BEDB-FEFB5CF382EB}" dt="2023-02-13T18:30:15.490" v="1825"/>
          <ac:spMkLst>
            <pc:docMk/>
            <pc:sldMk cId="4171336514" sldId="2147468269"/>
            <ac:spMk id="50" creationId="{E0B50E85-0EFF-4943-9EC5-2DFF0F80BBAF}"/>
          </ac:spMkLst>
        </pc:spChg>
        <pc:spChg chg="mod ord">
          <ac:chgData name="Tejada, Carmen" userId="4e46fa0d-51a0-4b7a-a6a6-e5b06c9f6d76" providerId="ADAL" clId="{0F93E6D3-7306-4F51-BEDB-FEFB5CF382EB}" dt="2023-02-13T18:30:15.490" v="1827"/>
          <ac:spMkLst>
            <pc:docMk/>
            <pc:sldMk cId="4171336514" sldId="2147468269"/>
            <ac:spMk id="51" creationId="{9BCE879D-6AE5-4950-A215-F1B2B3BF3FB7}"/>
          </ac:spMkLst>
        </pc:spChg>
        <pc:spChg chg="del mod ord">
          <ac:chgData name="Tejada, Carmen" userId="4e46fa0d-51a0-4b7a-a6a6-e5b06c9f6d76" providerId="ADAL" clId="{0F93E6D3-7306-4F51-BEDB-FEFB5CF382EB}" dt="2023-02-13T18:30:53.098" v="1847" actId="478"/>
          <ac:spMkLst>
            <pc:docMk/>
            <pc:sldMk cId="4171336514" sldId="2147468269"/>
            <ac:spMk id="52" creationId="{50F1B14A-593B-4434-9AA6-E3934B964736}"/>
          </ac:spMkLst>
        </pc:spChg>
        <pc:spChg chg="mod ord">
          <ac:chgData name="Tejada, Carmen" userId="4e46fa0d-51a0-4b7a-a6a6-e5b06c9f6d76" providerId="ADAL" clId="{0F93E6D3-7306-4F51-BEDB-FEFB5CF382EB}" dt="2023-02-13T18:30:15.492" v="1835"/>
          <ac:spMkLst>
            <pc:docMk/>
            <pc:sldMk cId="4171336514" sldId="2147468269"/>
            <ac:spMk id="53" creationId="{27A21056-F18E-4DD2-B177-220D3A574D45}"/>
          </ac:spMkLst>
        </pc:spChg>
        <pc:spChg chg="mod ord">
          <ac:chgData name="Tejada, Carmen" userId="4e46fa0d-51a0-4b7a-a6a6-e5b06c9f6d76" providerId="ADAL" clId="{0F93E6D3-7306-4F51-BEDB-FEFB5CF382EB}" dt="2023-02-13T18:30:15.493" v="1837"/>
          <ac:spMkLst>
            <pc:docMk/>
            <pc:sldMk cId="4171336514" sldId="2147468269"/>
            <ac:spMk id="54" creationId="{00C7963A-53DB-498C-9E27-2383E360F132}"/>
          </ac:spMkLst>
        </pc:spChg>
        <pc:grpChg chg="mod ord">
          <ac:chgData name="Tejada, Carmen" userId="4e46fa0d-51a0-4b7a-a6a6-e5b06c9f6d76" providerId="ADAL" clId="{0F93E6D3-7306-4F51-BEDB-FEFB5CF382EB}" dt="2023-02-13T18:30:15.480" v="1795"/>
          <ac:grpSpMkLst>
            <pc:docMk/>
            <pc:sldMk cId="4171336514" sldId="2147468269"/>
            <ac:grpSpMk id="25" creationId="{A3268D34-C4A9-4D6D-82B1-2518C678D4B1}"/>
          </ac:grpSpMkLst>
        </pc:grpChg>
        <pc:grpChg chg="mod ord">
          <ac:chgData name="Tejada, Carmen" userId="4e46fa0d-51a0-4b7a-a6a6-e5b06c9f6d76" providerId="ADAL" clId="{0F93E6D3-7306-4F51-BEDB-FEFB5CF382EB}" dt="2023-02-13T18:30:15.485" v="1812"/>
          <ac:grpSpMkLst>
            <pc:docMk/>
            <pc:sldMk cId="4171336514" sldId="2147468269"/>
            <ac:grpSpMk id="63" creationId="{C3EF2E1C-ECA8-46AC-9038-A478B91EEB9E}"/>
          </ac:grpSpMkLst>
        </pc:grpChg>
        <pc:grpChg chg="mod ord">
          <ac:chgData name="Tejada, Carmen" userId="4e46fa0d-51a0-4b7a-a6a6-e5b06c9f6d76" providerId="ADAL" clId="{0F93E6D3-7306-4F51-BEDB-FEFB5CF382EB}" dt="2023-02-13T18:30:15.486" v="1814"/>
          <ac:grpSpMkLst>
            <pc:docMk/>
            <pc:sldMk cId="4171336514" sldId="2147468269"/>
            <ac:grpSpMk id="67" creationId="{2D5E291D-0937-49C5-BA5D-AD4C6A7E3454}"/>
          </ac:grpSpMkLst>
        </pc:grpChg>
        <pc:grpChg chg="mod ord">
          <ac:chgData name="Tejada, Carmen" userId="4e46fa0d-51a0-4b7a-a6a6-e5b06c9f6d76" providerId="ADAL" clId="{0F93E6D3-7306-4F51-BEDB-FEFB5CF382EB}" dt="2023-02-13T18:30:15.487" v="1816"/>
          <ac:grpSpMkLst>
            <pc:docMk/>
            <pc:sldMk cId="4171336514" sldId="2147468269"/>
            <ac:grpSpMk id="71" creationId="{DDC941C6-106C-4674-B7D4-022ED170D536}"/>
          </ac:grpSpMkLst>
        </pc:grpChg>
        <pc:grpChg chg="mod ord">
          <ac:chgData name="Tejada, Carmen" userId="4e46fa0d-51a0-4b7a-a6a6-e5b06c9f6d76" providerId="ADAL" clId="{0F93E6D3-7306-4F51-BEDB-FEFB5CF382EB}" dt="2023-02-13T18:30:15.487" v="1818"/>
          <ac:grpSpMkLst>
            <pc:docMk/>
            <pc:sldMk cId="4171336514" sldId="2147468269"/>
            <ac:grpSpMk id="75" creationId="{66CCFE13-EB6E-42DD-A9A6-3AE605C72D8F}"/>
          </ac:grpSpMkLst>
        </pc:grpChg>
        <pc:graphicFrameChg chg="mod">
          <ac:chgData name="Tejada, Carmen" userId="4e46fa0d-51a0-4b7a-a6a6-e5b06c9f6d76" providerId="ADAL" clId="{0F93E6D3-7306-4F51-BEDB-FEFB5CF382EB}" dt="2023-02-13T18:30:15.477" v="1791"/>
          <ac:graphicFrameMkLst>
            <pc:docMk/>
            <pc:sldMk cId="4171336514" sldId="2147468269"/>
            <ac:graphicFrameMk id="4" creationId="{F9A667D7-027B-4B3D-AA74-1D7B00649E03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30:15.496" v="1840"/>
          <ac:graphicFrameMkLst>
            <pc:docMk/>
            <pc:sldMk cId="4171336514" sldId="2147468269"/>
            <ac:graphicFrameMk id="5" creationId="{A710DDCD-9D7A-468A-BC05-724DF1DC6F53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30:15.481" v="1796"/>
          <ac:graphicFrameMkLst>
            <pc:docMk/>
            <pc:sldMk cId="4171336514" sldId="2147468269"/>
            <ac:graphicFrameMk id="20" creationId="{58332265-12C1-4BE2-BC1A-8CAABF394B85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43:15.544" v="2561" actId="207"/>
          <ac:graphicFrameMkLst>
            <pc:docMk/>
            <pc:sldMk cId="4171336514" sldId="2147468269"/>
            <ac:graphicFrameMk id="79" creationId="{78C12EBF-B8F8-4FC3-95EB-30F57752D260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38:34.027" v="2367" actId="207"/>
          <ac:graphicFrameMkLst>
            <pc:docMk/>
            <pc:sldMk cId="4171336514" sldId="2147468269"/>
            <ac:graphicFrameMk id="80" creationId="{5DD1B47C-2E85-4A9B-A989-A677A72FA466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30:26.588" v="1842" actId="207"/>
          <ac:graphicFrameMkLst>
            <pc:docMk/>
            <pc:sldMk cId="4171336514" sldId="2147468269"/>
            <ac:graphicFrameMk id="86" creationId="{40DA9AC0-8024-4A3B-B171-5D6CDD749DC1}"/>
          </ac:graphicFrameMkLst>
        </pc:graphicFrameChg>
        <pc:graphicFrameChg chg="mod">
          <ac:chgData name="Tejada, Carmen" userId="4e46fa0d-51a0-4b7a-a6a6-e5b06c9f6d76" providerId="ADAL" clId="{0F93E6D3-7306-4F51-BEDB-FEFB5CF382EB}" dt="2023-02-13T18:48:55.436" v="2933" actId="207"/>
          <ac:graphicFrameMkLst>
            <pc:docMk/>
            <pc:sldMk cId="4171336514" sldId="2147468269"/>
            <ac:graphicFrameMk id="87" creationId="{F41B0C07-0EFB-4397-812F-2BDB179FC1C7}"/>
          </ac:graphicFrameMkLst>
        </pc:graphicFrameChg>
        <pc:picChg chg="mod ord">
          <ac:chgData name="Tejada, Carmen" userId="4e46fa0d-51a0-4b7a-a6a6-e5b06c9f6d76" providerId="ADAL" clId="{0F93E6D3-7306-4F51-BEDB-FEFB5CF382EB}" dt="2023-02-13T18:30:15.489" v="1823"/>
          <ac:picMkLst>
            <pc:docMk/>
            <pc:sldMk cId="4171336514" sldId="2147468269"/>
            <ac:picMk id="13" creationId="{165BCB3F-1B42-4A6A-B54C-211B9E015600}"/>
          </ac:picMkLst>
        </pc:picChg>
        <pc:picChg chg="mod ord">
          <ac:chgData name="Tejada, Carmen" userId="4e46fa0d-51a0-4b7a-a6a6-e5b06c9f6d76" providerId="ADAL" clId="{0F93E6D3-7306-4F51-BEDB-FEFB5CF382EB}" dt="2023-02-13T18:30:15.488" v="1821"/>
          <ac:picMkLst>
            <pc:docMk/>
            <pc:sldMk cId="4171336514" sldId="2147468269"/>
            <ac:picMk id="18" creationId="{5B233FF7-BCE8-434F-98A5-FBF9854BAA25}"/>
          </ac:picMkLst>
        </pc:picChg>
        <pc:picChg chg="mod ord">
          <ac:chgData name="Tejada, Carmen" userId="4e46fa0d-51a0-4b7a-a6a6-e5b06c9f6d76" providerId="ADAL" clId="{0F93E6D3-7306-4F51-BEDB-FEFB5CF382EB}" dt="2023-02-13T18:43:09.985" v="2560" actId="207"/>
          <ac:picMkLst>
            <pc:docMk/>
            <pc:sldMk cId="4171336514" sldId="2147468269"/>
            <ac:picMk id="43" creationId="{7AEED68A-99F9-494C-B02E-2EBE2322F4DF}"/>
          </ac:picMkLst>
        </pc:picChg>
        <pc:picChg chg="mod ord">
          <ac:chgData name="Tejada, Carmen" userId="4e46fa0d-51a0-4b7a-a6a6-e5b06c9f6d76" providerId="ADAL" clId="{0F93E6D3-7306-4F51-BEDB-FEFB5CF382EB}" dt="2023-02-13T18:38:26.625" v="2365" actId="207"/>
          <ac:picMkLst>
            <pc:docMk/>
            <pc:sldMk cId="4171336514" sldId="2147468269"/>
            <ac:picMk id="44" creationId="{47855867-A015-499A-9394-BEFAC5829695}"/>
          </ac:picMkLst>
        </pc:picChg>
        <pc:picChg chg="mod ord">
          <ac:chgData name="Tejada, Carmen" userId="4e46fa0d-51a0-4b7a-a6a6-e5b06c9f6d76" providerId="ADAL" clId="{0F93E6D3-7306-4F51-BEDB-FEFB5CF382EB}" dt="2023-02-13T18:30:17.602" v="1841" actId="207"/>
          <ac:picMkLst>
            <pc:docMk/>
            <pc:sldMk cId="4171336514" sldId="2147468269"/>
            <ac:picMk id="45" creationId="{5B0CE676-8442-4835-B670-994BC613D6B1}"/>
          </ac:picMkLst>
        </pc:picChg>
      </pc:sldChg>
      <pc:sldChg chg="delSp modSp add mod ord">
        <pc:chgData name="Tejada, Carmen" userId="4e46fa0d-51a0-4b7a-a6a6-e5b06c9f6d76" providerId="ADAL" clId="{0F93E6D3-7306-4F51-BEDB-FEFB5CF382EB}" dt="2023-02-14T08:50:55.826" v="4739" actId="207"/>
        <pc:sldMkLst>
          <pc:docMk/>
          <pc:sldMk cId="998951790" sldId="2147468271"/>
        </pc:sldMkLst>
        <pc:graphicFrameChg chg="mod">
          <ac:chgData name="Tejada, Carmen" userId="4e46fa0d-51a0-4b7a-a6a6-e5b06c9f6d76" providerId="ADAL" clId="{0F93E6D3-7306-4F51-BEDB-FEFB5CF382EB}" dt="2023-02-13T20:54:43.147" v="3431" actId="207"/>
          <ac:graphicFrameMkLst>
            <pc:docMk/>
            <pc:sldMk cId="998951790" sldId="2147468271"/>
            <ac:graphicFrameMk id="4" creationId="{F9A667D7-027B-4B3D-AA74-1D7B00649E03}"/>
          </ac:graphicFrameMkLst>
        </pc:graphicFrameChg>
        <pc:graphicFrameChg chg="mod">
          <ac:chgData name="Tejada, Carmen" userId="4e46fa0d-51a0-4b7a-a6a6-e5b06c9f6d76" providerId="ADAL" clId="{0F93E6D3-7306-4F51-BEDB-FEFB5CF382EB}" dt="2023-02-13T20:59:36.226" v="3793" actId="207"/>
          <ac:graphicFrameMkLst>
            <pc:docMk/>
            <pc:sldMk cId="998951790" sldId="2147468271"/>
            <ac:graphicFrameMk id="79" creationId="{78C12EBF-B8F8-4FC3-95EB-30F57752D260}"/>
          </ac:graphicFrameMkLst>
        </pc:graphicFrameChg>
        <pc:graphicFrameChg chg="mod">
          <ac:chgData name="Tejada, Carmen" userId="4e46fa0d-51a0-4b7a-a6a6-e5b06c9f6d76" providerId="ADAL" clId="{0F93E6D3-7306-4F51-BEDB-FEFB5CF382EB}" dt="2023-02-14T08:50:55.826" v="4739" actId="207"/>
          <ac:graphicFrameMkLst>
            <pc:docMk/>
            <pc:sldMk cId="998951790" sldId="2147468271"/>
            <ac:graphicFrameMk id="80" creationId="{5DD1B47C-2E85-4A9B-A989-A677A72FA466}"/>
          </ac:graphicFrameMkLst>
        </pc:graphicFrameChg>
        <pc:picChg chg="del">
          <ac:chgData name="Tejada, Carmen" userId="4e46fa0d-51a0-4b7a-a6a6-e5b06c9f6d76" providerId="ADAL" clId="{0F93E6D3-7306-4F51-BEDB-FEFB5CF382EB}" dt="2023-02-13T21:09:26.971" v="4046" actId="478"/>
          <ac:picMkLst>
            <pc:docMk/>
            <pc:sldMk cId="998951790" sldId="2147468271"/>
            <ac:picMk id="47" creationId="{9257BD24-3D14-4329-A7A4-2BE614EDCC00}"/>
          </ac:picMkLst>
        </pc:picChg>
        <pc:picChg chg="mod">
          <ac:chgData name="Tejada, Carmen" userId="4e46fa0d-51a0-4b7a-a6a6-e5b06c9f6d76" providerId="ADAL" clId="{0F93E6D3-7306-4F51-BEDB-FEFB5CF382EB}" dt="2023-02-13T20:54:40.142" v="3430" actId="207"/>
          <ac:picMkLst>
            <pc:docMk/>
            <pc:sldMk cId="998951790" sldId="2147468271"/>
            <ac:picMk id="49" creationId="{EDEBEC78-720A-4E4B-9326-CA42058EE3DB}"/>
          </ac:picMkLst>
        </pc:picChg>
        <pc:picChg chg="mod">
          <ac:chgData name="Tejada, Carmen" userId="4e46fa0d-51a0-4b7a-a6a6-e5b06c9f6d76" providerId="ADAL" clId="{0F93E6D3-7306-4F51-BEDB-FEFB5CF382EB}" dt="2023-02-13T20:59:37.879" v="3794" actId="207"/>
          <ac:picMkLst>
            <pc:docMk/>
            <pc:sldMk cId="998951790" sldId="2147468271"/>
            <ac:picMk id="55" creationId="{45A16CA1-A151-4530-A357-68147CA37BA2}"/>
          </ac:picMkLst>
        </pc:picChg>
      </pc:sldChg>
      <pc:sldChg chg="addSp delSp modSp add mod ord">
        <pc:chgData name="Tejada, Carmen" userId="4e46fa0d-51a0-4b7a-a6a6-e5b06c9f6d76" providerId="ADAL" clId="{0F93E6D3-7306-4F51-BEDB-FEFB5CF382EB}" dt="2023-02-14T09:19:50.736" v="5120"/>
        <pc:sldMkLst>
          <pc:docMk/>
          <pc:sldMk cId="2880233608" sldId="2147468274"/>
        </pc:sldMkLst>
        <pc:spChg chg="del mod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2" creationId="{3F7E360D-63F4-4006-A5A1-50B0E2295DC4}"/>
          </ac:spMkLst>
        </pc:spChg>
        <pc:spChg chg="add mod ord">
          <ac:chgData name="Tejada, Carmen" userId="4e46fa0d-51a0-4b7a-a6a6-e5b06c9f6d76" providerId="ADAL" clId="{0F93E6D3-7306-4F51-BEDB-FEFB5CF382EB}" dt="2023-02-13T18:50:06.198" v="2954"/>
          <ac:spMkLst>
            <pc:docMk/>
            <pc:sldMk cId="2880233608" sldId="2147468274"/>
            <ac:spMk id="3" creationId="{830D324D-2706-4228-8144-6CE028C2DF1D}"/>
          </ac:spMkLst>
        </pc:spChg>
        <pc:spChg chg="add mod ord">
          <ac:chgData name="Tejada, Carmen" userId="4e46fa0d-51a0-4b7a-a6a6-e5b06c9f6d76" providerId="ADAL" clId="{0F93E6D3-7306-4F51-BEDB-FEFB5CF382EB}" dt="2023-02-13T18:50:06.200" v="2958"/>
          <ac:spMkLst>
            <pc:docMk/>
            <pc:sldMk cId="2880233608" sldId="2147468274"/>
            <ac:spMk id="4" creationId="{F2756C86-9660-4710-B44C-45095A3EADEC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7" creationId="{127DDDA6-D9FE-400D-8D37-36A271916CEC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48" creationId="{4A3B9A7C-B089-4C28-AF69-3067C81A8CA6}"/>
          </ac:spMkLst>
        </pc:spChg>
        <pc:spChg chg="add del mod ord">
          <ac:chgData name="Tejada, Carmen" userId="4e46fa0d-51a0-4b7a-a6a6-e5b06c9f6d76" providerId="ADAL" clId="{0F93E6D3-7306-4F51-BEDB-FEFB5CF382EB}" dt="2023-02-13T18:28:52.244" v="1762" actId="478"/>
          <ac:spMkLst>
            <pc:docMk/>
            <pc:sldMk cId="2880233608" sldId="2147468274"/>
            <ac:spMk id="49" creationId="{5C08648D-B0BF-431A-A692-AFEF45C6E3D2}"/>
          </ac:spMkLst>
        </pc:spChg>
        <pc:spChg chg="del mod ord">
          <ac:chgData name="Tejada, Carmen" userId="4e46fa0d-51a0-4b7a-a6a6-e5b06c9f6d76" providerId="ADAL" clId="{0F93E6D3-7306-4F51-BEDB-FEFB5CF382EB}" dt="2023-02-13T18:44:14.668" v="2581" actId="478"/>
          <ac:spMkLst>
            <pc:docMk/>
            <pc:sldMk cId="2880233608" sldId="2147468274"/>
            <ac:spMk id="50" creationId="{E0B50E85-0EFF-4943-9EC5-2DFF0F80BBAF}"/>
          </ac:spMkLst>
        </pc:spChg>
        <pc:spChg chg="del mod ord">
          <ac:chgData name="Tejada, Carmen" userId="4e46fa0d-51a0-4b7a-a6a6-e5b06c9f6d76" providerId="ADAL" clId="{0F93E6D3-7306-4F51-BEDB-FEFB5CF382EB}" dt="2023-02-13T18:44:15.847" v="2582" actId="478"/>
          <ac:spMkLst>
            <pc:docMk/>
            <pc:sldMk cId="2880233608" sldId="2147468274"/>
            <ac:spMk id="51" creationId="{9BCE879D-6AE5-4950-A215-F1B2B3BF3FB7}"/>
          </ac:spMkLst>
        </pc:spChg>
        <pc:spChg chg="add mod ord">
          <ac:chgData name="Tejada, Carmen" userId="4e46fa0d-51a0-4b7a-a6a6-e5b06c9f6d76" providerId="ADAL" clId="{0F93E6D3-7306-4F51-BEDB-FEFB5CF382EB}" dt="2023-02-13T20:54:13.467" v="3428" actId="14100"/>
          <ac:spMkLst>
            <pc:docMk/>
            <pc:sldMk cId="2880233608" sldId="2147468274"/>
            <ac:spMk id="52" creationId="{9F407F65-85E9-41C0-9E91-9337618D32D9}"/>
          </ac:spMkLst>
        </pc:spChg>
        <pc:spChg chg="add mod ord">
          <ac:chgData name="Tejada, Carmen" userId="4e46fa0d-51a0-4b7a-a6a6-e5b06c9f6d76" providerId="ADAL" clId="{0F93E6D3-7306-4F51-BEDB-FEFB5CF382EB}" dt="2023-02-13T20:54:13.467" v="3428" actId="14100"/>
          <ac:spMkLst>
            <pc:docMk/>
            <pc:sldMk cId="2880233608" sldId="2147468274"/>
            <ac:spMk id="57" creationId="{9764327B-0382-42B7-8C65-C222DE6E2326}"/>
          </ac:spMkLst>
        </pc:spChg>
        <pc:spChg chg="add mod ord">
          <ac:chgData name="Tejada, Carmen" userId="4e46fa0d-51a0-4b7a-a6a6-e5b06c9f6d76" providerId="ADAL" clId="{0F93E6D3-7306-4F51-BEDB-FEFB5CF382EB}" dt="2023-02-13T18:50:06.203" v="2964"/>
          <ac:spMkLst>
            <pc:docMk/>
            <pc:sldMk cId="2880233608" sldId="2147468274"/>
            <ac:spMk id="58" creationId="{A707D47E-B1B5-45F6-81D7-2B146952DBAF}"/>
          </ac:spMkLst>
        </pc:spChg>
        <pc:spChg chg="add mod ord">
          <ac:chgData name="Tejada, Carmen" userId="4e46fa0d-51a0-4b7a-a6a6-e5b06c9f6d76" providerId="ADAL" clId="{0F93E6D3-7306-4F51-BEDB-FEFB5CF382EB}" dt="2023-02-13T18:50:06.204" v="2966"/>
          <ac:spMkLst>
            <pc:docMk/>
            <pc:sldMk cId="2880233608" sldId="2147468274"/>
            <ac:spMk id="59" creationId="{B60C1F3D-0B60-4B53-B1A3-A84AE53E0008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60" creationId="{1693E54E-1A42-4A0A-B26E-91245047356C}"/>
          </ac:spMkLst>
        </pc:spChg>
        <pc:spChg chg="add mod ord">
          <ac:chgData name="Tejada, Carmen" userId="4e46fa0d-51a0-4b7a-a6a6-e5b06c9f6d76" providerId="ADAL" clId="{0F93E6D3-7306-4F51-BEDB-FEFB5CF382EB}" dt="2023-02-13T18:50:06.204" v="2968"/>
          <ac:spMkLst>
            <pc:docMk/>
            <pc:sldMk cId="2880233608" sldId="2147468274"/>
            <ac:spMk id="63" creationId="{2693744E-88CD-44C1-8211-E07A056B9E3A}"/>
          </ac:spMkLst>
        </pc:spChg>
        <pc:spChg chg="add mod ord">
          <ac:chgData name="Tejada, Carmen" userId="4e46fa0d-51a0-4b7a-a6a6-e5b06c9f6d76" providerId="ADAL" clId="{0F93E6D3-7306-4F51-BEDB-FEFB5CF382EB}" dt="2023-02-13T20:54:13.467" v="3428" actId="14100"/>
          <ac:spMkLst>
            <pc:docMk/>
            <pc:sldMk cId="2880233608" sldId="2147468274"/>
            <ac:spMk id="65" creationId="{753D5192-BEF6-4975-80BE-ADC21FBF8F98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66" creationId="{87774F2B-D29D-4FFE-BCC6-5B02DC405B2C}"/>
          </ac:spMkLst>
        </pc:spChg>
        <pc:spChg chg="add mod ord">
          <ac:chgData name="Tejada, Carmen" userId="4e46fa0d-51a0-4b7a-a6a6-e5b06c9f6d76" providerId="ADAL" clId="{0F93E6D3-7306-4F51-BEDB-FEFB5CF382EB}" dt="2023-02-13T18:50:06.207" v="2974"/>
          <ac:spMkLst>
            <pc:docMk/>
            <pc:sldMk cId="2880233608" sldId="2147468274"/>
            <ac:spMk id="67" creationId="{84EE57D6-739B-4C91-80B0-D5F779E60059}"/>
          </ac:spMkLst>
        </pc:spChg>
        <pc:spChg chg="add mod ord">
          <ac:chgData name="Tejada, Carmen" userId="4e46fa0d-51a0-4b7a-a6a6-e5b06c9f6d76" providerId="ADAL" clId="{0F93E6D3-7306-4F51-BEDB-FEFB5CF382EB}" dt="2023-02-13T18:50:06.208" v="2976"/>
          <ac:spMkLst>
            <pc:docMk/>
            <pc:sldMk cId="2880233608" sldId="2147468274"/>
            <ac:spMk id="68" creationId="{2854DE08-B65C-437B-8DB4-7EA2C8A45004}"/>
          </ac:spMkLst>
        </pc:spChg>
        <pc:spChg chg="add mod ord">
          <ac:chgData name="Tejada, Carmen" userId="4e46fa0d-51a0-4b7a-a6a6-e5b06c9f6d76" providerId="ADAL" clId="{0F93E6D3-7306-4F51-BEDB-FEFB5CF382EB}" dt="2023-02-13T20:53:57.237" v="3427" actId="20577"/>
          <ac:spMkLst>
            <pc:docMk/>
            <pc:sldMk cId="2880233608" sldId="2147468274"/>
            <ac:spMk id="69" creationId="{A55A4CB3-50F8-4811-8549-241FB732D8D4}"/>
          </ac:spMkLst>
        </pc:spChg>
        <pc:spChg chg="del mod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70" creationId="{E9B61071-4E85-41AA-9244-84314FB7E513}"/>
          </ac:spMkLst>
        </pc:spChg>
        <pc:spChg chg="add mod ord">
          <ac:chgData name="Tejada, Carmen" userId="4e46fa0d-51a0-4b7a-a6a6-e5b06c9f6d76" providerId="ADAL" clId="{0F93E6D3-7306-4F51-BEDB-FEFB5CF382EB}" dt="2023-02-13T20:54:13.467" v="3428" actId="14100"/>
          <ac:spMkLst>
            <pc:docMk/>
            <pc:sldMk cId="2880233608" sldId="2147468274"/>
            <ac:spMk id="72" creationId="{8B6C62E9-9A96-4175-B331-8FF6044D82FF}"/>
          </ac:spMkLst>
        </pc:spChg>
        <pc:spChg chg="add mod ord">
          <ac:chgData name="Tejada, Carmen" userId="4e46fa0d-51a0-4b7a-a6a6-e5b06c9f6d76" providerId="ADAL" clId="{0F93E6D3-7306-4F51-BEDB-FEFB5CF382EB}" dt="2023-02-13T18:50:06.210" v="2982"/>
          <ac:spMkLst>
            <pc:docMk/>
            <pc:sldMk cId="2880233608" sldId="2147468274"/>
            <ac:spMk id="73" creationId="{491EE23C-78FB-4E82-9E72-40C8A1DE4E50}"/>
          </ac:spMkLst>
        </pc:spChg>
        <pc:spChg chg="add mod ord">
          <ac:chgData name="Tejada, Carmen" userId="4e46fa0d-51a0-4b7a-a6a6-e5b06c9f6d76" providerId="ADAL" clId="{0F93E6D3-7306-4F51-BEDB-FEFB5CF382EB}" dt="2023-02-13T18:50:06.211" v="2984"/>
          <ac:spMkLst>
            <pc:docMk/>
            <pc:sldMk cId="2880233608" sldId="2147468274"/>
            <ac:spMk id="74" creationId="{6AD4D76B-2C0A-4A2E-99E2-8DD33A766BB7}"/>
          </ac:spMkLst>
        </pc:spChg>
        <pc:spChg chg="add mod ord">
          <ac:chgData name="Tejada, Carmen" userId="4e46fa0d-51a0-4b7a-a6a6-e5b06c9f6d76" providerId="ADAL" clId="{0F93E6D3-7306-4F51-BEDB-FEFB5CF382EB}" dt="2023-02-13T18:50:06.212" v="2986"/>
          <ac:spMkLst>
            <pc:docMk/>
            <pc:sldMk cId="2880233608" sldId="2147468274"/>
            <ac:spMk id="75" creationId="{1B787DFA-FD49-4BF2-B543-A019CA7A6609}"/>
          </ac:spMkLst>
        </pc:spChg>
        <pc:spChg chg="add mod ord">
          <ac:chgData name="Tejada, Carmen" userId="4e46fa0d-51a0-4b7a-a6a6-e5b06c9f6d76" providerId="ADAL" clId="{0F93E6D3-7306-4F51-BEDB-FEFB5CF382EB}" dt="2023-02-13T20:56:10.165" v="3495" actId="14100"/>
          <ac:spMkLst>
            <pc:docMk/>
            <pc:sldMk cId="2880233608" sldId="2147468274"/>
            <ac:spMk id="77" creationId="{6766594E-9070-40D1-AE00-C688E6C1B00A}"/>
          </ac:spMkLst>
        </pc:spChg>
        <pc:spChg chg="del mod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78" creationId="{9A93605E-06CB-46BB-9781-1B498A891ACB}"/>
          </ac:spMkLst>
        </pc:spChg>
        <pc:spChg chg="add mod ord">
          <ac:chgData name="Tejada, Carmen" userId="4e46fa0d-51a0-4b7a-a6a6-e5b06c9f6d76" providerId="ADAL" clId="{0F93E6D3-7306-4F51-BEDB-FEFB5CF382EB}" dt="2023-02-13T18:50:06.215" v="2994"/>
          <ac:spMkLst>
            <pc:docMk/>
            <pc:sldMk cId="2880233608" sldId="2147468274"/>
            <ac:spMk id="79" creationId="{AFCD7D85-1616-4189-ADD3-C9AA7527AF5F}"/>
          </ac:spMkLst>
        </pc:spChg>
        <pc:spChg chg="add mod ord">
          <ac:chgData name="Tejada, Carmen" userId="4e46fa0d-51a0-4b7a-a6a6-e5b06c9f6d76" providerId="ADAL" clId="{0F93E6D3-7306-4F51-BEDB-FEFB5CF382EB}" dt="2023-02-13T18:50:06.216" v="2996"/>
          <ac:spMkLst>
            <pc:docMk/>
            <pc:sldMk cId="2880233608" sldId="2147468274"/>
            <ac:spMk id="80" creationId="{CAE208B1-7119-4A13-8F43-0E0BDA5AF0D5}"/>
          </ac:spMkLst>
        </pc:spChg>
        <pc:spChg chg="add mod ord">
          <ac:chgData name="Tejada, Carmen" userId="4e46fa0d-51a0-4b7a-a6a6-e5b06c9f6d76" providerId="ADAL" clId="{0F93E6D3-7306-4F51-BEDB-FEFB5CF382EB}" dt="2023-02-13T18:51:14.124" v="3088" actId="207"/>
          <ac:spMkLst>
            <pc:docMk/>
            <pc:sldMk cId="2880233608" sldId="2147468274"/>
            <ac:spMk id="81" creationId="{7D8D3BD2-2841-4D9A-84DA-CAE6F1F67844}"/>
          </ac:spMkLst>
        </pc:spChg>
        <pc:spChg chg="add del mod">
          <ac:chgData name="Tejada, Carmen" userId="4e46fa0d-51a0-4b7a-a6a6-e5b06c9f6d76" providerId="ADAL" clId="{0F93E6D3-7306-4F51-BEDB-FEFB5CF382EB}" dt="2023-02-13T18:44:33.854" v="2585" actId="478"/>
          <ac:spMkLst>
            <pc:docMk/>
            <pc:sldMk cId="2880233608" sldId="2147468274"/>
            <ac:spMk id="83" creationId="{0A34474D-B67E-4D29-98A7-2F535CDD6A2F}"/>
          </ac:spMkLst>
        </pc:spChg>
        <pc:spChg chg="add del mod">
          <ac:chgData name="Tejada, Carmen" userId="4e46fa0d-51a0-4b7a-a6a6-e5b06c9f6d76" providerId="ADAL" clId="{0F93E6D3-7306-4F51-BEDB-FEFB5CF382EB}" dt="2023-02-13T18:44:33.854" v="2585" actId="478"/>
          <ac:spMkLst>
            <pc:docMk/>
            <pc:sldMk cId="2880233608" sldId="2147468274"/>
            <ac:spMk id="84" creationId="{FA0F6F2D-3BFE-413D-8415-CEF881B3DC26}"/>
          </ac:spMkLst>
        </pc:spChg>
        <pc:spChg chg="add del mod">
          <ac:chgData name="Tejada, Carmen" userId="4e46fa0d-51a0-4b7a-a6a6-e5b06c9f6d76" providerId="ADAL" clId="{0F93E6D3-7306-4F51-BEDB-FEFB5CF382EB}" dt="2023-02-13T18:44:33.854" v="2585" actId="478"/>
          <ac:spMkLst>
            <pc:docMk/>
            <pc:sldMk cId="2880233608" sldId="2147468274"/>
            <ac:spMk id="85" creationId="{93A660D2-7384-46E0-9966-AEF5429F64DC}"/>
          </ac:spMkLst>
        </pc:spChg>
        <pc:spChg chg="add mod ord">
          <ac:chgData name="Tejada, Carmen" userId="4e46fa0d-51a0-4b7a-a6a6-e5b06c9f6d76" providerId="ADAL" clId="{0F93E6D3-7306-4F51-BEDB-FEFB5CF382EB}" dt="2023-02-13T18:50:06.218" v="3000"/>
          <ac:spMkLst>
            <pc:docMk/>
            <pc:sldMk cId="2880233608" sldId="2147468274"/>
            <ac:spMk id="86" creationId="{654847C7-6569-41C0-B82F-BE4C6DEB1C34}"/>
          </ac:spMkLst>
        </pc:spChg>
        <pc:spChg chg="add mod ord">
          <ac:chgData name="Tejada, Carmen" userId="4e46fa0d-51a0-4b7a-a6a6-e5b06c9f6d76" providerId="ADAL" clId="{0F93E6D3-7306-4F51-BEDB-FEFB5CF382EB}" dt="2023-02-13T18:50:06.219" v="3002"/>
          <ac:spMkLst>
            <pc:docMk/>
            <pc:sldMk cId="2880233608" sldId="2147468274"/>
            <ac:spMk id="87" creationId="{151FCDB8-6EA9-41E4-BC08-0EDE145C69A4}"/>
          </ac:spMkLst>
        </pc:spChg>
        <pc:spChg chg="add mod ord">
          <ac:chgData name="Tejada, Carmen" userId="4e46fa0d-51a0-4b7a-a6a6-e5b06c9f6d76" providerId="ADAL" clId="{0F93E6D3-7306-4F51-BEDB-FEFB5CF382EB}" dt="2023-02-13T18:50:06.219" v="3004"/>
          <ac:spMkLst>
            <pc:docMk/>
            <pc:sldMk cId="2880233608" sldId="2147468274"/>
            <ac:spMk id="88" creationId="{F9A53178-2569-4307-B92E-A016298C9D4E}"/>
          </ac:spMkLst>
        </pc:spChg>
        <pc:spChg chg="add mod ord">
          <ac:chgData name="Tejada, Carmen" userId="4e46fa0d-51a0-4b7a-a6a6-e5b06c9f6d76" providerId="ADAL" clId="{0F93E6D3-7306-4F51-BEDB-FEFB5CF382EB}" dt="2023-02-13T20:56:10.165" v="3495" actId="14100"/>
          <ac:spMkLst>
            <pc:docMk/>
            <pc:sldMk cId="2880233608" sldId="2147468274"/>
            <ac:spMk id="89" creationId="{1378EE0C-C147-43F1-9247-E63B4EE27E69}"/>
          </ac:spMkLst>
        </pc:spChg>
        <pc:spChg chg="add mod ord">
          <ac:chgData name="Tejada, Carmen" userId="4e46fa0d-51a0-4b7a-a6a6-e5b06c9f6d76" providerId="ADAL" clId="{0F93E6D3-7306-4F51-BEDB-FEFB5CF382EB}" dt="2023-02-13T18:50:06.222" v="3008"/>
          <ac:spMkLst>
            <pc:docMk/>
            <pc:sldMk cId="2880233608" sldId="2147468274"/>
            <ac:spMk id="90" creationId="{D167ACE8-7DF2-4CCB-A302-F39A9CFC7114}"/>
          </ac:spMkLst>
        </pc:spChg>
        <pc:spChg chg="add mod ord">
          <ac:chgData name="Tejada, Carmen" userId="4e46fa0d-51a0-4b7a-a6a6-e5b06c9f6d76" providerId="ADAL" clId="{0F93E6D3-7306-4F51-BEDB-FEFB5CF382EB}" dt="2023-02-13T18:50:06.223" v="3010"/>
          <ac:spMkLst>
            <pc:docMk/>
            <pc:sldMk cId="2880233608" sldId="2147468274"/>
            <ac:spMk id="91" creationId="{CC799481-EA71-445E-BFA6-7B5D36759DA0}"/>
          </ac:spMkLst>
        </pc:spChg>
        <pc:spChg chg="add mod ord">
          <ac:chgData name="Tejada, Carmen" userId="4e46fa0d-51a0-4b7a-a6a6-e5b06c9f6d76" providerId="ADAL" clId="{0F93E6D3-7306-4F51-BEDB-FEFB5CF382EB}" dt="2023-02-13T20:56:01.931" v="3494" actId="13926"/>
          <ac:spMkLst>
            <pc:docMk/>
            <pc:sldMk cId="2880233608" sldId="2147468274"/>
            <ac:spMk id="93" creationId="{A5F47396-8427-4137-AE3D-AC68AC1581AC}"/>
          </ac:spMkLst>
        </pc:spChg>
        <pc:spChg chg="mod ord">
          <ac:chgData name="Tejada, Carmen" userId="4e46fa0d-51a0-4b7a-a6a6-e5b06c9f6d76" providerId="ADAL" clId="{0F93E6D3-7306-4F51-BEDB-FEFB5CF382EB}" dt="2023-02-13T18:50:06.199" v="2956"/>
          <ac:spMkLst>
            <pc:docMk/>
            <pc:sldMk cId="2880233608" sldId="2147468274"/>
            <ac:spMk id="94" creationId="{7E814C6C-0191-4809-9645-C7FEC000D7CF}"/>
          </ac:spMkLst>
        </pc:spChg>
        <pc:spChg chg="del mod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95" creationId="{FF9E7E07-F1F3-4254-B524-2625B5747703}"/>
          </ac:spMkLst>
        </pc:spChg>
        <pc:spChg chg="del mod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97" creationId="{0391D225-7D95-461B-AB5D-C81432369F2D}"/>
          </ac:spMkLst>
        </pc:spChg>
        <pc:spChg chg="add mod ord">
          <ac:chgData name="Tejada, Carmen" userId="4e46fa0d-51a0-4b7a-a6a6-e5b06c9f6d76" providerId="ADAL" clId="{0F93E6D3-7306-4F51-BEDB-FEFB5CF382EB}" dt="2023-02-13T20:56:10.165" v="3495" actId="14100"/>
          <ac:spMkLst>
            <pc:docMk/>
            <pc:sldMk cId="2880233608" sldId="2147468274"/>
            <ac:spMk id="98" creationId="{B2F3DA96-FD77-496F-9517-3E661AC7DF4D}"/>
          </ac:spMkLst>
        </pc:spChg>
        <pc:spChg chg="add mod ord">
          <ac:chgData name="Tejada, Carmen" userId="4e46fa0d-51a0-4b7a-a6a6-e5b06c9f6d76" providerId="ADAL" clId="{0F93E6D3-7306-4F51-BEDB-FEFB5CF382EB}" dt="2023-02-13T18:50:06.226" v="3018"/>
          <ac:spMkLst>
            <pc:docMk/>
            <pc:sldMk cId="2880233608" sldId="2147468274"/>
            <ac:spMk id="99" creationId="{420EFBC0-56E5-4EF1-8605-18178D55153B}"/>
          </ac:spMkLst>
        </pc:spChg>
        <pc:spChg chg="add mod ord">
          <ac:chgData name="Tejada, Carmen" userId="4e46fa0d-51a0-4b7a-a6a6-e5b06c9f6d76" providerId="ADAL" clId="{0F93E6D3-7306-4F51-BEDB-FEFB5CF382EB}" dt="2023-02-13T18:50:06.227" v="3020"/>
          <ac:spMkLst>
            <pc:docMk/>
            <pc:sldMk cId="2880233608" sldId="2147468274"/>
            <ac:spMk id="100" creationId="{65A8290F-3185-484D-A3F8-6BF4FD8D5663}"/>
          </ac:spMkLst>
        </pc:spChg>
        <pc:spChg chg="add mod ord">
          <ac:chgData name="Tejada, Carmen" userId="4e46fa0d-51a0-4b7a-a6a6-e5b06c9f6d76" providerId="ADAL" clId="{0F93E6D3-7306-4F51-BEDB-FEFB5CF382EB}" dt="2023-02-13T20:58:23.268" v="3792" actId="20577"/>
          <ac:spMkLst>
            <pc:docMk/>
            <pc:sldMk cId="2880233608" sldId="2147468274"/>
            <ac:spMk id="101" creationId="{B2B664E4-52F6-45E9-83E9-F8EFA4AD13F1}"/>
          </ac:spMkLst>
        </pc:spChg>
        <pc:spChg chg="add mod ord">
          <ac:chgData name="Tejada, Carmen" userId="4e46fa0d-51a0-4b7a-a6a6-e5b06c9f6d76" providerId="ADAL" clId="{0F93E6D3-7306-4F51-BEDB-FEFB5CF382EB}" dt="2023-02-13T20:56:10.165" v="3495" actId="14100"/>
          <ac:spMkLst>
            <pc:docMk/>
            <pc:sldMk cId="2880233608" sldId="2147468274"/>
            <ac:spMk id="103" creationId="{62E6979C-90B5-4A51-95C9-7C13B2143E2C}"/>
          </ac:spMkLst>
        </pc:spChg>
        <pc:spChg chg="add mod ord">
          <ac:chgData name="Tejada, Carmen" userId="4e46fa0d-51a0-4b7a-a6a6-e5b06c9f6d76" providerId="ADAL" clId="{0F93E6D3-7306-4F51-BEDB-FEFB5CF382EB}" dt="2023-02-13T18:50:06.230" v="3028"/>
          <ac:spMkLst>
            <pc:docMk/>
            <pc:sldMk cId="2880233608" sldId="2147468274"/>
            <ac:spMk id="104" creationId="{3C4A6133-B394-4EA3-AFA8-C03CFDAA0A75}"/>
          </ac:spMkLst>
        </pc:spChg>
        <pc:spChg chg="add mod ord">
          <ac:chgData name="Tejada, Carmen" userId="4e46fa0d-51a0-4b7a-a6a6-e5b06c9f6d76" providerId="ADAL" clId="{0F93E6D3-7306-4F51-BEDB-FEFB5CF382EB}" dt="2023-02-13T18:50:06.231" v="3030"/>
          <ac:spMkLst>
            <pc:docMk/>
            <pc:sldMk cId="2880233608" sldId="2147468274"/>
            <ac:spMk id="105" creationId="{227FCF6A-7BF8-4278-8815-0E1FAE72B96E}"/>
          </ac:spMkLst>
        </pc:spChg>
        <pc:spChg chg="add mod ord">
          <ac:chgData name="Tejada, Carmen" userId="4e46fa0d-51a0-4b7a-a6a6-e5b06c9f6d76" providerId="ADAL" clId="{0F93E6D3-7306-4F51-BEDB-FEFB5CF382EB}" dt="2023-02-13T21:09:17.113" v="4045" actId="20577"/>
          <ac:spMkLst>
            <pc:docMk/>
            <pc:sldMk cId="2880233608" sldId="2147468274"/>
            <ac:spMk id="106" creationId="{5B1DF375-C8C3-4B51-9576-5F914CD87B55}"/>
          </ac:spMkLst>
        </pc:spChg>
        <pc:spChg chg="add mod ord">
          <ac:chgData name="Tejada, Carmen" userId="4e46fa0d-51a0-4b7a-a6a6-e5b06c9f6d76" providerId="ADAL" clId="{0F93E6D3-7306-4F51-BEDB-FEFB5CF382EB}" dt="2023-02-13T18:50:06.234" v="3036"/>
          <ac:spMkLst>
            <pc:docMk/>
            <pc:sldMk cId="2880233608" sldId="2147468274"/>
            <ac:spMk id="110" creationId="{88148C08-9C80-43D5-B63A-A6A1E40DEB3A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17" creationId="{0954E44E-46A6-4D3A-91A9-DA9E22AC7A92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21" creationId="{E6B1CC1B-CDCC-4B20-BC6A-323F78324C4C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63" creationId="{2173F775-DBAF-4EE1-8A20-F301B11787B1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66" creationId="{4A968F9A-7E52-49A8-B238-F254F27CB032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67" creationId="{EBAFAA8C-D911-4067-A513-389F22B522CE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69" creationId="{D763CB77-B2C8-4781-964C-F6BB544172D0}"/>
          </ac:spMkLst>
        </pc:spChg>
        <pc:spChg chg="del mod ord">
          <ac:chgData name="Tejada, Carmen" userId="4e46fa0d-51a0-4b7a-a6a6-e5b06c9f6d76" providerId="ADAL" clId="{0F93E6D3-7306-4F51-BEDB-FEFB5CF382EB}" dt="2023-02-13T18:34:44.295" v="2105" actId="478"/>
          <ac:spMkLst>
            <pc:docMk/>
            <pc:sldMk cId="2880233608" sldId="2147468274"/>
            <ac:spMk id="181" creationId="{4A78E25C-A855-4CCD-A0D7-3BBEB47DBE9A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82" creationId="{9F33554A-821E-42FD-8C7A-A892564AB63F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84" creationId="{9D46AC8B-782B-4F73-BB9F-339C79F6FCE4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92" creationId="{9E5D663C-A235-4081-B9D9-6DB4BAD22F98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95" creationId="{140643EC-9D29-4D09-92AB-D1309EACB3E6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96" creationId="{7DAB14E4-B9D6-4987-BFBA-BF1F47E12EC3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198" creationId="{2D525C87-C104-4497-9ED9-8079594095F8}"/>
          </ac:spMkLst>
        </pc:spChg>
        <pc:spChg chg="del mod ord">
          <ac:chgData name="Tejada, Carmen" userId="4e46fa0d-51a0-4b7a-a6a6-e5b06c9f6d76" providerId="ADAL" clId="{0F93E6D3-7306-4F51-BEDB-FEFB5CF382EB}" dt="2023-02-13T18:34:58.415" v="2108" actId="478"/>
          <ac:spMkLst>
            <pc:docMk/>
            <pc:sldMk cId="2880233608" sldId="2147468274"/>
            <ac:spMk id="210" creationId="{75B9B9F8-B904-4066-9E74-45138F8E5BA5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211" creationId="{AF4CCED9-BB43-49D6-A154-707B8DBD7EB2}"/>
          </ac:spMkLst>
        </pc:spChg>
        <pc:spChg chg="del">
          <ac:chgData name="Tejada, Carmen" userId="4e46fa0d-51a0-4b7a-a6a6-e5b06c9f6d76" providerId="ADAL" clId="{0F93E6D3-7306-4F51-BEDB-FEFB5CF382EB}" dt="2023-02-13T18:21:35.857" v="1431" actId="478"/>
          <ac:spMkLst>
            <pc:docMk/>
            <pc:sldMk cId="2880233608" sldId="2147468274"/>
            <ac:spMk id="213" creationId="{DC108C66-F060-44DF-A324-0C85154C41BE}"/>
          </ac:spMkLst>
        </pc:spChg>
        <pc:graphicFrameChg chg="mod">
          <ac:chgData name="Tejada, Carmen" userId="4e46fa0d-51a0-4b7a-a6a6-e5b06c9f6d76" providerId="ADAL" clId="{0F93E6D3-7306-4F51-BEDB-FEFB5CF382EB}" dt="2023-02-13T18:50:06.239" v="3041"/>
          <ac:graphicFrameMkLst>
            <pc:docMk/>
            <pc:sldMk cId="2880233608" sldId="2147468274"/>
            <ac:graphicFrameMk id="5" creationId="{A710DDCD-9D7A-468A-BC05-724DF1DC6F53}"/>
          </ac:graphicFrameMkLst>
        </pc:graphicFrameChg>
        <pc:graphicFrameChg chg="add del mod">
          <ac:chgData name="Tejada, Carmen" userId="4e46fa0d-51a0-4b7a-a6a6-e5b06c9f6d76" providerId="ADAL" clId="{0F93E6D3-7306-4F51-BEDB-FEFB5CF382EB}" dt="2023-02-13T18:25:19.114" v="1623" actId="478"/>
          <ac:graphicFrameMkLst>
            <pc:docMk/>
            <pc:sldMk cId="2880233608" sldId="2147468274"/>
            <ac:graphicFrameMk id="55" creationId="{8C6FFAE7-1DE8-4204-B884-FBB11D87F6AB}"/>
          </ac:graphicFrameMkLst>
        </pc:graphicFrameChg>
        <pc:graphicFrameChg chg="add del mod">
          <ac:chgData name="Tejada, Carmen" userId="4e46fa0d-51a0-4b7a-a6a6-e5b06c9f6d76" providerId="ADAL" clId="{0F93E6D3-7306-4F51-BEDB-FEFB5CF382EB}" dt="2023-02-13T18:49:40.422" v="2940"/>
          <ac:graphicFrameMkLst>
            <pc:docMk/>
            <pc:sldMk cId="2880233608" sldId="2147468274"/>
            <ac:graphicFrameMk id="108" creationId="{6AB7DA8E-B9CC-483F-8CC0-9D164952A220}"/>
          </ac:graphicFrameMkLst>
        </pc:graphicFrameChg>
        <pc:graphicFrameChg chg="add del mod">
          <ac:chgData name="Tejada, Carmen" userId="4e46fa0d-51a0-4b7a-a6a6-e5b06c9f6d76" providerId="ADAL" clId="{0F93E6D3-7306-4F51-BEDB-FEFB5CF382EB}" dt="2023-02-13T18:49:40.422" v="2940"/>
          <ac:graphicFrameMkLst>
            <pc:docMk/>
            <pc:sldMk cId="2880233608" sldId="2147468274"/>
            <ac:graphicFrameMk id="109" creationId="{C2C7E6CB-8BE8-4EA1-BC3E-93AB05B58F47}"/>
          </ac:graphicFrameMkLst>
        </pc:graphicFrameChg>
        <pc:graphicFrameChg chg="add del mod">
          <ac:chgData name="Tejada, Carmen" userId="4e46fa0d-51a0-4b7a-a6a6-e5b06c9f6d76" providerId="ADAL" clId="{0F93E6D3-7306-4F51-BEDB-FEFB5CF382EB}" dt="2023-02-14T08:51:44.361" v="4794" actId="478"/>
          <ac:graphicFrameMkLst>
            <pc:docMk/>
            <pc:sldMk cId="2880233608" sldId="2147468274"/>
            <ac:graphicFrameMk id="112" creationId="{189FF65F-70BD-4EC7-AE06-E997C9A11936}"/>
          </ac:graphicFrameMkLst>
        </pc:graphicFrameChg>
        <pc:picChg chg="del mod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6" creationId="{D7C62411-21DF-42F8-A54B-DF6546EF87C6}"/>
          </ac:picMkLst>
        </pc:picChg>
        <pc:picChg chg="add mod ord">
          <ac:chgData name="Tejada, Carmen" userId="4e46fa0d-51a0-4b7a-a6a6-e5b06c9f6d76" providerId="ADAL" clId="{0F93E6D3-7306-4F51-BEDB-FEFB5CF382EB}" dt="2023-02-13T21:05:34.795" v="3804" actId="554"/>
          <ac:picMkLst>
            <pc:docMk/>
            <pc:sldMk cId="2880233608" sldId="2147468274"/>
            <ac:picMk id="8" creationId="{0ADBF229-2D10-4CDE-ADC4-AAC163F2AE21}"/>
          </ac:picMkLst>
        </pc:picChg>
        <pc:picChg chg="add del mod">
          <ac:chgData name="Tejada, Carmen" userId="4e46fa0d-51a0-4b7a-a6a6-e5b06c9f6d76" providerId="ADAL" clId="{0F93E6D3-7306-4F51-BEDB-FEFB5CF382EB}" dt="2023-02-13T18:30:48.960" v="1846" actId="478"/>
          <ac:picMkLst>
            <pc:docMk/>
            <pc:sldMk cId="2880233608" sldId="2147468274"/>
            <ac:picMk id="9" creationId="{6486F47B-0A61-46F1-BDF6-BE0C0473ED1E}"/>
          </ac:picMkLst>
        </pc:picChg>
        <pc:picChg chg="add mod ord">
          <ac:chgData name="Tejada, Carmen" userId="4e46fa0d-51a0-4b7a-a6a6-e5b06c9f6d76" providerId="ADAL" clId="{0F93E6D3-7306-4F51-BEDB-FEFB5CF382EB}" dt="2023-02-13T21:05:34.795" v="3804" actId="554"/>
          <ac:picMkLst>
            <pc:docMk/>
            <pc:sldMk cId="2880233608" sldId="2147468274"/>
            <ac:picMk id="10" creationId="{21ED9C83-BEB1-4881-9489-0E7C6B0A47DA}"/>
          </ac:picMkLst>
        </pc:picChg>
        <pc:picChg chg="add mod ord">
          <ac:chgData name="Tejada, Carmen" userId="4e46fa0d-51a0-4b7a-a6a6-e5b06c9f6d76" providerId="ADAL" clId="{0F93E6D3-7306-4F51-BEDB-FEFB5CF382EB}" dt="2023-02-13T21:05:34.795" v="3804" actId="554"/>
          <ac:picMkLst>
            <pc:docMk/>
            <pc:sldMk cId="2880233608" sldId="2147468274"/>
            <ac:picMk id="11" creationId="{8C81CE49-A655-4873-BCB4-90B702E6AA9E}"/>
          </ac:picMkLst>
        </pc:picChg>
        <pc:picChg chg="add mod ord">
          <ac:chgData name="Tejada, Carmen" userId="4e46fa0d-51a0-4b7a-a6a6-e5b06c9f6d76" providerId="ADAL" clId="{0F93E6D3-7306-4F51-BEDB-FEFB5CF382EB}" dt="2023-02-13T21:05:34.795" v="3804" actId="554"/>
          <ac:picMkLst>
            <pc:docMk/>
            <pc:sldMk cId="2880233608" sldId="2147468274"/>
            <ac:picMk id="12" creationId="{EA0AEDAF-9B33-470A-A9B2-7192A1FDA01D}"/>
          </ac:picMkLst>
        </pc:picChg>
        <pc:picChg chg="add del mod">
          <ac:chgData name="Tejada, Carmen" userId="4e46fa0d-51a0-4b7a-a6a6-e5b06c9f6d76" providerId="ADAL" clId="{0F93E6D3-7306-4F51-BEDB-FEFB5CF382EB}" dt="2023-02-13T18:49:11.025" v="2937" actId="478"/>
          <ac:picMkLst>
            <pc:docMk/>
            <pc:sldMk cId="2880233608" sldId="2147468274"/>
            <ac:picMk id="13" creationId="{F96E0592-3FBA-4854-B930-094B7CA2A4E2}"/>
          </ac:picMkLst>
        </pc:picChg>
        <pc:picChg chg="add mod ord">
          <ac:chgData name="Tejada, Carmen" userId="4e46fa0d-51a0-4b7a-a6a6-e5b06c9f6d76" providerId="ADAL" clId="{0F93E6D3-7306-4F51-BEDB-FEFB5CF382EB}" dt="2023-02-13T18:50:09.875" v="3042" actId="1076"/>
          <ac:picMkLst>
            <pc:docMk/>
            <pc:sldMk cId="2880233608" sldId="2147468274"/>
            <ac:picMk id="14" creationId="{CE85C286-E32A-46B7-837A-3D53FEC1FEA1}"/>
          </ac:picMkLst>
        </pc:picChg>
        <pc:picChg chg="add del mod">
          <ac:chgData name="Tejada, Carmen" userId="4e46fa0d-51a0-4b7a-a6a6-e5b06c9f6d76" providerId="ADAL" clId="{0F93E6D3-7306-4F51-BEDB-FEFB5CF382EB}" dt="2023-02-13T20:47:12.575" v="3122" actId="478"/>
          <ac:picMkLst>
            <pc:docMk/>
            <pc:sldMk cId="2880233608" sldId="2147468274"/>
            <ac:picMk id="15" creationId="{72BE627F-5C9A-4255-BFEF-34608CFCEEC4}"/>
          </ac:picMkLst>
        </pc:picChg>
        <pc:picChg chg="add mod">
          <ac:chgData name="Tejada, Carmen" userId="4e46fa0d-51a0-4b7a-a6a6-e5b06c9f6d76" providerId="ADAL" clId="{0F93E6D3-7306-4F51-BEDB-FEFB5CF382EB}" dt="2023-02-13T20:55:15.676" v="3438" actId="1076"/>
          <ac:picMkLst>
            <pc:docMk/>
            <pc:sldMk cId="2880233608" sldId="2147468274"/>
            <ac:picMk id="16" creationId="{F43BF227-9C11-4BB5-AAA7-315D55D998CD}"/>
          </ac:picMkLst>
        </pc:picChg>
        <pc:picChg chg="add mod">
          <ac:chgData name="Tejada, Carmen" userId="4e46fa0d-51a0-4b7a-a6a6-e5b06c9f6d76" providerId="ADAL" clId="{0F93E6D3-7306-4F51-BEDB-FEFB5CF382EB}" dt="2023-02-13T21:00:10.630" v="3803" actId="1076"/>
          <ac:picMkLst>
            <pc:docMk/>
            <pc:sldMk cId="2880233608" sldId="2147468274"/>
            <ac:picMk id="17" creationId="{508CAF12-1694-4DDC-880F-CB021484467F}"/>
          </ac:picMkLst>
        </pc:picChg>
        <pc:picChg chg="add del mod">
          <ac:chgData name="Tejada, Carmen" userId="4e46fa0d-51a0-4b7a-a6a6-e5b06c9f6d76" providerId="ADAL" clId="{0F93E6D3-7306-4F51-BEDB-FEFB5CF382EB}" dt="2023-02-14T08:51:08.975" v="4740" actId="478"/>
          <ac:picMkLst>
            <pc:docMk/>
            <pc:sldMk cId="2880233608" sldId="2147468274"/>
            <ac:picMk id="18" creationId="{481EC6E7-91AF-4C27-BDD7-115F86CAB848}"/>
          </ac:picMkLst>
        </pc:picChg>
        <pc:picChg chg="add mod">
          <ac:chgData name="Tejada, Carmen" userId="4e46fa0d-51a0-4b7a-a6a6-e5b06c9f6d76" providerId="ADAL" clId="{0F93E6D3-7306-4F51-BEDB-FEFB5CF382EB}" dt="2023-02-14T08:52:05.589" v="4814" actId="1076"/>
          <ac:picMkLst>
            <pc:docMk/>
            <pc:sldMk cId="2880233608" sldId="2147468274"/>
            <ac:picMk id="19" creationId="{D23B4104-5C72-4D01-95BB-FB031B5F8A28}"/>
          </ac:picMkLst>
        </pc:picChg>
        <pc:picChg chg="add del mod ord">
          <ac:chgData name="Tejada, Carmen" userId="4e46fa0d-51a0-4b7a-a6a6-e5b06c9f6d76" providerId="ADAL" clId="{0F93E6D3-7306-4F51-BEDB-FEFB5CF382EB}" dt="2023-02-13T18:25:57.153" v="1630" actId="478"/>
          <ac:picMkLst>
            <pc:docMk/>
            <pc:sldMk cId="2880233608" sldId="2147468274"/>
            <ac:picMk id="53" creationId="{F5419B73-0E39-4CB8-A642-5A9BCCEABAED}"/>
          </ac:picMkLst>
        </pc:picChg>
        <pc:picChg chg="add del mod">
          <ac:chgData name="Tejada, Carmen" userId="4e46fa0d-51a0-4b7a-a6a6-e5b06c9f6d76" providerId="ADAL" clId="{0F93E6D3-7306-4F51-BEDB-FEFB5CF382EB}" dt="2023-02-13T18:44:17.022" v="2583" actId="478"/>
          <ac:picMkLst>
            <pc:docMk/>
            <pc:sldMk cId="2880233608" sldId="2147468274"/>
            <ac:picMk id="54" creationId="{7CC0ADCA-93E4-4E24-B97F-935DD6F54EB9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61" creationId="{1907DCAE-FEB2-4040-9428-1C8C8ACA6B1B}"/>
          </ac:picMkLst>
        </pc:picChg>
        <pc:picChg chg="add del mod">
          <ac:chgData name="Tejada, Carmen" userId="4e46fa0d-51a0-4b7a-a6a6-e5b06c9f6d76" providerId="ADAL" clId="{0F93E6D3-7306-4F51-BEDB-FEFB5CF382EB}" dt="2023-02-13T18:29:24.216" v="1776" actId="478"/>
          <ac:picMkLst>
            <pc:docMk/>
            <pc:sldMk cId="2880233608" sldId="2147468274"/>
            <ac:picMk id="64" creationId="{6C665351-0591-44EA-9859-62748BBA5593}"/>
          </ac:picMkLst>
        </pc:picChg>
        <pc:picChg chg="add del mod">
          <ac:chgData name="Tejada, Carmen" userId="4e46fa0d-51a0-4b7a-a6a6-e5b06c9f6d76" providerId="ADAL" clId="{0F93E6D3-7306-4F51-BEDB-FEFB5CF382EB}" dt="2023-02-13T18:38:21.245" v="2364" actId="478"/>
          <ac:picMkLst>
            <pc:docMk/>
            <pc:sldMk cId="2880233608" sldId="2147468274"/>
            <ac:picMk id="71" creationId="{36AC83F8-4075-49F9-9795-13A050FCD29B}"/>
          </ac:picMkLst>
        </pc:picChg>
        <pc:picChg chg="add del mod">
          <ac:chgData name="Tejada, Carmen" userId="4e46fa0d-51a0-4b7a-a6a6-e5b06c9f6d76" providerId="ADAL" clId="{0F93E6D3-7306-4F51-BEDB-FEFB5CF382EB}" dt="2023-02-13T18:39:15.299" v="2388" actId="478"/>
          <ac:picMkLst>
            <pc:docMk/>
            <pc:sldMk cId="2880233608" sldId="2147468274"/>
            <ac:picMk id="76" creationId="{C022C6F7-5B17-4396-822A-54E6C8D496C6}"/>
          </ac:picMkLst>
        </pc:picChg>
        <pc:picChg chg="add del mod ord">
          <ac:chgData name="Tejada, Carmen" userId="4e46fa0d-51a0-4b7a-a6a6-e5b06c9f6d76" providerId="ADAL" clId="{0F93E6D3-7306-4F51-BEDB-FEFB5CF382EB}" dt="2023-02-13T18:48:41.342" v="2932" actId="478"/>
          <ac:picMkLst>
            <pc:docMk/>
            <pc:sldMk cId="2880233608" sldId="2147468274"/>
            <ac:picMk id="82" creationId="{AA29D25C-DB13-42C8-851D-56AE0F4DFB96}"/>
          </ac:picMkLst>
        </pc:picChg>
        <pc:picChg chg="del mod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92" creationId="{095B72C0-0E5B-4D3C-8227-B34EF363F53E}"/>
          </ac:picMkLst>
        </pc:picChg>
        <pc:picChg chg="add del mod ord">
          <ac:chgData name="Tejada, Carmen" userId="4e46fa0d-51a0-4b7a-a6a6-e5b06c9f6d76" providerId="ADAL" clId="{0F93E6D3-7306-4F51-BEDB-FEFB5CF382EB}" dt="2023-02-13T20:54:52.962" v="3432" actId="478"/>
          <ac:picMkLst>
            <pc:docMk/>
            <pc:sldMk cId="2880233608" sldId="2147468274"/>
            <ac:picMk id="96" creationId="{8FD59957-4F2A-4C2F-800D-6AFBCAFC7082}"/>
          </ac:picMkLst>
        </pc:picChg>
        <pc:picChg chg="add del mod ord">
          <ac:chgData name="Tejada, Carmen" userId="4e46fa0d-51a0-4b7a-a6a6-e5b06c9f6d76" providerId="ADAL" clId="{0F93E6D3-7306-4F51-BEDB-FEFB5CF382EB}" dt="2023-02-13T20:59:52.408" v="3795" actId="478"/>
          <ac:picMkLst>
            <pc:docMk/>
            <pc:sldMk cId="2880233608" sldId="2147468274"/>
            <ac:picMk id="102" creationId="{8F669980-E8DC-4E00-A4E0-454017893B37}"/>
          </ac:picMkLst>
        </pc:picChg>
        <pc:picChg chg="add del mod ord">
          <ac:chgData name="Tejada, Carmen" userId="4e46fa0d-51a0-4b7a-a6a6-e5b06c9f6d76" providerId="ADAL" clId="{0F93E6D3-7306-4F51-BEDB-FEFB5CF382EB}" dt="2023-02-13T21:10:11.828" v="4048" actId="478"/>
          <ac:picMkLst>
            <pc:docMk/>
            <pc:sldMk cId="2880233608" sldId="2147468274"/>
            <ac:picMk id="107" creationId="{03B904AF-A201-40B5-ADE6-A2340FCB10E0}"/>
          </ac:picMkLst>
        </pc:picChg>
        <pc:picChg chg="add mod">
          <ac:chgData name="Tejada, Carmen" userId="4e46fa0d-51a0-4b7a-a6a6-e5b06c9f6d76" providerId="ADAL" clId="{0F93E6D3-7306-4F51-BEDB-FEFB5CF382EB}" dt="2023-02-13T20:47:13.737" v="3123"/>
          <ac:picMkLst>
            <pc:docMk/>
            <pc:sldMk cId="2880233608" sldId="2147468274"/>
            <ac:picMk id="111" creationId="{FEBF5639-6C86-4A76-9A55-4210ADDB2F24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130" creationId="{BFFD9160-29BF-4CFE-A3E9-5DB6BC20A79C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131" creationId="{1E4440F0-EF98-4279-A7B9-9D5742DF21FE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164" creationId="{19C1896B-6FF1-4D26-829A-57D2F1CFFBE8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179" creationId="{C7B91D49-00A0-42BD-8E2D-D5A1E44847E1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193" creationId="{01EBEDEC-57D4-4B5B-9F0B-D90EF65BD8DC}"/>
          </ac:picMkLst>
        </pc:picChg>
        <pc:picChg chg="del">
          <ac:chgData name="Tejada, Carmen" userId="4e46fa0d-51a0-4b7a-a6a6-e5b06c9f6d76" providerId="ADAL" clId="{0F93E6D3-7306-4F51-BEDB-FEFB5CF382EB}" dt="2023-02-13T18:21:35.857" v="1431" actId="478"/>
          <ac:picMkLst>
            <pc:docMk/>
            <pc:sldMk cId="2880233608" sldId="2147468274"/>
            <ac:picMk id="208" creationId="{FB00F150-96A3-4E8F-B9CB-D0C6D54A20B0}"/>
          </ac:picMkLst>
        </pc:pic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62" creationId="{ADC664E6-F512-48A3-B95D-A257705F7660}"/>
          </ac:cxnSpMkLst>
        </pc:cxnChg>
        <pc:cxnChg chg="del mod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18" creationId="{602FC1E3-073D-4D0F-9879-4676F512159E}"/>
          </ac:cxnSpMkLst>
        </pc:cxnChg>
        <pc:cxnChg chg="del mod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19" creationId="{DBFAC70C-0F38-4954-8145-29719CCE31E6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2" creationId="{97B39D9C-9DA0-4E05-964A-0E3989CBE942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3" creationId="{B527DE2E-0341-48EC-AEBC-4A102A138C5C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4" creationId="{9326AF9C-AA9B-4421-B803-54AF61861378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6" creationId="{2DCA9AE2-26AE-437F-97D9-A7D5A373CB8A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7" creationId="{6F04A25E-A51D-4864-9D55-D2162529283A}"/>
          </ac:cxnSpMkLst>
        </pc:cxnChg>
        <pc:cxnChg chg="del">
          <ac:chgData name="Tejada, Carmen" userId="4e46fa0d-51a0-4b7a-a6a6-e5b06c9f6d76" providerId="ADAL" clId="{0F93E6D3-7306-4F51-BEDB-FEFB5CF382EB}" dt="2023-02-13T18:21:35.857" v="1431" actId="478"/>
          <ac:cxnSpMkLst>
            <pc:docMk/>
            <pc:sldMk cId="2880233608" sldId="2147468274"/>
            <ac:cxnSpMk id="128" creationId="{FD8C15AA-BD93-4BFB-802A-32446082753B}"/>
          </ac:cxnSpMkLst>
        </pc:cxnChg>
      </pc:sldChg>
      <pc:sldChg chg="add ord">
        <pc:chgData name="Tejada, Carmen" userId="4e46fa0d-51a0-4b7a-a6a6-e5b06c9f6d76" providerId="ADAL" clId="{0F93E6D3-7306-4F51-BEDB-FEFB5CF382EB}" dt="2023-02-13T21:13:35.185" v="4281"/>
        <pc:sldMkLst>
          <pc:docMk/>
          <pc:sldMk cId="8281549" sldId="2147468275"/>
        </pc:sldMkLst>
      </pc:sldChg>
      <pc:sldChg chg="del">
        <pc:chgData name="Tejada, Carmen" userId="4e46fa0d-51a0-4b7a-a6a6-e5b06c9f6d76" providerId="ADAL" clId="{0F93E6D3-7306-4F51-BEDB-FEFB5CF382EB}" dt="2023-02-13T18:17:42.038" v="1399" actId="47"/>
        <pc:sldMkLst>
          <pc:docMk/>
          <pc:sldMk cId="85807988" sldId="2147468912"/>
        </pc:sldMkLst>
      </pc:sldChg>
      <pc:sldChg chg="addSp modSp del mod">
        <pc:chgData name="Tejada, Carmen" userId="4e46fa0d-51a0-4b7a-a6a6-e5b06c9f6d76" providerId="ADAL" clId="{0F93E6D3-7306-4F51-BEDB-FEFB5CF382EB}" dt="2023-02-13T18:17:33.089" v="1392" actId="47"/>
        <pc:sldMkLst>
          <pc:docMk/>
          <pc:sldMk cId="2666212814" sldId="2147468914"/>
        </pc:sldMkLst>
        <pc:spChg chg="mod">
          <ac:chgData name="Tejada, Carmen" userId="4e46fa0d-51a0-4b7a-a6a6-e5b06c9f6d76" providerId="ADAL" clId="{0F93E6D3-7306-4F51-BEDB-FEFB5CF382EB}" dt="2023-02-08T12:47:01.371" v="155" actId="207"/>
          <ac:spMkLst>
            <pc:docMk/>
            <pc:sldMk cId="2666212814" sldId="2147468914"/>
            <ac:spMk id="19" creationId="{7B62C1C5-6F9E-4E2C-8CAD-D658D507BB89}"/>
          </ac:spMkLst>
        </pc:spChg>
        <pc:spChg chg="add mod">
          <ac:chgData name="Tejada, Carmen" userId="4e46fa0d-51a0-4b7a-a6a6-e5b06c9f6d76" providerId="ADAL" clId="{0F93E6D3-7306-4F51-BEDB-FEFB5CF382EB}" dt="2023-02-08T12:47:06.411" v="156"/>
          <ac:spMkLst>
            <pc:docMk/>
            <pc:sldMk cId="2666212814" sldId="2147468914"/>
            <ac:spMk id="47" creationId="{EE8AB73C-0C45-4C94-A962-CBCA0F24513F}"/>
          </ac:spMkLst>
        </pc:spChg>
      </pc:sldChg>
      <pc:sldChg chg="modSp del mod">
        <pc:chgData name="Tejada, Carmen" userId="4e46fa0d-51a0-4b7a-a6a6-e5b06c9f6d76" providerId="ADAL" clId="{0F93E6D3-7306-4F51-BEDB-FEFB5CF382EB}" dt="2023-02-13T18:17:39.384" v="1394" actId="47"/>
        <pc:sldMkLst>
          <pc:docMk/>
          <pc:sldMk cId="1754105756" sldId="2147468915"/>
        </pc:sldMkLst>
        <pc:spChg chg="mod">
          <ac:chgData name="Tejada, Carmen" userId="4e46fa0d-51a0-4b7a-a6a6-e5b06c9f6d76" providerId="ADAL" clId="{0F93E6D3-7306-4F51-BEDB-FEFB5CF382EB}" dt="2023-02-08T12:47:11.618" v="157" actId="207"/>
          <ac:spMkLst>
            <pc:docMk/>
            <pc:sldMk cId="1754105756" sldId="2147468915"/>
            <ac:spMk id="13" creationId="{FC9754E2-F0DF-4ACB-8FFE-6607F1D06DCC}"/>
          </ac:spMkLst>
        </pc:spChg>
        <pc:spChg chg="mod">
          <ac:chgData name="Tejada, Carmen" userId="4e46fa0d-51a0-4b7a-a6a6-e5b06c9f6d76" providerId="ADAL" clId="{0F93E6D3-7306-4F51-BEDB-FEFB5CF382EB}" dt="2023-02-08T12:47:15.515" v="158" actId="207"/>
          <ac:spMkLst>
            <pc:docMk/>
            <pc:sldMk cId="1754105756" sldId="2147468915"/>
            <ac:spMk id="16" creationId="{75D56E92-42AB-41BF-BE17-421F31F02DF6}"/>
          </ac:spMkLst>
        </pc:spChg>
      </pc:sldChg>
      <pc:sldChg chg="addSp delSp modSp del mod">
        <pc:chgData name="Tejada, Carmen" userId="4e46fa0d-51a0-4b7a-a6a6-e5b06c9f6d76" providerId="ADAL" clId="{0F93E6D3-7306-4F51-BEDB-FEFB5CF382EB}" dt="2023-02-13T18:17:39.755" v="1395" actId="47"/>
        <pc:sldMkLst>
          <pc:docMk/>
          <pc:sldMk cId="971977761" sldId="2147468917"/>
        </pc:sldMkLst>
        <pc:spChg chg="mod ord">
          <ac:chgData name="Tejada, Carmen" userId="4e46fa0d-51a0-4b7a-a6a6-e5b06c9f6d76" providerId="ADAL" clId="{0F93E6D3-7306-4F51-BEDB-FEFB5CF382EB}" dt="2023-02-08T13:01:10.187" v="315"/>
          <ac:spMkLst>
            <pc:docMk/>
            <pc:sldMk cId="971977761" sldId="2147468917"/>
            <ac:spMk id="5" creationId="{A38CA9B8-6AD0-417B-9292-70897BD153F7}"/>
          </ac:spMkLst>
        </pc:spChg>
        <pc:spChg chg="del">
          <ac:chgData name="Tejada, Carmen" userId="4e46fa0d-51a0-4b7a-a6a6-e5b06c9f6d76" providerId="ADAL" clId="{0F93E6D3-7306-4F51-BEDB-FEFB5CF382EB}" dt="2023-02-08T12:33:04.947" v="7" actId="478"/>
          <ac:spMkLst>
            <pc:docMk/>
            <pc:sldMk cId="971977761" sldId="2147468917"/>
            <ac:spMk id="6" creationId="{0AD00615-0EA3-407D-A0B7-92E978313CB0}"/>
          </ac:spMkLst>
        </pc:spChg>
        <pc:spChg chg="mod ord">
          <ac:chgData name="Tejada, Carmen" userId="4e46fa0d-51a0-4b7a-a6a6-e5b06c9f6d76" providerId="ADAL" clId="{0F93E6D3-7306-4F51-BEDB-FEFB5CF382EB}" dt="2023-02-08T13:01:10.172" v="295"/>
          <ac:spMkLst>
            <pc:docMk/>
            <pc:sldMk cId="971977761" sldId="2147468917"/>
            <ac:spMk id="13" creationId="{FC9754E2-F0DF-4ACB-8FFE-6607F1D06DCC}"/>
          </ac:spMkLst>
        </pc:spChg>
        <pc:spChg chg="mod ord">
          <ac:chgData name="Tejada, Carmen" userId="4e46fa0d-51a0-4b7a-a6a6-e5b06c9f6d76" providerId="ADAL" clId="{0F93E6D3-7306-4F51-BEDB-FEFB5CF382EB}" dt="2023-02-08T13:01:10.173" v="297"/>
          <ac:spMkLst>
            <pc:docMk/>
            <pc:sldMk cId="971977761" sldId="2147468917"/>
            <ac:spMk id="14" creationId="{47F2A5D4-0B7C-4B84-9FD0-2BB5CF482F31}"/>
          </ac:spMkLst>
        </pc:spChg>
        <pc:spChg chg="mod ord">
          <ac:chgData name="Tejada, Carmen" userId="4e46fa0d-51a0-4b7a-a6a6-e5b06c9f6d76" providerId="ADAL" clId="{0F93E6D3-7306-4F51-BEDB-FEFB5CF382EB}" dt="2023-02-08T13:01:10.175" v="299"/>
          <ac:spMkLst>
            <pc:docMk/>
            <pc:sldMk cId="971977761" sldId="2147468917"/>
            <ac:spMk id="16" creationId="{75D56E92-42AB-41BF-BE17-421F31F02DF6}"/>
          </ac:spMkLst>
        </pc:spChg>
        <pc:spChg chg="add del">
          <ac:chgData name="Tejada, Carmen" userId="4e46fa0d-51a0-4b7a-a6a6-e5b06c9f6d76" providerId="ADAL" clId="{0F93E6D3-7306-4F51-BEDB-FEFB5CF382EB}" dt="2023-02-08T12:35:48.791" v="24" actId="22"/>
          <ac:spMkLst>
            <pc:docMk/>
            <pc:sldMk cId="971977761" sldId="2147468917"/>
            <ac:spMk id="32" creationId="{EAA9FFEE-87CE-45E9-94AC-5D7A067C08C9}"/>
          </ac:spMkLst>
        </pc:spChg>
        <pc:spChg chg="add mod ord">
          <ac:chgData name="Tejada, Carmen" userId="4e46fa0d-51a0-4b7a-a6a6-e5b06c9f6d76" providerId="ADAL" clId="{0F93E6D3-7306-4F51-BEDB-FEFB5CF382EB}" dt="2023-02-08T13:01:10.188" v="317"/>
          <ac:spMkLst>
            <pc:docMk/>
            <pc:sldMk cId="971977761" sldId="2147468917"/>
            <ac:spMk id="33" creationId="{B451BE72-6A24-4A69-91EC-7B6831139AFC}"/>
          </ac:spMkLst>
        </pc:spChg>
        <pc:spChg chg="add mod ord">
          <ac:chgData name="Tejada, Carmen" userId="4e46fa0d-51a0-4b7a-a6a6-e5b06c9f6d76" providerId="ADAL" clId="{0F93E6D3-7306-4F51-BEDB-FEFB5CF382EB}" dt="2023-02-08T13:01:10.188" v="319"/>
          <ac:spMkLst>
            <pc:docMk/>
            <pc:sldMk cId="971977761" sldId="2147468917"/>
            <ac:spMk id="34" creationId="{75341D55-AAB0-4733-9A85-5891CE669F3C}"/>
          </ac:spMkLst>
        </pc:spChg>
        <pc:spChg chg="add mod ord">
          <ac:chgData name="Tejada, Carmen" userId="4e46fa0d-51a0-4b7a-a6a6-e5b06c9f6d76" providerId="ADAL" clId="{0F93E6D3-7306-4F51-BEDB-FEFB5CF382EB}" dt="2023-02-08T13:01:10.189" v="321"/>
          <ac:spMkLst>
            <pc:docMk/>
            <pc:sldMk cId="971977761" sldId="2147468917"/>
            <ac:spMk id="35" creationId="{3143F49E-27A4-4593-9F18-87094620BE87}"/>
          </ac:spMkLst>
        </pc:spChg>
        <pc:spChg chg="add mod ord">
          <ac:chgData name="Tejada, Carmen" userId="4e46fa0d-51a0-4b7a-a6a6-e5b06c9f6d76" providerId="ADAL" clId="{0F93E6D3-7306-4F51-BEDB-FEFB5CF382EB}" dt="2023-02-08T13:01:10.190" v="323"/>
          <ac:spMkLst>
            <pc:docMk/>
            <pc:sldMk cId="971977761" sldId="2147468917"/>
            <ac:spMk id="36" creationId="{A4C52558-B65C-4F2E-A971-6BC3A1AD5FFC}"/>
          </ac:spMkLst>
        </pc:spChg>
        <pc:spChg chg="add mod ord">
          <ac:chgData name="Tejada, Carmen" userId="4e46fa0d-51a0-4b7a-a6a6-e5b06c9f6d76" providerId="ADAL" clId="{0F93E6D3-7306-4F51-BEDB-FEFB5CF382EB}" dt="2023-02-08T13:01:10.191" v="325"/>
          <ac:spMkLst>
            <pc:docMk/>
            <pc:sldMk cId="971977761" sldId="2147468917"/>
            <ac:spMk id="37" creationId="{A4BCFFEA-1E46-4984-93F0-BF72DF7A1869}"/>
          </ac:spMkLst>
        </pc:spChg>
        <pc:spChg chg="add mod ord">
          <ac:chgData name="Tejada, Carmen" userId="4e46fa0d-51a0-4b7a-a6a6-e5b06c9f6d76" providerId="ADAL" clId="{0F93E6D3-7306-4F51-BEDB-FEFB5CF382EB}" dt="2023-02-08T13:01:10.192" v="327"/>
          <ac:spMkLst>
            <pc:docMk/>
            <pc:sldMk cId="971977761" sldId="2147468917"/>
            <ac:spMk id="38" creationId="{B28E2353-0BB2-48C7-82E8-4A757B6819A7}"/>
          </ac:spMkLst>
        </pc:spChg>
        <pc:spChg chg="add mod ord">
          <ac:chgData name="Tejada, Carmen" userId="4e46fa0d-51a0-4b7a-a6a6-e5b06c9f6d76" providerId="ADAL" clId="{0F93E6D3-7306-4F51-BEDB-FEFB5CF382EB}" dt="2023-02-08T13:01:10.193" v="329"/>
          <ac:spMkLst>
            <pc:docMk/>
            <pc:sldMk cId="971977761" sldId="2147468917"/>
            <ac:spMk id="39" creationId="{BDA2DDA1-EDB8-44C7-9E44-9CF04E00CFFE}"/>
          </ac:spMkLst>
        </pc:spChg>
        <pc:spChg chg="add mod ord">
          <ac:chgData name="Tejada, Carmen" userId="4e46fa0d-51a0-4b7a-a6a6-e5b06c9f6d76" providerId="ADAL" clId="{0F93E6D3-7306-4F51-BEDB-FEFB5CF382EB}" dt="2023-02-08T13:01:10.194" v="331"/>
          <ac:spMkLst>
            <pc:docMk/>
            <pc:sldMk cId="971977761" sldId="2147468917"/>
            <ac:spMk id="40" creationId="{DC90A698-29EC-4D7A-AC34-832C51534D5F}"/>
          </ac:spMkLst>
        </pc:spChg>
        <pc:spChg chg="add mod ord">
          <ac:chgData name="Tejada, Carmen" userId="4e46fa0d-51a0-4b7a-a6a6-e5b06c9f6d76" providerId="ADAL" clId="{0F93E6D3-7306-4F51-BEDB-FEFB5CF382EB}" dt="2023-02-08T13:01:10.195" v="333"/>
          <ac:spMkLst>
            <pc:docMk/>
            <pc:sldMk cId="971977761" sldId="2147468917"/>
            <ac:spMk id="41" creationId="{7C9C4786-CAEA-4173-B13F-9FEA5B4D97F1}"/>
          </ac:spMkLst>
        </pc:spChg>
        <pc:spChg chg="add mod ord">
          <ac:chgData name="Tejada, Carmen" userId="4e46fa0d-51a0-4b7a-a6a6-e5b06c9f6d76" providerId="ADAL" clId="{0F93E6D3-7306-4F51-BEDB-FEFB5CF382EB}" dt="2023-02-08T13:01:10.196" v="335"/>
          <ac:spMkLst>
            <pc:docMk/>
            <pc:sldMk cId="971977761" sldId="2147468917"/>
            <ac:spMk id="42" creationId="{1A534612-B75B-497E-93D7-57AF7CCD5451}"/>
          </ac:spMkLst>
        </pc:spChg>
        <pc:spChg chg="add del mod ord">
          <ac:chgData name="Tejada, Carmen" userId="4e46fa0d-51a0-4b7a-a6a6-e5b06c9f6d76" providerId="ADAL" clId="{0F93E6D3-7306-4F51-BEDB-FEFB5CF382EB}" dt="2023-02-08T13:01:10.177" v="301"/>
          <ac:spMkLst>
            <pc:docMk/>
            <pc:sldMk cId="971977761" sldId="2147468917"/>
            <ac:spMk id="44" creationId="{7EEB1677-B37B-4753-9D15-28588C6923E5}"/>
          </ac:spMkLst>
        </pc:spChg>
        <pc:spChg chg="del">
          <ac:chgData name="Tejada, Carmen" userId="4e46fa0d-51a0-4b7a-a6a6-e5b06c9f6d76" providerId="ADAL" clId="{0F93E6D3-7306-4F51-BEDB-FEFB5CF382EB}" dt="2023-02-08T12:33:00.311" v="4" actId="478"/>
          <ac:spMkLst>
            <pc:docMk/>
            <pc:sldMk cId="971977761" sldId="2147468917"/>
            <ac:spMk id="46" creationId="{6F6E74DD-6213-4295-B33D-9DB04984219D}"/>
          </ac:spMkLst>
        </pc:spChg>
        <pc:spChg chg="add mod ord">
          <ac:chgData name="Tejada, Carmen" userId="4e46fa0d-51a0-4b7a-a6a6-e5b06c9f6d76" providerId="ADAL" clId="{0F93E6D3-7306-4F51-BEDB-FEFB5CF382EB}" dt="2023-02-08T13:01:10.197" v="337"/>
          <ac:spMkLst>
            <pc:docMk/>
            <pc:sldMk cId="971977761" sldId="2147468917"/>
            <ac:spMk id="47" creationId="{1F6611DC-E758-4F03-A94C-D06C7BA5508F}"/>
          </ac:spMkLst>
        </pc:spChg>
        <pc:spChg chg="mod ord">
          <ac:chgData name="Tejada, Carmen" userId="4e46fa0d-51a0-4b7a-a6a6-e5b06c9f6d76" providerId="ADAL" clId="{0F93E6D3-7306-4F51-BEDB-FEFB5CF382EB}" dt="2023-02-08T13:01:10.181" v="305"/>
          <ac:spMkLst>
            <pc:docMk/>
            <pc:sldMk cId="971977761" sldId="2147468917"/>
            <ac:spMk id="48" creationId="{13449DCF-5DD9-435F-9156-94B3AA3FA7FF}"/>
          </ac:spMkLst>
        </pc:spChg>
        <pc:spChg chg="del mod">
          <ac:chgData name="Tejada, Carmen" userId="4e46fa0d-51a0-4b7a-a6a6-e5b06c9f6d76" providerId="ADAL" clId="{0F93E6D3-7306-4F51-BEDB-FEFB5CF382EB}" dt="2023-02-08T13:00:39.068" v="286" actId="478"/>
          <ac:spMkLst>
            <pc:docMk/>
            <pc:sldMk cId="971977761" sldId="2147468917"/>
            <ac:spMk id="49" creationId="{6DAD25E3-21B5-4443-858A-61BF241D2657}"/>
          </ac:spMkLst>
        </pc:spChg>
        <pc:spChg chg="mod ord">
          <ac:chgData name="Tejada, Carmen" userId="4e46fa0d-51a0-4b7a-a6a6-e5b06c9f6d76" providerId="ADAL" clId="{0F93E6D3-7306-4F51-BEDB-FEFB5CF382EB}" dt="2023-02-08T13:01:10.185" v="311"/>
          <ac:spMkLst>
            <pc:docMk/>
            <pc:sldMk cId="971977761" sldId="2147468917"/>
            <ac:spMk id="50" creationId="{9009C336-6DD6-4376-A926-CFFDED4E18E3}"/>
          </ac:spMkLst>
        </pc:spChg>
        <pc:spChg chg="mod ord">
          <ac:chgData name="Tejada, Carmen" userId="4e46fa0d-51a0-4b7a-a6a6-e5b06c9f6d76" providerId="ADAL" clId="{0F93E6D3-7306-4F51-BEDB-FEFB5CF382EB}" dt="2023-02-08T13:01:10.186" v="313"/>
          <ac:spMkLst>
            <pc:docMk/>
            <pc:sldMk cId="971977761" sldId="2147468917"/>
            <ac:spMk id="51" creationId="{51A5ADD9-8AC0-44EA-BF9B-B0B1C4D969BC}"/>
          </ac:spMkLst>
        </pc:spChg>
        <pc:spChg chg="add mod ord">
          <ac:chgData name="Tejada, Carmen" userId="4e46fa0d-51a0-4b7a-a6a6-e5b06c9f6d76" providerId="ADAL" clId="{0F93E6D3-7306-4F51-BEDB-FEFB5CF382EB}" dt="2023-02-08T13:01:10.198" v="339"/>
          <ac:spMkLst>
            <pc:docMk/>
            <pc:sldMk cId="971977761" sldId="2147468917"/>
            <ac:spMk id="52" creationId="{15608088-1232-4873-AE5A-2853DF6F6C67}"/>
          </ac:spMkLst>
        </pc:spChg>
        <pc:spChg chg="add mod ord">
          <ac:chgData name="Tejada, Carmen" userId="4e46fa0d-51a0-4b7a-a6a6-e5b06c9f6d76" providerId="ADAL" clId="{0F93E6D3-7306-4F51-BEDB-FEFB5CF382EB}" dt="2023-02-08T13:01:10.198" v="341"/>
          <ac:spMkLst>
            <pc:docMk/>
            <pc:sldMk cId="971977761" sldId="2147468917"/>
            <ac:spMk id="53" creationId="{E2D2D8F7-FCC0-4B3B-B9E2-8937722123AE}"/>
          </ac:spMkLst>
        </pc:spChg>
        <pc:spChg chg="add mod ord">
          <ac:chgData name="Tejada, Carmen" userId="4e46fa0d-51a0-4b7a-a6a6-e5b06c9f6d76" providerId="ADAL" clId="{0F93E6D3-7306-4F51-BEDB-FEFB5CF382EB}" dt="2023-02-08T13:01:10.199" v="343"/>
          <ac:spMkLst>
            <pc:docMk/>
            <pc:sldMk cId="971977761" sldId="2147468917"/>
            <ac:spMk id="54" creationId="{F67D69CD-3E05-4EC5-B24F-3D1AB7477939}"/>
          </ac:spMkLst>
        </pc:spChg>
        <pc:spChg chg="add mod ord">
          <ac:chgData name="Tejada, Carmen" userId="4e46fa0d-51a0-4b7a-a6a6-e5b06c9f6d76" providerId="ADAL" clId="{0F93E6D3-7306-4F51-BEDB-FEFB5CF382EB}" dt="2023-02-08T13:01:10.200" v="345"/>
          <ac:spMkLst>
            <pc:docMk/>
            <pc:sldMk cId="971977761" sldId="2147468917"/>
            <ac:spMk id="55" creationId="{D28FDE9A-A03A-439B-AE89-3E2AAFFA0783}"/>
          </ac:spMkLst>
        </pc:spChg>
        <pc:spChg chg="del">
          <ac:chgData name="Tejada, Carmen" userId="4e46fa0d-51a0-4b7a-a6a6-e5b06c9f6d76" providerId="ADAL" clId="{0F93E6D3-7306-4F51-BEDB-FEFB5CF382EB}" dt="2023-02-08T12:33:03.237" v="6" actId="478"/>
          <ac:spMkLst>
            <pc:docMk/>
            <pc:sldMk cId="971977761" sldId="2147468917"/>
            <ac:spMk id="56" creationId="{9A863435-DB2D-4289-A123-39671C81A890}"/>
          </ac:spMkLst>
        </pc:spChg>
        <pc:spChg chg="add mod ord">
          <ac:chgData name="Tejada, Carmen" userId="4e46fa0d-51a0-4b7a-a6a6-e5b06c9f6d76" providerId="ADAL" clId="{0F93E6D3-7306-4F51-BEDB-FEFB5CF382EB}" dt="2023-02-08T13:01:10.201" v="347"/>
          <ac:spMkLst>
            <pc:docMk/>
            <pc:sldMk cId="971977761" sldId="2147468917"/>
            <ac:spMk id="57" creationId="{6313D72C-D9F3-4445-A5F4-EB3F030DEFC9}"/>
          </ac:spMkLst>
        </pc:spChg>
        <pc:spChg chg="add mod ord">
          <ac:chgData name="Tejada, Carmen" userId="4e46fa0d-51a0-4b7a-a6a6-e5b06c9f6d76" providerId="ADAL" clId="{0F93E6D3-7306-4F51-BEDB-FEFB5CF382EB}" dt="2023-02-08T13:01:10.202" v="349"/>
          <ac:spMkLst>
            <pc:docMk/>
            <pc:sldMk cId="971977761" sldId="2147468917"/>
            <ac:spMk id="58" creationId="{758BA485-9BA5-4239-A5EC-1B1AF03C4BE1}"/>
          </ac:spMkLst>
        </pc:spChg>
        <pc:spChg chg="add del mod">
          <ac:chgData name="Tejada, Carmen" userId="4e46fa0d-51a0-4b7a-a6a6-e5b06c9f6d76" providerId="ADAL" clId="{0F93E6D3-7306-4F51-BEDB-FEFB5CF382EB}" dt="2023-02-08T12:55:08.704" v="238" actId="478"/>
          <ac:spMkLst>
            <pc:docMk/>
            <pc:sldMk cId="971977761" sldId="2147468917"/>
            <ac:spMk id="59" creationId="{C73F9731-FE95-4A32-B920-5705C3EF07B2}"/>
          </ac:spMkLst>
        </pc:spChg>
        <pc:spChg chg="add mod ord">
          <ac:chgData name="Tejada, Carmen" userId="4e46fa0d-51a0-4b7a-a6a6-e5b06c9f6d76" providerId="ADAL" clId="{0F93E6D3-7306-4F51-BEDB-FEFB5CF382EB}" dt="2023-02-08T13:01:30.581" v="370" actId="1076"/>
          <ac:spMkLst>
            <pc:docMk/>
            <pc:sldMk cId="971977761" sldId="2147468917"/>
            <ac:spMk id="60" creationId="{71DB5AAD-FDD7-4AFB-8C61-4A46C59923E4}"/>
          </ac:spMkLst>
        </pc:spChg>
        <pc:spChg chg="add mod ord">
          <ac:chgData name="Tejada, Carmen" userId="4e46fa0d-51a0-4b7a-a6a6-e5b06c9f6d76" providerId="ADAL" clId="{0F93E6D3-7306-4F51-BEDB-FEFB5CF382EB}" dt="2023-02-08T13:12:00.739" v="762" actId="14100"/>
          <ac:spMkLst>
            <pc:docMk/>
            <pc:sldMk cId="971977761" sldId="2147468917"/>
            <ac:spMk id="61" creationId="{D77491D1-665F-4795-8977-3A0018817E83}"/>
          </ac:spMkLst>
        </pc:spChg>
        <pc:spChg chg="add mod">
          <ac:chgData name="Tejada, Carmen" userId="4e46fa0d-51a0-4b7a-a6a6-e5b06c9f6d76" providerId="ADAL" clId="{0F93E6D3-7306-4F51-BEDB-FEFB5CF382EB}" dt="2023-02-08T13:02:33.296" v="389" actId="207"/>
          <ac:spMkLst>
            <pc:docMk/>
            <pc:sldMk cId="971977761" sldId="2147468917"/>
            <ac:spMk id="62" creationId="{BCAD8992-731B-4EEA-A92A-BB0A859025A6}"/>
          </ac:spMkLst>
        </pc:spChg>
        <pc:spChg chg="add mod">
          <ac:chgData name="Tejada, Carmen" userId="4e46fa0d-51a0-4b7a-a6a6-e5b06c9f6d76" providerId="ADAL" clId="{0F93E6D3-7306-4F51-BEDB-FEFB5CF382EB}" dt="2023-02-08T13:02:15.270" v="382"/>
          <ac:spMkLst>
            <pc:docMk/>
            <pc:sldMk cId="971977761" sldId="2147468917"/>
            <ac:spMk id="63" creationId="{C6468676-87D8-4397-B67D-C7B758545F68}"/>
          </ac:spMkLst>
        </pc:spChg>
        <pc:spChg chg="add mod">
          <ac:chgData name="Tejada, Carmen" userId="4e46fa0d-51a0-4b7a-a6a6-e5b06c9f6d76" providerId="ADAL" clId="{0F93E6D3-7306-4F51-BEDB-FEFB5CF382EB}" dt="2023-02-08T13:11:03.344" v="663" actId="1076"/>
          <ac:spMkLst>
            <pc:docMk/>
            <pc:sldMk cId="971977761" sldId="2147468917"/>
            <ac:spMk id="64" creationId="{3440B624-7B93-42FE-BF88-7A1AAE06759C}"/>
          </ac:spMkLst>
        </pc:spChg>
        <pc:spChg chg="add mod">
          <ac:chgData name="Tejada, Carmen" userId="4e46fa0d-51a0-4b7a-a6a6-e5b06c9f6d76" providerId="ADAL" clId="{0F93E6D3-7306-4F51-BEDB-FEFB5CF382EB}" dt="2023-02-08T13:11:55.994" v="761" actId="20577"/>
          <ac:spMkLst>
            <pc:docMk/>
            <pc:sldMk cId="971977761" sldId="2147468917"/>
            <ac:spMk id="65" creationId="{5118A7DF-61E1-410F-B056-984F776EE2F7}"/>
          </ac:spMkLst>
        </pc:spChg>
        <pc:spChg chg="add del mod">
          <ac:chgData name="Tejada, Carmen" userId="4e46fa0d-51a0-4b7a-a6a6-e5b06c9f6d76" providerId="ADAL" clId="{0F93E6D3-7306-4F51-BEDB-FEFB5CF382EB}" dt="2023-02-08T13:12:22.543" v="792" actId="478"/>
          <ac:spMkLst>
            <pc:docMk/>
            <pc:sldMk cId="971977761" sldId="2147468917"/>
            <ac:spMk id="66" creationId="{0AF436C5-69D7-40C8-A439-ED6E8ABECDC1}"/>
          </ac:spMkLst>
        </pc:spChg>
        <pc:spChg chg="add mod">
          <ac:chgData name="Tejada, Carmen" userId="4e46fa0d-51a0-4b7a-a6a6-e5b06c9f6d76" providerId="ADAL" clId="{0F93E6D3-7306-4F51-BEDB-FEFB5CF382EB}" dt="2023-02-08T13:13:03.038" v="880" actId="113"/>
          <ac:spMkLst>
            <pc:docMk/>
            <pc:sldMk cId="971977761" sldId="2147468917"/>
            <ac:spMk id="67" creationId="{9E0E4C39-BF70-436E-BEC5-59470FCDA960}"/>
          </ac:spMkLst>
        </pc:spChg>
        <pc:spChg chg="add mod">
          <ac:chgData name="Tejada, Carmen" userId="4e46fa0d-51a0-4b7a-a6a6-e5b06c9f6d76" providerId="ADAL" clId="{0F93E6D3-7306-4F51-BEDB-FEFB5CF382EB}" dt="2023-02-08T13:13:12.335" v="904" actId="20577"/>
          <ac:spMkLst>
            <pc:docMk/>
            <pc:sldMk cId="971977761" sldId="2147468917"/>
            <ac:spMk id="68" creationId="{11D123A9-42B6-4970-BE60-E05DC59A58D4}"/>
          </ac:spMkLst>
        </pc:spChg>
        <pc:spChg chg="add mod">
          <ac:chgData name="Tejada, Carmen" userId="4e46fa0d-51a0-4b7a-a6a6-e5b06c9f6d76" providerId="ADAL" clId="{0F93E6D3-7306-4F51-BEDB-FEFB5CF382EB}" dt="2023-02-08T13:13:36.342" v="952" actId="313"/>
          <ac:spMkLst>
            <pc:docMk/>
            <pc:sldMk cId="971977761" sldId="2147468917"/>
            <ac:spMk id="69" creationId="{C2580837-7B3A-4B17-8A15-315A585094BF}"/>
          </ac:spMkLst>
        </pc:spChg>
        <pc:spChg chg="mod ord">
          <ac:chgData name="Tejada, Carmen" userId="4e46fa0d-51a0-4b7a-a6a6-e5b06c9f6d76" providerId="ADAL" clId="{0F93E6D3-7306-4F51-BEDB-FEFB5CF382EB}" dt="2023-02-08T13:01:10.183" v="307"/>
          <ac:spMkLst>
            <pc:docMk/>
            <pc:sldMk cId="971977761" sldId="2147468917"/>
            <ac:spMk id="70" creationId="{B24752AE-C80A-47FB-B83E-78DB4B50D7E0}"/>
          </ac:spMkLst>
        </pc:spChg>
        <pc:spChg chg="del mod">
          <ac:chgData name="Tejada, Carmen" userId="4e46fa0d-51a0-4b7a-a6a6-e5b06c9f6d76" providerId="ADAL" clId="{0F93E6D3-7306-4F51-BEDB-FEFB5CF382EB}" dt="2023-02-08T12:59:32.963" v="277" actId="478"/>
          <ac:spMkLst>
            <pc:docMk/>
            <pc:sldMk cId="971977761" sldId="2147468917"/>
            <ac:spMk id="77" creationId="{5698B6DF-5C46-4F15-B547-EF43069F1646}"/>
          </ac:spMkLst>
        </pc:spChg>
        <pc:spChg chg="del mod">
          <ac:chgData name="Tejada, Carmen" userId="4e46fa0d-51a0-4b7a-a6a6-e5b06c9f6d76" providerId="ADAL" clId="{0F93E6D3-7306-4F51-BEDB-FEFB5CF382EB}" dt="2023-02-08T12:59:32.963" v="277" actId="478"/>
          <ac:spMkLst>
            <pc:docMk/>
            <pc:sldMk cId="971977761" sldId="2147468917"/>
            <ac:spMk id="110" creationId="{4E954600-6303-41BD-8EE0-A51207818DF1}"/>
          </ac:spMkLst>
        </pc:spChg>
        <pc:spChg chg="add del mod ord">
          <ac:chgData name="Tejada, Carmen" userId="4e46fa0d-51a0-4b7a-a6a6-e5b06c9f6d76" providerId="ADAL" clId="{0F93E6D3-7306-4F51-BEDB-FEFB5CF382EB}" dt="2023-02-08T13:01:10.179" v="303"/>
          <ac:spMkLst>
            <pc:docMk/>
            <pc:sldMk cId="971977761" sldId="2147468917"/>
            <ac:spMk id="112" creationId="{96EBF07F-42E2-4742-A17D-CE550EAF83BB}"/>
          </ac:spMkLst>
        </pc:spChg>
        <pc:grpChg chg="mod ord">
          <ac:chgData name="Tejada, Carmen" userId="4e46fa0d-51a0-4b7a-a6a6-e5b06c9f6d76" providerId="ADAL" clId="{0F93E6D3-7306-4F51-BEDB-FEFB5CF382EB}" dt="2023-02-08T13:01:10.184" v="309"/>
          <ac:grpSpMkLst>
            <pc:docMk/>
            <pc:sldMk cId="971977761" sldId="2147468917"/>
            <ac:grpSpMk id="105" creationId="{9E991AB8-3E84-443B-BD44-7978A2048F04}"/>
          </ac:grpSpMkLst>
        </pc:grpChg>
        <pc:graphicFrameChg chg="mod">
          <ac:chgData name="Tejada, Carmen" userId="4e46fa0d-51a0-4b7a-a6a6-e5b06c9f6d76" providerId="ADAL" clId="{0F93E6D3-7306-4F51-BEDB-FEFB5CF382EB}" dt="2023-02-08T13:01:10.208" v="356"/>
          <ac:graphicFrameMkLst>
            <pc:docMk/>
            <pc:sldMk cId="971977761" sldId="2147468917"/>
            <ac:graphicFrameMk id="4" creationId="{7569AC24-D204-49E9-88C7-8DCC12F09696}"/>
          </ac:graphicFrameMkLst>
        </pc:graphicFrameChg>
        <pc:picChg chg="add del mod">
          <ac:chgData name="Tejada, Carmen" userId="4e46fa0d-51a0-4b7a-a6a6-e5b06c9f6d76" providerId="ADAL" clId="{0F93E6D3-7306-4F51-BEDB-FEFB5CF382EB}" dt="2023-02-08T12:59:32.963" v="277" actId="478"/>
          <ac:picMkLst>
            <pc:docMk/>
            <pc:sldMk cId="971977761" sldId="2147468917"/>
            <ac:picMk id="30" creationId="{C7265D88-A5C7-4D35-B14B-948C36F705AE}"/>
          </ac:picMkLst>
        </pc:picChg>
        <pc:picChg chg="del">
          <ac:chgData name="Tejada, Carmen" userId="4e46fa0d-51a0-4b7a-a6a6-e5b06c9f6d76" providerId="ADAL" clId="{0F93E6D3-7306-4F51-BEDB-FEFB5CF382EB}" dt="2023-02-08T12:33:00.311" v="4" actId="478"/>
          <ac:picMkLst>
            <pc:docMk/>
            <pc:sldMk cId="971977761" sldId="2147468917"/>
            <ac:picMk id="43" creationId="{4158CE1E-0793-4153-ACF1-AF9AD9C776BA}"/>
          </ac:picMkLst>
        </pc:picChg>
        <pc:picChg chg="del">
          <ac:chgData name="Tejada, Carmen" userId="4e46fa0d-51a0-4b7a-a6a6-e5b06c9f6d76" providerId="ADAL" clId="{0F93E6D3-7306-4F51-BEDB-FEFB5CF382EB}" dt="2023-02-08T12:33:01.099" v="5" actId="478"/>
          <ac:picMkLst>
            <pc:docMk/>
            <pc:sldMk cId="971977761" sldId="2147468917"/>
            <ac:picMk id="45" creationId="{474A4C63-4CC5-4310-98C5-60682A31E18E}"/>
          </ac:picMkLst>
        </pc:picChg>
        <pc:picChg chg="del">
          <ac:chgData name="Tejada, Carmen" userId="4e46fa0d-51a0-4b7a-a6a6-e5b06c9f6d76" providerId="ADAL" clId="{0F93E6D3-7306-4F51-BEDB-FEFB5CF382EB}" dt="2023-02-07T12:42:59.021" v="0" actId="478"/>
          <ac:picMkLst>
            <pc:docMk/>
            <pc:sldMk cId="971977761" sldId="2147468917"/>
            <ac:picMk id="72" creationId="{3D2E4E4E-D607-4F9F-8363-B2E4E7D90CAC}"/>
          </ac:picMkLst>
        </pc:picChg>
        <pc:picChg chg="del mod">
          <ac:chgData name="Tejada, Carmen" userId="4e46fa0d-51a0-4b7a-a6a6-e5b06c9f6d76" providerId="ADAL" clId="{0F93E6D3-7306-4F51-BEDB-FEFB5CF382EB}" dt="2023-02-08T12:59:32.963" v="277" actId="478"/>
          <ac:picMkLst>
            <pc:docMk/>
            <pc:sldMk cId="971977761" sldId="2147468917"/>
            <ac:picMk id="73" creationId="{CD9677FC-4247-4DA0-ACE2-758AFD95ADEF}"/>
          </ac:picMkLst>
        </pc:picChg>
        <pc:picChg chg="del mod">
          <ac:chgData name="Tejada, Carmen" userId="4e46fa0d-51a0-4b7a-a6a6-e5b06c9f6d76" providerId="ADAL" clId="{0F93E6D3-7306-4F51-BEDB-FEFB5CF382EB}" dt="2023-02-08T12:59:32.963" v="277" actId="478"/>
          <ac:picMkLst>
            <pc:docMk/>
            <pc:sldMk cId="971977761" sldId="2147468917"/>
            <ac:picMk id="107" creationId="{F210A1AC-E947-4BE5-A493-041AAAB0C2A3}"/>
          </ac:picMkLst>
        </pc:picChg>
        <pc:picChg chg="del mod">
          <ac:chgData name="Tejada, Carmen" userId="4e46fa0d-51a0-4b7a-a6a6-e5b06c9f6d76" providerId="ADAL" clId="{0F93E6D3-7306-4F51-BEDB-FEFB5CF382EB}" dt="2023-02-08T12:59:32.963" v="277" actId="478"/>
          <ac:picMkLst>
            <pc:docMk/>
            <pc:sldMk cId="971977761" sldId="2147468917"/>
            <ac:picMk id="109" creationId="{63120EB6-D10D-45B6-8529-7E8795CFD9FC}"/>
          </ac:picMkLst>
        </pc:picChg>
        <pc:cxnChg chg="del">
          <ac:chgData name="Tejada, Carmen" userId="4e46fa0d-51a0-4b7a-a6a6-e5b06c9f6d76" providerId="ADAL" clId="{0F93E6D3-7306-4F51-BEDB-FEFB5CF382EB}" dt="2023-02-08T12:33:03.237" v="6" actId="478"/>
          <ac:cxnSpMkLst>
            <pc:docMk/>
            <pc:sldMk cId="971977761" sldId="2147468917"/>
            <ac:cxnSpMk id="9" creationId="{A0E11857-6CB0-44F8-8B18-B0DE9AB48229}"/>
          </ac:cxnSpMkLst>
        </pc:cxnChg>
        <pc:cxnChg chg="del">
          <ac:chgData name="Tejada, Carmen" userId="4e46fa0d-51a0-4b7a-a6a6-e5b06c9f6d76" providerId="ADAL" clId="{0F93E6D3-7306-4F51-BEDB-FEFB5CF382EB}" dt="2023-02-08T12:33:03.237" v="6" actId="478"/>
          <ac:cxnSpMkLst>
            <pc:docMk/>
            <pc:sldMk cId="971977761" sldId="2147468917"/>
            <ac:cxnSpMk id="11" creationId="{C98809B5-F0FF-4364-B386-A990BF13F72B}"/>
          </ac:cxnSpMkLst>
        </pc:cxnChg>
      </pc:sldChg>
      <pc:sldChg chg="modSp add del mod">
        <pc:chgData name="Tejada, Carmen" userId="4e46fa0d-51a0-4b7a-a6a6-e5b06c9f6d76" providerId="ADAL" clId="{0F93E6D3-7306-4F51-BEDB-FEFB5CF382EB}" dt="2023-02-14T09:28:05.639" v="5173" actId="20577"/>
        <pc:sldMkLst>
          <pc:docMk/>
          <pc:sldMk cId="1153162639" sldId="2147468918"/>
        </pc:sldMkLst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10" creationId="{23BE239B-9EFA-4EF6-AAD8-D8341D9C4267}"/>
          </ac:spMkLst>
        </pc:spChg>
        <pc:spChg chg="mod">
          <ac:chgData name="Tejada, Carmen" userId="4e46fa0d-51a0-4b7a-a6a6-e5b06c9f6d76" providerId="ADAL" clId="{0F93E6D3-7306-4F51-BEDB-FEFB5CF382EB}" dt="2023-02-14T09:28:05.639" v="5173" actId="20577"/>
          <ac:spMkLst>
            <pc:docMk/>
            <pc:sldMk cId="1153162639" sldId="2147468918"/>
            <ac:spMk id="58" creationId="{8B175991-4FDD-4605-8513-783EA38CBA9D}"/>
          </ac:spMkLst>
        </pc:spChg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59" creationId="{462F2EA4-756C-4B8C-9F5C-ACDA8BBAF04B}"/>
          </ac:spMkLst>
        </pc:spChg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60" creationId="{A4CE4A65-599C-404B-A76F-808C7E09D75D}"/>
          </ac:spMkLst>
        </pc:spChg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61" creationId="{41DEDD24-27F0-4650-8818-8AC3D4D22E4A}"/>
          </ac:spMkLst>
        </pc:spChg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66" creationId="{A5F2044D-1B47-4153-A980-0AE09BCFC19C}"/>
          </ac:spMkLst>
        </pc:spChg>
        <pc:spChg chg="mod">
          <ac:chgData name="Tejada, Carmen" userId="4e46fa0d-51a0-4b7a-a6a6-e5b06c9f6d76" providerId="ADAL" clId="{0F93E6D3-7306-4F51-BEDB-FEFB5CF382EB}" dt="2023-02-14T09:07:36.097" v="5109" actId="1076"/>
          <ac:spMkLst>
            <pc:docMk/>
            <pc:sldMk cId="1153162639" sldId="2147468918"/>
            <ac:spMk id="67" creationId="{6B338AE8-A845-4244-A5F0-E7202690CA67}"/>
          </ac:spMkLst>
        </pc:spChg>
      </pc:sldChg>
      <pc:sldChg chg="modSp add del">
        <pc:chgData name="Tejada, Carmen" userId="4e46fa0d-51a0-4b7a-a6a6-e5b06c9f6d76" providerId="ADAL" clId="{0F93E6D3-7306-4F51-BEDB-FEFB5CF382EB}" dt="2023-02-13T18:17:41.362" v="1398" actId="47"/>
        <pc:sldMkLst>
          <pc:docMk/>
          <pc:sldMk cId="1547435378" sldId="2147468918"/>
        </pc:sldMkLst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5" creationId="{A38CA9B8-6AD0-417B-9292-70897BD153F7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6" creationId="{0AD00615-0EA3-407D-A0B7-92E978313CB0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3" creationId="{FC9754E2-F0DF-4ACB-8FFE-6607F1D06DCC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4" creationId="{47F2A5D4-0B7C-4B84-9FD0-2BB5CF482F31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6" creationId="{75D56E92-42AB-41BF-BE17-421F31F02DF6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44" creationId="{7EEB1677-B37B-4753-9D15-28588C6923E5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46" creationId="{6F6E74DD-6213-4295-B33D-9DB04984219D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48" creationId="{13449DCF-5DD9-435F-9156-94B3AA3FA7FF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49" creationId="{6DAD25E3-21B5-4443-858A-61BF241D2657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50" creationId="{9009C336-6DD6-4376-A926-CFFDED4E18E3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51" creationId="{51A5ADD9-8AC0-44EA-BF9B-B0B1C4D969BC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56" creationId="{9A863435-DB2D-4289-A123-39671C81A890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70" creationId="{B24752AE-C80A-47FB-B83E-78DB4B50D7E0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77" creationId="{5698B6DF-5C46-4F15-B547-EF43069F1646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03" creationId="{3832A323-BF09-416A-B92B-2BF34546FFC6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04" creationId="{D5095088-36D4-4805-8B6B-42637FB4D786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10" creationId="{4E954600-6303-41BD-8EE0-A51207818DF1}"/>
          </ac:spMkLst>
        </pc:spChg>
        <pc:spChg chg="mod">
          <ac:chgData name="Tejada, Carmen" userId="4e46fa0d-51a0-4b7a-a6a6-e5b06c9f6d76" providerId="ADAL" clId="{0F93E6D3-7306-4F51-BEDB-FEFB5CF382EB}" dt="2023-02-08T12:32:56.367" v="3"/>
          <ac:spMkLst>
            <pc:docMk/>
            <pc:sldMk cId="1547435378" sldId="2147468918"/>
            <ac:spMk id="112" creationId="{96EBF07F-42E2-4742-A17D-CE550EAF83BB}"/>
          </ac:spMkLst>
        </pc:spChg>
        <pc:grpChg chg="mod">
          <ac:chgData name="Tejada, Carmen" userId="4e46fa0d-51a0-4b7a-a6a6-e5b06c9f6d76" providerId="ADAL" clId="{0F93E6D3-7306-4F51-BEDB-FEFB5CF382EB}" dt="2023-02-08T12:32:56.367" v="3"/>
          <ac:grpSpMkLst>
            <pc:docMk/>
            <pc:sldMk cId="1547435378" sldId="2147468918"/>
            <ac:grpSpMk id="1" creationId="{00000000-0000-0000-0000-000000000000}"/>
          </ac:grpSpMkLst>
        </pc:grpChg>
        <pc:grpChg chg="mod">
          <ac:chgData name="Tejada, Carmen" userId="4e46fa0d-51a0-4b7a-a6a6-e5b06c9f6d76" providerId="ADAL" clId="{0F93E6D3-7306-4F51-BEDB-FEFB5CF382EB}" dt="2023-02-08T12:32:56.367" v="3"/>
          <ac:grpSpMkLst>
            <pc:docMk/>
            <pc:sldMk cId="1547435378" sldId="2147468918"/>
            <ac:grpSpMk id="105" creationId="{9E991AB8-3E84-443B-BD44-7978A2048F04}"/>
          </ac:grpSpMkLst>
        </pc:grpChg>
        <pc:graphicFrameChg chg="mod">
          <ac:chgData name="Tejada, Carmen" userId="4e46fa0d-51a0-4b7a-a6a6-e5b06c9f6d76" providerId="ADAL" clId="{0F93E6D3-7306-4F51-BEDB-FEFB5CF382EB}" dt="2023-02-08T12:32:56.367" v="3"/>
          <ac:graphicFrameMkLst>
            <pc:docMk/>
            <pc:sldMk cId="1547435378" sldId="2147468918"/>
            <ac:graphicFrameMk id="4" creationId="{7569AC24-D204-49E9-88C7-8DCC12F09696}"/>
          </ac:graphicFrameMkLst>
        </pc:graphicFrame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30" creationId="{C7265D88-A5C7-4D35-B14B-948C36F705AE}"/>
          </ac:picMkLst>
        </pc:pic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43" creationId="{4158CE1E-0793-4153-ACF1-AF9AD9C776BA}"/>
          </ac:picMkLst>
        </pc:pic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45" creationId="{474A4C63-4CC5-4310-98C5-60682A31E18E}"/>
          </ac:picMkLst>
        </pc:pic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73" creationId="{CD9677FC-4247-4DA0-ACE2-758AFD95ADEF}"/>
          </ac:picMkLst>
        </pc:pic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107" creationId="{F210A1AC-E947-4BE5-A493-041AAAB0C2A3}"/>
          </ac:picMkLst>
        </pc:picChg>
        <pc:picChg chg="mod">
          <ac:chgData name="Tejada, Carmen" userId="4e46fa0d-51a0-4b7a-a6a6-e5b06c9f6d76" providerId="ADAL" clId="{0F93E6D3-7306-4F51-BEDB-FEFB5CF382EB}" dt="2023-02-08T12:32:56.367" v="3"/>
          <ac:picMkLst>
            <pc:docMk/>
            <pc:sldMk cId="1547435378" sldId="2147468918"/>
            <ac:picMk id="109" creationId="{63120EB6-D10D-45B6-8529-7E8795CFD9FC}"/>
          </ac:picMkLst>
        </pc:picChg>
        <pc:cxnChg chg="mod">
          <ac:chgData name="Tejada, Carmen" userId="4e46fa0d-51a0-4b7a-a6a6-e5b06c9f6d76" providerId="ADAL" clId="{0F93E6D3-7306-4F51-BEDB-FEFB5CF382EB}" dt="2023-02-08T12:32:56.367" v="3"/>
          <ac:cxnSpMkLst>
            <pc:docMk/>
            <pc:sldMk cId="1547435378" sldId="2147468918"/>
            <ac:cxnSpMk id="9" creationId="{A0E11857-6CB0-44F8-8B18-B0DE9AB48229}"/>
          </ac:cxnSpMkLst>
        </pc:cxnChg>
        <pc:cxnChg chg="mod">
          <ac:chgData name="Tejada, Carmen" userId="4e46fa0d-51a0-4b7a-a6a6-e5b06c9f6d76" providerId="ADAL" clId="{0F93E6D3-7306-4F51-BEDB-FEFB5CF382EB}" dt="2023-02-08T12:32:56.367" v="3"/>
          <ac:cxnSpMkLst>
            <pc:docMk/>
            <pc:sldMk cId="1547435378" sldId="2147468918"/>
            <ac:cxnSpMk id="11" creationId="{C98809B5-F0FF-4364-B386-A990BF13F72B}"/>
          </ac:cxnSpMkLst>
        </pc:cxnChg>
      </pc:sldChg>
      <pc:sldChg chg="addSp delSp modSp add del mod">
        <pc:chgData name="Tejada, Carmen" userId="4e46fa0d-51a0-4b7a-a6a6-e5b06c9f6d76" providerId="ADAL" clId="{0F93E6D3-7306-4F51-BEDB-FEFB5CF382EB}" dt="2023-02-13T18:17:40.883" v="1397" actId="47"/>
        <pc:sldMkLst>
          <pc:docMk/>
          <pc:sldMk cId="975281533" sldId="2147468919"/>
        </pc:sldMkLst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5" creationId="{A38CA9B8-6AD0-417B-9292-70897BD153F7}"/>
          </ac:spMkLst>
        </pc:spChg>
        <pc:spChg chg="mod">
          <ac:chgData name="Tejada, Carmen" userId="4e46fa0d-51a0-4b7a-a6a6-e5b06c9f6d76" providerId="ADAL" clId="{0F93E6D3-7306-4F51-BEDB-FEFB5CF382EB}" dt="2023-02-08T12:35:26.664" v="10"/>
          <ac:spMkLst>
            <pc:docMk/>
            <pc:sldMk cId="975281533" sldId="2147468919"/>
            <ac:spMk id="13" creationId="{FC9754E2-F0DF-4ACB-8FFE-6607F1D06DCC}"/>
          </ac:spMkLst>
        </pc:spChg>
        <pc:spChg chg="mod">
          <ac:chgData name="Tejada, Carmen" userId="4e46fa0d-51a0-4b7a-a6a6-e5b06c9f6d76" providerId="ADAL" clId="{0F93E6D3-7306-4F51-BEDB-FEFB5CF382EB}" dt="2023-02-08T12:35:26.664" v="10"/>
          <ac:spMkLst>
            <pc:docMk/>
            <pc:sldMk cId="975281533" sldId="2147468919"/>
            <ac:spMk id="14" creationId="{47F2A5D4-0B7C-4B84-9FD0-2BB5CF482F31}"/>
          </ac:spMkLst>
        </pc:spChg>
        <pc:spChg chg="mod">
          <ac:chgData name="Tejada, Carmen" userId="4e46fa0d-51a0-4b7a-a6a6-e5b06c9f6d76" providerId="ADAL" clId="{0F93E6D3-7306-4F51-BEDB-FEFB5CF382EB}" dt="2023-02-08T12:35:26.664" v="10"/>
          <ac:spMkLst>
            <pc:docMk/>
            <pc:sldMk cId="975281533" sldId="2147468919"/>
            <ac:spMk id="16" creationId="{75D56E92-42AB-41BF-BE17-421F31F02DF6}"/>
          </ac:spMkLst>
        </pc:spChg>
        <pc:spChg chg="add mod">
          <ac:chgData name="Tejada, Carmen" userId="4e46fa0d-51a0-4b7a-a6a6-e5b06c9f6d76" providerId="ADAL" clId="{0F93E6D3-7306-4F51-BEDB-FEFB5CF382EB}" dt="2023-02-08T12:35:41.623" v="21" actId="1076"/>
          <ac:spMkLst>
            <pc:docMk/>
            <pc:sldMk cId="975281533" sldId="2147468919"/>
            <ac:spMk id="24" creationId="{1AE522F5-0D56-44AB-B04E-33BB95735891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44" creationId="{7EEB1677-B37B-4753-9D15-28588C6923E5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48" creationId="{13449DCF-5DD9-435F-9156-94B3AA3FA7FF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49" creationId="{6DAD25E3-21B5-4443-858A-61BF241D2657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50" creationId="{9009C336-6DD6-4376-A926-CFFDED4E18E3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51" creationId="{51A5ADD9-8AC0-44EA-BF9B-B0B1C4D969BC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70" creationId="{B24752AE-C80A-47FB-B83E-78DB4B50D7E0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77" creationId="{5698B6DF-5C46-4F15-B547-EF43069F1646}"/>
          </ac:spMkLst>
        </pc:spChg>
        <pc:spChg chg="mod">
          <ac:chgData name="Tejada, Carmen" userId="4e46fa0d-51a0-4b7a-a6a6-e5b06c9f6d76" providerId="ADAL" clId="{0F93E6D3-7306-4F51-BEDB-FEFB5CF382EB}" dt="2023-02-08T12:35:26.664" v="10"/>
          <ac:spMkLst>
            <pc:docMk/>
            <pc:sldMk cId="975281533" sldId="2147468919"/>
            <ac:spMk id="103" creationId="{3832A323-BF09-416A-B92B-2BF34546FFC6}"/>
          </ac:spMkLst>
        </pc:spChg>
        <pc:spChg chg="mod">
          <ac:chgData name="Tejada, Carmen" userId="4e46fa0d-51a0-4b7a-a6a6-e5b06c9f6d76" providerId="ADAL" clId="{0F93E6D3-7306-4F51-BEDB-FEFB5CF382EB}" dt="2023-02-08T12:35:26.664" v="10"/>
          <ac:spMkLst>
            <pc:docMk/>
            <pc:sldMk cId="975281533" sldId="2147468919"/>
            <ac:spMk id="104" creationId="{D5095088-36D4-4805-8B6B-42637FB4D786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110" creationId="{4E954600-6303-41BD-8EE0-A51207818DF1}"/>
          </ac:spMkLst>
        </pc:spChg>
        <pc:spChg chg="del mod">
          <ac:chgData name="Tejada, Carmen" userId="4e46fa0d-51a0-4b7a-a6a6-e5b06c9f6d76" providerId="ADAL" clId="{0F93E6D3-7306-4F51-BEDB-FEFB5CF382EB}" dt="2023-02-08T12:35:29.638" v="11" actId="478"/>
          <ac:spMkLst>
            <pc:docMk/>
            <pc:sldMk cId="975281533" sldId="2147468919"/>
            <ac:spMk id="112" creationId="{96EBF07F-42E2-4742-A17D-CE550EAF83BB}"/>
          </ac:spMkLst>
        </pc:spChg>
        <pc:grpChg chg="mod">
          <ac:chgData name="Tejada, Carmen" userId="4e46fa0d-51a0-4b7a-a6a6-e5b06c9f6d76" providerId="ADAL" clId="{0F93E6D3-7306-4F51-BEDB-FEFB5CF382EB}" dt="2023-02-08T12:35:26.664" v="10"/>
          <ac:grpSpMkLst>
            <pc:docMk/>
            <pc:sldMk cId="975281533" sldId="2147468919"/>
            <ac:grpSpMk id="1" creationId="{00000000-0000-0000-0000-000000000000}"/>
          </ac:grpSpMkLst>
        </pc:grpChg>
        <pc:grpChg chg="del mod">
          <ac:chgData name="Tejada, Carmen" userId="4e46fa0d-51a0-4b7a-a6a6-e5b06c9f6d76" providerId="ADAL" clId="{0F93E6D3-7306-4F51-BEDB-FEFB5CF382EB}" dt="2023-02-08T12:35:29.638" v="11" actId="478"/>
          <ac:grpSpMkLst>
            <pc:docMk/>
            <pc:sldMk cId="975281533" sldId="2147468919"/>
            <ac:grpSpMk id="105" creationId="{9E991AB8-3E84-443B-BD44-7978A2048F04}"/>
          </ac:grpSpMkLst>
        </pc:grpChg>
        <pc:graphicFrameChg chg="mod">
          <ac:chgData name="Tejada, Carmen" userId="4e46fa0d-51a0-4b7a-a6a6-e5b06c9f6d76" providerId="ADAL" clId="{0F93E6D3-7306-4F51-BEDB-FEFB5CF382EB}" dt="2023-02-08T12:35:26.664" v="10"/>
          <ac:graphicFrameMkLst>
            <pc:docMk/>
            <pc:sldMk cId="975281533" sldId="2147468919"/>
            <ac:graphicFrameMk id="4" creationId="{7569AC24-D204-49E9-88C7-8DCC12F09696}"/>
          </ac:graphicFrameMkLst>
        </pc:graphicFrameChg>
        <pc:picChg chg="del mod">
          <ac:chgData name="Tejada, Carmen" userId="4e46fa0d-51a0-4b7a-a6a6-e5b06c9f6d76" providerId="ADAL" clId="{0F93E6D3-7306-4F51-BEDB-FEFB5CF382EB}" dt="2023-02-08T12:35:29.638" v="11" actId="478"/>
          <ac:picMkLst>
            <pc:docMk/>
            <pc:sldMk cId="975281533" sldId="2147468919"/>
            <ac:picMk id="30" creationId="{C7265D88-A5C7-4D35-B14B-948C36F705AE}"/>
          </ac:picMkLst>
        </pc:picChg>
        <pc:picChg chg="del mod">
          <ac:chgData name="Tejada, Carmen" userId="4e46fa0d-51a0-4b7a-a6a6-e5b06c9f6d76" providerId="ADAL" clId="{0F93E6D3-7306-4F51-BEDB-FEFB5CF382EB}" dt="2023-02-08T12:35:29.638" v="11" actId="478"/>
          <ac:picMkLst>
            <pc:docMk/>
            <pc:sldMk cId="975281533" sldId="2147468919"/>
            <ac:picMk id="73" creationId="{CD9677FC-4247-4DA0-ACE2-758AFD95ADEF}"/>
          </ac:picMkLst>
        </pc:picChg>
        <pc:picChg chg="del mod">
          <ac:chgData name="Tejada, Carmen" userId="4e46fa0d-51a0-4b7a-a6a6-e5b06c9f6d76" providerId="ADAL" clId="{0F93E6D3-7306-4F51-BEDB-FEFB5CF382EB}" dt="2023-02-08T12:35:29.638" v="11" actId="478"/>
          <ac:picMkLst>
            <pc:docMk/>
            <pc:sldMk cId="975281533" sldId="2147468919"/>
            <ac:picMk id="107" creationId="{F210A1AC-E947-4BE5-A493-041AAAB0C2A3}"/>
          </ac:picMkLst>
        </pc:picChg>
        <pc:picChg chg="del mod">
          <ac:chgData name="Tejada, Carmen" userId="4e46fa0d-51a0-4b7a-a6a6-e5b06c9f6d76" providerId="ADAL" clId="{0F93E6D3-7306-4F51-BEDB-FEFB5CF382EB}" dt="2023-02-08T12:35:29.638" v="11" actId="478"/>
          <ac:picMkLst>
            <pc:docMk/>
            <pc:sldMk cId="975281533" sldId="2147468919"/>
            <ac:picMk id="109" creationId="{63120EB6-D10D-45B6-8529-7E8795CFD9FC}"/>
          </ac:picMkLst>
        </pc:picChg>
      </pc:sldChg>
      <pc:sldChg chg="add">
        <pc:chgData name="Tejada, Carmen" userId="4e46fa0d-51a0-4b7a-a6a6-e5b06c9f6d76" providerId="ADAL" clId="{0F93E6D3-7306-4F51-BEDB-FEFB5CF382EB}" dt="2023-02-13T18:31:48.643" v="1852"/>
        <pc:sldMkLst>
          <pc:docMk/>
          <pc:sldMk cId="62883760" sldId="2147468920"/>
        </pc:sldMkLst>
      </pc:sldChg>
      <pc:sldChg chg="add del">
        <pc:chgData name="Tejada, Carmen" userId="4e46fa0d-51a0-4b7a-a6a6-e5b06c9f6d76" providerId="ADAL" clId="{0F93E6D3-7306-4F51-BEDB-FEFB5CF382EB}" dt="2023-02-13T18:17:38.974" v="1393" actId="47"/>
        <pc:sldMkLst>
          <pc:docMk/>
          <pc:sldMk cId="2948967979" sldId="2147468920"/>
        </pc:sldMkLst>
      </pc:sldChg>
      <pc:sldChg chg="modSp add mod">
        <pc:chgData name="Tejada, Carmen" userId="4e46fa0d-51a0-4b7a-a6a6-e5b06c9f6d76" providerId="ADAL" clId="{0F93E6D3-7306-4F51-BEDB-FEFB5CF382EB}" dt="2023-02-13T18:13:54.807" v="1222" actId="20577"/>
        <pc:sldMkLst>
          <pc:docMk/>
          <pc:sldMk cId="803083685" sldId="2147468921"/>
        </pc:sldMkLst>
        <pc:spChg chg="mod">
          <ac:chgData name="Tejada, Carmen" userId="4e46fa0d-51a0-4b7a-a6a6-e5b06c9f6d76" providerId="ADAL" clId="{0F93E6D3-7306-4F51-BEDB-FEFB5CF382EB}" dt="2023-02-13T18:13:54.807" v="1222" actId="20577"/>
          <ac:spMkLst>
            <pc:docMk/>
            <pc:sldMk cId="803083685" sldId="2147468921"/>
            <ac:spMk id="2" creationId="{54972565-B463-4A0D-AE01-73E66F414133}"/>
          </ac:spMkLst>
        </pc:spChg>
        <pc:spChg chg="mod">
          <ac:chgData name="Tejada, Carmen" userId="4e46fa0d-51a0-4b7a-a6a6-e5b06c9f6d76" providerId="ADAL" clId="{0F93E6D3-7306-4F51-BEDB-FEFB5CF382EB}" dt="2023-02-13T18:13:24.140" v="1210" actId="948"/>
          <ac:spMkLst>
            <pc:docMk/>
            <pc:sldMk cId="803083685" sldId="2147468921"/>
            <ac:spMk id="3" creationId="{FD2B8B85-2E5A-4FD5-B022-868DF0E3763F}"/>
          </ac:spMkLst>
        </pc:spChg>
        <pc:graphicFrameChg chg="mod">
          <ac:chgData name="Tejada, Carmen" userId="4e46fa0d-51a0-4b7a-a6a6-e5b06c9f6d76" providerId="ADAL" clId="{0F93E6D3-7306-4F51-BEDB-FEFB5CF382EB}" dt="2023-02-13T18:13:24.148" v="1213"/>
          <ac:graphicFrameMkLst>
            <pc:docMk/>
            <pc:sldMk cId="803083685" sldId="2147468921"/>
            <ac:graphicFrameMk id="4" creationId="{57BC8371-81E2-47DA-84CA-F52DC34F5BA8}"/>
          </ac:graphicFrameMkLst>
        </pc:graphicFrameChg>
      </pc:sldChg>
      <pc:sldChg chg="add">
        <pc:chgData name="Tejada, Carmen" userId="4e46fa0d-51a0-4b7a-a6a6-e5b06c9f6d76" providerId="ADAL" clId="{0F93E6D3-7306-4F51-BEDB-FEFB5CF382EB}" dt="2023-02-13T18:13:50.043" v="1214"/>
        <pc:sldMkLst>
          <pc:docMk/>
          <pc:sldMk cId="1588101317" sldId="2147468922"/>
        </pc:sldMkLst>
      </pc:sldChg>
      <pc:sldChg chg="addSp modSp add mod">
        <pc:chgData name="Tejada, Carmen" userId="4e46fa0d-51a0-4b7a-a6a6-e5b06c9f6d76" providerId="ADAL" clId="{0F93E6D3-7306-4F51-BEDB-FEFB5CF382EB}" dt="2023-02-13T20:47:28.586" v="3138" actId="1035"/>
        <pc:sldMkLst>
          <pc:docMk/>
          <pc:sldMk cId="2317239546" sldId="2147468923"/>
        </pc:sldMkLst>
        <pc:spChg chg="mod">
          <ac:chgData name="Tejada, Carmen" userId="4e46fa0d-51a0-4b7a-a6a6-e5b06c9f6d76" providerId="ADAL" clId="{0F93E6D3-7306-4F51-BEDB-FEFB5CF382EB}" dt="2023-02-13T18:15:01.201" v="1288" actId="20577"/>
          <ac:spMkLst>
            <pc:docMk/>
            <pc:sldMk cId="2317239546" sldId="2147468923"/>
            <ac:spMk id="2" creationId="{1E24D284-1A44-4399-BC51-1B5B0E357792}"/>
          </ac:spMkLst>
        </pc:spChg>
        <pc:spChg chg="add mod">
          <ac:chgData name="Tejada, Carmen" userId="4e46fa0d-51a0-4b7a-a6a6-e5b06c9f6d76" providerId="ADAL" clId="{0F93E6D3-7306-4F51-BEDB-FEFB5CF382EB}" dt="2023-02-13T18:17:12.603" v="1390" actId="207"/>
          <ac:spMkLst>
            <pc:docMk/>
            <pc:sldMk cId="2317239546" sldId="2147468923"/>
            <ac:spMk id="3" creationId="{321CB8E8-8B5D-4210-A76D-A12BC88E5E0A}"/>
          </ac:spMkLst>
        </pc:spChg>
        <pc:spChg chg="mod">
          <ac:chgData name="Tejada, Carmen" userId="4e46fa0d-51a0-4b7a-a6a6-e5b06c9f6d76" providerId="ADAL" clId="{0F93E6D3-7306-4F51-BEDB-FEFB5CF382EB}" dt="2023-02-13T20:47:28.586" v="3138" actId="1035"/>
          <ac:spMkLst>
            <pc:docMk/>
            <pc:sldMk cId="2317239546" sldId="2147468923"/>
            <ac:spMk id="19" creationId="{7B62C1C5-6F9E-4E2C-8CAD-D658D507BB89}"/>
          </ac:spMkLst>
        </pc:spChg>
        <pc:spChg chg="mod">
          <ac:chgData name="Tejada, Carmen" userId="4e46fa0d-51a0-4b7a-a6a6-e5b06c9f6d76" providerId="ADAL" clId="{0F93E6D3-7306-4F51-BEDB-FEFB5CF382EB}" dt="2023-02-13T20:47:28.586" v="3138" actId="1035"/>
          <ac:spMkLst>
            <pc:docMk/>
            <pc:sldMk cId="2317239546" sldId="2147468923"/>
            <ac:spMk id="20" creationId="{F68C7573-9D66-4DAD-B343-B290B6CBFEA7}"/>
          </ac:spMkLst>
        </pc:spChg>
        <pc:spChg chg="mod">
          <ac:chgData name="Tejada, Carmen" userId="4e46fa0d-51a0-4b7a-a6a6-e5b06c9f6d76" providerId="ADAL" clId="{0F93E6D3-7306-4F51-BEDB-FEFB5CF382EB}" dt="2023-02-13T18:15:29.479" v="1298" actId="20577"/>
          <ac:spMkLst>
            <pc:docMk/>
            <pc:sldMk cId="2317239546" sldId="2147468923"/>
            <ac:spMk id="46" creationId="{23CF944E-CB80-4F20-A23F-BA7F7E1BEA1B}"/>
          </ac:spMkLst>
        </pc:spChg>
        <pc:spChg chg="mod">
          <ac:chgData name="Tejada, Carmen" userId="4e46fa0d-51a0-4b7a-a6a6-e5b06c9f6d76" providerId="ADAL" clId="{0F93E6D3-7306-4F51-BEDB-FEFB5CF382EB}" dt="2023-02-13T20:47:28.586" v="3138" actId="1035"/>
          <ac:spMkLst>
            <pc:docMk/>
            <pc:sldMk cId="2317239546" sldId="2147468923"/>
            <ac:spMk id="47" creationId="{95AF44FE-2FDB-4549-80FD-9A2FBA0ED7E8}"/>
          </ac:spMkLst>
        </pc:spChg>
        <pc:spChg chg="mod">
          <ac:chgData name="Tejada, Carmen" userId="4e46fa0d-51a0-4b7a-a6a6-e5b06c9f6d76" providerId="ADAL" clId="{0F93E6D3-7306-4F51-BEDB-FEFB5CF382EB}" dt="2023-02-13T18:14:22.956" v="1238" actId="20577"/>
          <ac:spMkLst>
            <pc:docMk/>
            <pc:sldMk cId="2317239546" sldId="2147468923"/>
            <ac:spMk id="114" creationId="{D8047237-C9B4-4F19-9372-3730A3724DDC}"/>
          </ac:spMkLst>
        </pc:spChg>
        <pc:graphicFrameChg chg="mod">
          <ac:chgData name="Tejada, Carmen" userId="4e46fa0d-51a0-4b7a-a6a6-e5b06c9f6d76" providerId="ADAL" clId="{0F93E6D3-7306-4F51-BEDB-FEFB5CF382EB}" dt="2023-02-13T18:16:36.475" v="1377"/>
          <ac:graphicFrameMkLst>
            <pc:docMk/>
            <pc:sldMk cId="2317239546" sldId="2147468923"/>
            <ac:graphicFrameMk id="4" creationId="{7569AC24-D204-49E9-88C7-8DCC12F09696}"/>
          </ac:graphicFrameMkLst>
        </pc:graphicFrameChg>
        <pc:picChg chg="mod">
          <ac:chgData name="Tejada, Carmen" userId="4e46fa0d-51a0-4b7a-a6a6-e5b06c9f6d76" providerId="ADAL" clId="{0F93E6D3-7306-4F51-BEDB-FEFB5CF382EB}" dt="2023-02-13T18:16:54.775" v="1384" actId="1076"/>
          <ac:picMkLst>
            <pc:docMk/>
            <pc:sldMk cId="2317239546" sldId="2147468923"/>
            <ac:picMk id="36" creationId="{65579B54-9B52-4985-870E-B5ED7176A75E}"/>
          </ac:picMkLst>
        </pc:picChg>
        <pc:picChg chg="mod">
          <ac:chgData name="Tejada, Carmen" userId="4e46fa0d-51a0-4b7a-a6a6-e5b06c9f6d76" providerId="ADAL" clId="{0F93E6D3-7306-4F51-BEDB-FEFB5CF382EB}" dt="2023-02-13T18:16:52.224" v="1383" actId="1076"/>
          <ac:picMkLst>
            <pc:docMk/>
            <pc:sldMk cId="2317239546" sldId="2147468923"/>
            <ac:picMk id="37" creationId="{0D4D7AA3-7EDF-4B6A-B123-1D0F37EB995A}"/>
          </ac:picMkLst>
        </pc:picChg>
        <pc:picChg chg="mod">
          <ac:chgData name="Tejada, Carmen" userId="4e46fa0d-51a0-4b7a-a6a6-e5b06c9f6d76" providerId="ADAL" clId="{0F93E6D3-7306-4F51-BEDB-FEFB5CF382EB}" dt="2023-02-13T18:16:49.091" v="1381" actId="1076"/>
          <ac:picMkLst>
            <pc:docMk/>
            <pc:sldMk cId="2317239546" sldId="2147468923"/>
            <ac:picMk id="38" creationId="{35F1198A-F902-46A3-86AD-A0E10841DF08}"/>
          </ac:picMkLst>
        </pc:picChg>
        <pc:picChg chg="mod">
          <ac:chgData name="Tejada, Carmen" userId="4e46fa0d-51a0-4b7a-a6a6-e5b06c9f6d76" providerId="ADAL" clId="{0F93E6D3-7306-4F51-BEDB-FEFB5CF382EB}" dt="2023-02-13T18:16:50.577" v="1382" actId="1076"/>
          <ac:picMkLst>
            <pc:docMk/>
            <pc:sldMk cId="2317239546" sldId="2147468923"/>
            <ac:picMk id="39" creationId="{6BC5B668-8967-4EDA-96D7-A894BA3BCE08}"/>
          </ac:picMkLst>
        </pc:picChg>
        <pc:picChg chg="mod">
          <ac:chgData name="Tejada, Carmen" userId="4e46fa0d-51a0-4b7a-a6a6-e5b06c9f6d76" providerId="ADAL" clId="{0F93E6D3-7306-4F51-BEDB-FEFB5CF382EB}" dt="2023-02-13T18:17:01.189" v="1388" actId="1076"/>
          <ac:picMkLst>
            <pc:docMk/>
            <pc:sldMk cId="2317239546" sldId="2147468923"/>
            <ac:picMk id="104" creationId="{6F4952E9-E41B-430D-901B-3184786B2C1B}"/>
          </ac:picMkLst>
        </pc:picChg>
        <pc:picChg chg="mod">
          <ac:chgData name="Tejada, Carmen" userId="4e46fa0d-51a0-4b7a-a6a6-e5b06c9f6d76" providerId="ADAL" clId="{0F93E6D3-7306-4F51-BEDB-FEFB5CF382EB}" dt="2023-02-13T18:16:55.901" v="1385" actId="1076"/>
          <ac:picMkLst>
            <pc:docMk/>
            <pc:sldMk cId="2317239546" sldId="2147468923"/>
            <ac:picMk id="105" creationId="{1F64CCBC-BEB4-415D-BEC5-47B97F66A686}"/>
          </ac:picMkLst>
        </pc:picChg>
        <pc:picChg chg="mod">
          <ac:chgData name="Tejada, Carmen" userId="4e46fa0d-51a0-4b7a-a6a6-e5b06c9f6d76" providerId="ADAL" clId="{0F93E6D3-7306-4F51-BEDB-FEFB5CF382EB}" dt="2023-02-13T18:16:57.886" v="1386" actId="1076"/>
          <ac:picMkLst>
            <pc:docMk/>
            <pc:sldMk cId="2317239546" sldId="2147468923"/>
            <ac:picMk id="106" creationId="{9C0E47EA-A7A6-451F-866D-0E06581450DE}"/>
          </ac:picMkLst>
        </pc:picChg>
        <pc:picChg chg="mod">
          <ac:chgData name="Tejada, Carmen" userId="4e46fa0d-51a0-4b7a-a6a6-e5b06c9f6d76" providerId="ADAL" clId="{0F93E6D3-7306-4F51-BEDB-FEFB5CF382EB}" dt="2023-02-13T18:16:59.461" v="1387" actId="1076"/>
          <ac:picMkLst>
            <pc:docMk/>
            <pc:sldMk cId="2317239546" sldId="2147468923"/>
            <ac:picMk id="109" creationId="{613D7137-CE41-469B-8906-3E32386D6D36}"/>
          </ac:picMkLst>
        </pc:picChg>
      </pc:sldChg>
      <pc:sldChg chg="add">
        <pc:chgData name="Tejada, Carmen" userId="4e46fa0d-51a0-4b7a-a6a6-e5b06c9f6d76" providerId="ADAL" clId="{0F93E6D3-7306-4F51-BEDB-FEFB5CF382EB}" dt="2023-02-13T18:17:26.591" v="1391"/>
        <pc:sldMkLst>
          <pc:docMk/>
          <pc:sldMk cId="1348040323" sldId="2147468924"/>
        </pc:sldMkLst>
      </pc:sldChg>
      <pc:sldChg chg="addSp delSp modSp add del mod">
        <pc:chgData name="Tejada, Carmen" userId="4e46fa0d-51a0-4b7a-a6a6-e5b06c9f6d76" providerId="ADAL" clId="{0F93E6D3-7306-4F51-BEDB-FEFB5CF382EB}" dt="2023-02-14T09:31:10.893" v="5256" actId="404"/>
        <pc:sldMkLst>
          <pc:docMk/>
          <pc:sldMk cId="2746920633" sldId="2147468925"/>
        </pc:sldMkLst>
        <pc:spChg chg="add mod">
          <ac:chgData name="Tejada, Carmen" userId="4e46fa0d-51a0-4b7a-a6a6-e5b06c9f6d76" providerId="ADAL" clId="{0F93E6D3-7306-4F51-BEDB-FEFB5CF382EB}" dt="2023-02-14T09:30:31.450" v="5223" actId="1076"/>
          <ac:spMkLst>
            <pc:docMk/>
            <pc:sldMk cId="2746920633" sldId="2147468925"/>
            <ac:spMk id="7" creationId="{DC0F25F0-2E7B-4370-80D7-A21A02EDFE07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49" creationId="{16CAFE46-A589-4E1B-A120-15C7CFFA182B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50" creationId="{A20EEDD4-66CD-4E34-90F1-E020A0C7D5C3}"/>
          </ac:spMkLst>
        </pc:spChg>
        <pc:spChg chg="add 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51" creationId="{9EF9EB69-4EB0-45A5-BE10-94708CA94569}"/>
          </ac:spMkLst>
        </pc:spChg>
        <pc:spChg chg="add mod">
          <ac:chgData name="Tejada, Carmen" userId="4e46fa0d-51a0-4b7a-a6a6-e5b06c9f6d76" providerId="ADAL" clId="{0F93E6D3-7306-4F51-BEDB-FEFB5CF382EB}" dt="2023-02-14T09:06:02.185" v="5108" actId="14100"/>
          <ac:spMkLst>
            <pc:docMk/>
            <pc:sldMk cId="2746920633" sldId="2147468925"/>
            <ac:spMk id="55" creationId="{88700403-A337-452A-AD4A-3E517AA0A9F2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56" creationId="{ACD5C0FF-35E3-458E-A3EE-80B7E30331C2}"/>
          </ac:spMkLst>
        </pc:spChg>
        <pc:spChg chg="add mod">
          <ac:chgData name="Tejada, Carmen" userId="4e46fa0d-51a0-4b7a-a6a6-e5b06c9f6d76" providerId="ADAL" clId="{0F93E6D3-7306-4F51-BEDB-FEFB5CF382EB}" dt="2023-02-14T09:31:10.893" v="5256" actId="404"/>
          <ac:spMkLst>
            <pc:docMk/>
            <pc:sldMk cId="2746920633" sldId="2147468925"/>
            <ac:spMk id="57" creationId="{0577616F-E105-487A-AC42-86B75F710917}"/>
          </ac:spMkLst>
        </pc:spChg>
        <pc:spChg chg="mod">
          <ac:chgData name="Tejada, Carmen" userId="4e46fa0d-51a0-4b7a-a6a6-e5b06c9f6d76" providerId="ADAL" clId="{0F93E6D3-7306-4F51-BEDB-FEFB5CF382EB}" dt="2023-02-14T09:14:18.290" v="5111" actId="14100"/>
          <ac:spMkLst>
            <pc:docMk/>
            <pc:sldMk cId="2746920633" sldId="2147468925"/>
            <ac:spMk id="73" creationId="{CAF70200-153B-4F84-A0BB-50DB6C9F787C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76" creationId="{26BE6C97-C4A3-47BE-A509-801E49DFC5F9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77" creationId="{50917C5A-D252-4337-86C1-D11832B1683E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78" creationId="{934BE921-D2D4-4598-9D2F-DE9505A04B86}"/>
          </ac:spMkLst>
        </pc:spChg>
        <pc:spChg chg="del">
          <ac:chgData name="Tejada, Carmen" userId="4e46fa0d-51a0-4b7a-a6a6-e5b06c9f6d76" providerId="ADAL" clId="{0F93E6D3-7306-4F51-BEDB-FEFB5CF382EB}" dt="2023-02-14T08:58:56.695" v="5094" actId="478"/>
          <ac:spMkLst>
            <pc:docMk/>
            <pc:sldMk cId="2746920633" sldId="2147468925"/>
            <ac:spMk id="83" creationId="{D66ED092-1969-4E26-97B0-2E5AEE0CB28F}"/>
          </ac:spMkLst>
        </pc:spChg>
        <pc:spChg chg="del">
          <ac:chgData name="Tejada, Carmen" userId="4e46fa0d-51a0-4b7a-a6a6-e5b06c9f6d76" providerId="ADAL" clId="{0F93E6D3-7306-4F51-BEDB-FEFB5CF382EB}" dt="2023-02-14T08:58:56.695" v="5094" actId="478"/>
          <ac:spMkLst>
            <pc:docMk/>
            <pc:sldMk cId="2746920633" sldId="2147468925"/>
            <ac:spMk id="85" creationId="{FCFAC592-738C-4AB2-A8CA-DB1AD270C67C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89" creationId="{C8E595FC-6615-47B8-ADC4-700045A694FA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90" creationId="{E7262BF8-0759-4427-A2E8-79275EA8C6B2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93" creationId="{2D55BF33-5CFC-46F5-8CD2-5AB831B06011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95" creationId="{031D0A2E-509F-40D6-94B2-7AECB5196211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98" creationId="{D4E97A50-47B7-45D8-B162-6B621F7FCAAE}"/>
          </ac:spMkLst>
        </pc:spChg>
        <pc:spChg chg="mod">
          <ac:chgData name="Tejada, Carmen" userId="4e46fa0d-51a0-4b7a-a6a6-e5b06c9f6d76" providerId="ADAL" clId="{0F93E6D3-7306-4F51-BEDB-FEFB5CF382EB}" dt="2023-02-14T09:28:34.852" v="5174" actId="14100"/>
          <ac:spMkLst>
            <pc:docMk/>
            <pc:sldMk cId="2746920633" sldId="2147468925"/>
            <ac:spMk id="100" creationId="{63B81234-E00E-4EC0-8D80-C41436A174AD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06" creationId="{693E2A51-0B94-4BF3-84CD-56D4E6A6DD9D}"/>
          </ac:spMkLst>
        </pc:spChg>
        <pc:spChg chg="mod">
          <ac:chgData name="Tejada, Carmen" userId="4e46fa0d-51a0-4b7a-a6a6-e5b06c9f6d76" providerId="ADAL" clId="{0F93E6D3-7306-4F51-BEDB-FEFB5CF382EB}" dt="2023-02-14T09:23:14.725" v="5160" actId="20577"/>
          <ac:spMkLst>
            <pc:docMk/>
            <pc:sldMk cId="2746920633" sldId="2147468925"/>
            <ac:spMk id="107" creationId="{33CF1737-E665-45EC-8760-162CA5892489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10" creationId="{57BBEF79-F984-4B40-BBA9-D3A0D8E9029E}"/>
          </ac:spMkLst>
        </pc:spChg>
        <pc:spChg chg="del">
          <ac:chgData name="Tejada, Carmen" userId="4e46fa0d-51a0-4b7a-a6a6-e5b06c9f6d76" providerId="ADAL" clId="{0F93E6D3-7306-4F51-BEDB-FEFB5CF382EB}" dt="2023-02-14T08:56:41.249" v="5062" actId="478"/>
          <ac:spMkLst>
            <pc:docMk/>
            <pc:sldMk cId="2746920633" sldId="2147468925"/>
            <ac:spMk id="111" creationId="{23170D1B-0534-4ADA-94D8-C71AA6A204F2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14" creationId="{8A7C9274-0F6D-4846-92E9-76BE09767A31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15" creationId="{E08772E0-B1DE-4CDD-B419-D702B041F296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16" creationId="{6865B330-E98F-4C88-AA84-6253DF5C74F6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18" creationId="{0624C68F-237B-45F3-8779-72D6035CE870}"/>
          </ac:spMkLst>
        </pc:spChg>
        <pc:spChg chg="mod">
          <ac:chgData name="Tejada, Carmen" userId="4e46fa0d-51a0-4b7a-a6a6-e5b06c9f6d76" providerId="ADAL" clId="{0F93E6D3-7306-4F51-BEDB-FEFB5CF382EB}" dt="2023-02-14T09:14:25.128" v="5118" actId="1038"/>
          <ac:spMkLst>
            <pc:docMk/>
            <pc:sldMk cId="2746920633" sldId="2147468925"/>
            <ac:spMk id="123" creationId="{00D0E962-493C-4B4F-AEB8-E230EE65375D}"/>
          </ac:spMkLst>
        </pc:spChg>
        <pc:spChg chg="del mod">
          <ac:chgData name="Tejada, Carmen" userId="4e46fa0d-51a0-4b7a-a6a6-e5b06c9f6d76" providerId="ADAL" clId="{0F93E6D3-7306-4F51-BEDB-FEFB5CF382EB}" dt="2023-02-14T08:56:33.872" v="5061" actId="478"/>
          <ac:spMkLst>
            <pc:docMk/>
            <pc:sldMk cId="2746920633" sldId="2147468925"/>
            <ac:spMk id="125" creationId="{81403EB0-A05B-4196-9917-E639674BAF43}"/>
          </ac:spMkLst>
        </pc:spChg>
        <pc:graphicFrameChg chg="mod">
          <ac:chgData name="Tejada, Carmen" userId="4e46fa0d-51a0-4b7a-a6a6-e5b06c9f6d76" providerId="ADAL" clId="{0F93E6D3-7306-4F51-BEDB-FEFB5CF382EB}" dt="2023-02-14T09:30:26.650" v="5221"/>
          <ac:graphicFrameMkLst>
            <pc:docMk/>
            <pc:sldMk cId="2746920633" sldId="2147468925"/>
            <ac:graphicFrameMk id="4" creationId="{7569AC24-D204-49E9-88C7-8DCC12F09696}"/>
          </ac:graphicFrameMkLst>
        </pc:graphicFrame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79" creationId="{6A9EDEBF-33E0-4A60-9951-45DA6581AF82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80" creationId="{BFEDA719-B3FA-4755-93E6-A16871DE3192}"/>
          </ac:picMkLst>
        </pc:picChg>
        <pc:picChg chg="del">
          <ac:chgData name="Tejada, Carmen" userId="4e46fa0d-51a0-4b7a-a6a6-e5b06c9f6d76" providerId="ADAL" clId="{0F93E6D3-7306-4F51-BEDB-FEFB5CF382EB}" dt="2023-02-14T08:56:43.817" v="5063" actId="478"/>
          <ac:picMkLst>
            <pc:docMk/>
            <pc:sldMk cId="2746920633" sldId="2147468925"/>
            <ac:picMk id="87" creationId="{8A5D75DB-6906-4636-A721-38957366558E}"/>
          </ac:picMkLst>
        </pc:picChg>
        <pc:picChg chg="del">
          <ac:chgData name="Tejada, Carmen" userId="4e46fa0d-51a0-4b7a-a6a6-e5b06c9f6d76" providerId="ADAL" clId="{0F93E6D3-7306-4F51-BEDB-FEFB5CF382EB}" dt="2023-02-14T08:56:44.874" v="5064" actId="478"/>
          <ac:picMkLst>
            <pc:docMk/>
            <pc:sldMk cId="2746920633" sldId="2147468925"/>
            <ac:picMk id="88" creationId="{F70200DB-1C7A-40C1-94FA-8E310365D9EF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92" creationId="{169BB649-B8AA-4E0E-AD8B-AD1C2496B555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94" creationId="{B8FAEB7B-E3CE-47C0-8FFB-2149494E47D3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96" creationId="{A6A90873-34CB-4CC1-8E50-1BBB0957FA6B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97" creationId="{CCF3143E-2E8E-4962-A72E-E9D36159629D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102" creationId="{CE1B84EE-CB11-46F2-A023-18FD26BE8233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109" creationId="{ACF2586E-E03D-4E15-8732-66616237E99F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113" creationId="{E328DF77-B463-4344-A7C9-62F4AAB9C32B}"/>
          </ac:picMkLst>
        </pc:picChg>
        <pc:picChg chg="mod">
          <ac:chgData name="Tejada, Carmen" userId="4e46fa0d-51a0-4b7a-a6a6-e5b06c9f6d76" providerId="ADAL" clId="{0F93E6D3-7306-4F51-BEDB-FEFB5CF382EB}" dt="2023-02-14T09:14:25.128" v="5118" actId="1038"/>
          <ac:picMkLst>
            <pc:docMk/>
            <pc:sldMk cId="2746920633" sldId="2147468925"/>
            <ac:picMk id="117" creationId="{58AA03ED-DF8A-41BE-9E62-20A2CE3716C4}"/>
          </ac:picMkLst>
        </pc:picChg>
        <pc:cxnChg chg="mod">
          <ac:chgData name="Tejada, Carmen" userId="4e46fa0d-51a0-4b7a-a6a6-e5b06c9f6d76" providerId="ADAL" clId="{0F93E6D3-7306-4F51-BEDB-FEFB5CF382EB}" dt="2023-02-14T09:14:25.128" v="5118" actId="1038"/>
          <ac:cxnSpMkLst>
            <pc:docMk/>
            <pc:sldMk cId="2746920633" sldId="2147468925"/>
            <ac:cxnSpMk id="21" creationId="{B2C98441-E5EF-4347-B6E9-49A6E13DA1C6}"/>
          </ac:cxnSpMkLst>
        </pc:cxnChg>
        <pc:cxnChg chg="mod">
          <ac:chgData name="Tejada, Carmen" userId="4e46fa0d-51a0-4b7a-a6a6-e5b06c9f6d76" providerId="ADAL" clId="{0F93E6D3-7306-4F51-BEDB-FEFB5CF382EB}" dt="2023-02-14T09:14:25.128" v="5118" actId="1038"/>
          <ac:cxnSpMkLst>
            <pc:docMk/>
            <pc:sldMk cId="2746920633" sldId="2147468925"/>
            <ac:cxnSpMk id="24" creationId="{28AE0AA7-FA97-4D3F-8DFF-6AF321589306}"/>
          </ac:cxnSpMkLst>
        </pc:cxnChg>
        <pc:cxnChg chg="mod">
          <ac:chgData name="Tejada, Carmen" userId="4e46fa0d-51a0-4b7a-a6a6-e5b06c9f6d76" providerId="ADAL" clId="{0F93E6D3-7306-4F51-BEDB-FEFB5CF382EB}" dt="2023-02-14T09:14:25.128" v="5118" actId="1038"/>
          <ac:cxnSpMkLst>
            <pc:docMk/>
            <pc:sldMk cId="2746920633" sldId="2147468925"/>
            <ac:cxnSpMk id="28" creationId="{80B7B48C-05D7-46D0-80F4-14B026159031}"/>
          </ac:cxnSpMkLst>
        </pc:cxnChg>
        <pc:cxnChg chg="del">
          <ac:chgData name="Tejada, Carmen" userId="4e46fa0d-51a0-4b7a-a6a6-e5b06c9f6d76" providerId="ADAL" clId="{0F93E6D3-7306-4F51-BEDB-FEFB5CF382EB}" dt="2023-02-14T08:58:56.695" v="5094" actId="478"/>
          <ac:cxnSpMkLst>
            <pc:docMk/>
            <pc:sldMk cId="2746920633" sldId="2147468925"/>
            <ac:cxnSpMk id="86" creationId="{A20BF166-80C8-443D-BB76-B09373FF9736}"/>
          </ac:cxnSpMkLst>
        </pc:cxnChg>
        <pc:cxnChg chg="mod">
          <ac:chgData name="Tejada, Carmen" userId="4e46fa0d-51a0-4b7a-a6a6-e5b06c9f6d76" providerId="ADAL" clId="{0F93E6D3-7306-4F51-BEDB-FEFB5CF382EB}" dt="2023-02-14T09:23:19.748" v="5161" actId="1076"/>
          <ac:cxnSpMkLst>
            <pc:docMk/>
            <pc:sldMk cId="2746920633" sldId="2147468925"/>
            <ac:cxnSpMk id="101" creationId="{00DBD799-ADB6-4964-9B5A-3B6A375644C5}"/>
          </ac:cxnSpMkLst>
        </pc:cxnChg>
      </pc:sldChg>
      <pc:sldChg chg="addSp delSp modSp add del mod">
        <pc:chgData name="Tejada, Carmen" userId="4e46fa0d-51a0-4b7a-a6a6-e5b06c9f6d76" providerId="ADAL" clId="{0F93E6D3-7306-4F51-BEDB-FEFB5CF382EB}" dt="2023-02-14T08:58:32.922" v="5089" actId="1076"/>
        <pc:sldMkLst>
          <pc:docMk/>
          <pc:sldMk cId="2567192912" sldId="2147468926"/>
        </pc:sldMkLst>
        <pc:spChg chg="add mod">
          <ac:chgData name="Tejada, Carmen" userId="4e46fa0d-51a0-4b7a-a6a6-e5b06c9f6d76" providerId="ADAL" clId="{0F93E6D3-7306-4F51-BEDB-FEFB5CF382EB}" dt="2023-02-14T08:57:56.077" v="5078" actId="14100"/>
          <ac:spMkLst>
            <pc:docMk/>
            <pc:sldMk cId="2567192912" sldId="2147468926"/>
            <ac:spMk id="14" creationId="{38C35ACF-F68A-43E9-B657-273E766B4A44}"/>
          </ac:spMkLst>
        </pc:spChg>
        <pc:spChg chg="add mod">
          <ac:chgData name="Tejada, Carmen" userId="4e46fa0d-51a0-4b7a-a6a6-e5b06c9f6d76" providerId="ADAL" clId="{0F93E6D3-7306-4F51-BEDB-FEFB5CF382EB}" dt="2023-02-14T08:58:32.922" v="5089" actId="1076"/>
          <ac:spMkLst>
            <pc:docMk/>
            <pc:sldMk cId="2567192912" sldId="2147468926"/>
            <ac:spMk id="17" creationId="{F9C3BD7C-474D-4DB9-882A-DF09FED3260E}"/>
          </ac:spMkLst>
        </pc:spChg>
        <pc:picChg chg="add del mod">
          <ac:chgData name="Tejada, Carmen" userId="4e46fa0d-51a0-4b7a-a6a6-e5b06c9f6d76" providerId="ADAL" clId="{0F93E6D3-7306-4F51-BEDB-FEFB5CF382EB}" dt="2023-02-14T08:58:20.728" v="5087"/>
          <ac:picMkLst>
            <pc:docMk/>
            <pc:sldMk cId="2567192912" sldId="2147468926"/>
            <ac:picMk id="16" creationId="{0CACF183-DB7A-4410-BBDD-97FD7E006B6C}"/>
          </ac:picMkLst>
        </pc:picChg>
        <pc:picChg chg="mod">
          <ac:chgData name="Tejada, Carmen" userId="4e46fa0d-51a0-4b7a-a6a6-e5b06c9f6d76" providerId="ADAL" clId="{0F93E6D3-7306-4F51-BEDB-FEFB5CF382EB}" dt="2023-02-14T08:57:58.672" v="5084" actId="1038"/>
          <ac:picMkLst>
            <pc:docMk/>
            <pc:sldMk cId="2567192912" sldId="2147468926"/>
            <ac:picMk id="46" creationId="{C77BC187-CD30-4A82-997C-E03E75CF0C02}"/>
          </ac:picMkLst>
        </pc:picChg>
        <pc:picChg chg="mod">
          <ac:chgData name="Tejada, Carmen" userId="4e46fa0d-51a0-4b7a-a6a6-e5b06c9f6d76" providerId="ADAL" clId="{0F93E6D3-7306-4F51-BEDB-FEFB5CF382EB}" dt="2023-02-14T08:57:49.707" v="5076" actId="1076"/>
          <ac:picMkLst>
            <pc:docMk/>
            <pc:sldMk cId="2567192912" sldId="2147468926"/>
            <ac:picMk id="47" creationId="{2F1742B3-E73F-4FC8-9DD9-47BA67325CAE}"/>
          </ac:picMkLst>
        </pc:picChg>
        <pc:picChg chg="mod">
          <ac:chgData name="Tejada, Carmen" userId="4e46fa0d-51a0-4b7a-a6a6-e5b06c9f6d76" providerId="ADAL" clId="{0F93E6D3-7306-4F51-BEDB-FEFB5CF382EB}" dt="2023-02-14T08:58:04.091" v="5085" actId="1076"/>
          <ac:picMkLst>
            <pc:docMk/>
            <pc:sldMk cId="2567192912" sldId="2147468926"/>
            <ac:picMk id="51" creationId="{16A6420D-A82C-4FEF-BC21-DA458DB38C50}"/>
          </ac:picMkLst>
        </pc:picChg>
        <pc:cxnChg chg="add mod">
          <ac:chgData name="Tejada, Carmen" userId="4e46fa0d-51a0-4b7a-a6a6-e5b06c9f6d76" providerId="ADAL" clId="{0F93E6D3-7306-4F51-BEDB-FEFB5CF382EB}" dt="2023-02-14T08:57:00.754" v="5066" actId="1076"/>
          <ac:cxnSpMkLst>
            <pc:docMk/>
            <pc:sldMk cId="2567192912" sldId="2147468926"/>
            <ac:cxnSpMk id="15" creationId="{3FF0A7E5-3626-4B09-9978-C812A3901FDC}"/>
          </ac:cxnSpMkLst>
        </pc:cxnChg>
      </pc:sldChg>
      <pc:sldChg chg="modSp add mod">
        <pc:chgData name="Tejada, Carmen" userId="4e46fa0d-51a0-4b7a-a6a6-e5b06c9f6d76" providerId="ADAL" clId="{0F93E6D3-7306-4F51-BEDB-FEFB5CF382EB}" dt="2023-02-13T18:18:33.486" v="1422" actId="20577"/>
        <pc:sldMkLst>
          <pc:docMk/>
          <pc:sldMk cId="2627694641" sldId="2147468927"/>
        </pc:sldMkLst>
        <pc:spChg chg="mod">
          <ac:chgData name="Tejada, Carmen" userId="4e46fa0d-51a0-4b7a-a6a6-e5b06c9f6d76" providerId="ADAL" clId="{0F93E6D3-7306-4F51-BEDB-FEFB5CF382EB}" dt="2023-02-13T18:18:33.486" v="1422" actId="20577"/>
          <ac:spMkLst>
            <pc:docMk/>
            <pc:sldMk cId="2627694641" sldId="2147468927"/>
            <ac:spMk id="8" creationId="{862D3331-0F5A-4344-9277-E609CEE8AAEF}"/>
          </ac:spMkLst>
        </pc:spChg>
      </pc:sldChg>
      <pc:sldChg chg="add">
        <pc:chgData name="Tejada, Carmen" userId="4e46fa0d-51a0-4b7a-a6a6-e5b06c9f6d76" providerId="ADAL" clId="{0F93E6D3-7306-4F51-BEDB-FEFB5CF382EB}" dt="2023-02-13T18:31:48.643" v="1852"/>
        <pc:sldMkLst>
          <pc:docMk/>
          <pc:sldMk cId="4217499756" sldId="2147468928"/>
        </pc:sldMkLst>
      </pc:sldChg>
      <pc:sldChg chg="add">
        <pc:chgData name="Tejada, Carmen" userId="4e46fa0d-51a0-4b7a-a6a6-e5b06c9f6d76" providerId="ADAL" clId="{0F93E6D3-7306-4F51-BEDB-FEFB5CF382EB}" dt="2023-02-13T18:31:48.643" v="1852"/>
        <pc:sldMkLst>
          <pc:docMk/>
          <pc:sldMk cId="2757120923" sldId="2147468929"/>
        </pc:sldMkLst>
      </pc:sldChg>
      <pc:sldChg chg="modSp add mod">
        <pc:chgData name="Tejada, Carmen" userId="4e46fa0d-51a0-4b7a-a6a6-e5b06c9f6d76" providerId="ADAL" clId="{0F93E6D3-7306-4F51-BEDB-FEFB5CF382EB}" dt="2023-02-14T09:27:16.440" v="5170" actId="408"/>
        <pc:sldMkLst>
          <pc:docMk/>
          <pc:sldMk cId="1827812938" sldId="2147468930"/>
        </pc:sldMkLst>
        <pc:spChg chg="mod">
          <ac:chgData name="Tejada, Carmen" userId="4e46fa0d-51a0-4b7a-a6a6-e5b06c9f6d76" providerId="ADAL" clId="{0F93E6D3-7306-4F51-BEDB-FEFB5CF382EB}" dt="2023-02-14T09:27:16.440" v="5170" actId="408"/>
          <ac:spMkLst>
            <pc:docMk/>
            <pc:sldMk cId="1827812938" sldId="2147468930"/>
            <ac:spMk id="98" creationId="{D4E97A50-47B7-45D8-B162-6B621F7FCAAE}"/>
          </ac:spMkLst>
        </pc:spChg>
        <pc:spChg chg="mod">
          <ac:chgData name="Tejada, Carmen" userId="4e46fa0d-51a0-4b7a-a6a6-e5b06c9f6d76" providerId="ADAL" clId="{0F93E6D3-7306-4F51-BEDB-FEFB5CF382EB}" dt="2023-02-14T09:27:01.571" v="5167" actId="14100"/>
          <ac:spMkLst>
            <pc:docMk/>
            <pc:sldMk cId="1827812938" sldId="2147468930"/>
            <ac:spMk id="118" creationId="{0624C68F-237B-45F3-8779-72D6035CE870}"/>
          </ac:spMkLst>
        </pc:spChg>
        <pc:spChg chg="mod">
          <ac:chgData name="Tejada, Carmen" userId="4e46fa0d-51a0-4b7a-a6a6-e5b06c9f6d76" providerId="ADAL" clId="{0F93E6D3-7306-4F51-BEDB-FEFB5CF382EB}" dt="2023-02-14T09:27:11.361" v="5169" actId="465"/>
          <ac:spMkLst>
            <pc:docMk/>
            <pc:sldMk cId="1827812938" sldId="2147468930"/>
            <ac:spMk id="123" creationId="{00D0E962-493C-4B4F-AEB8-E230EE65375D}"/>
          </ac:spMkLst>
        </pc:spChg>
        <pc:picChg chg="mod">
          <ac:chgData name="Tejada, Carmen" userId="4e46fa0d-51a0-4b7a-a6a6-e5b06c9f6d76" providerId="ADAL" clId="{0F93E6D3-7306-4F51-BEDB-FEFB5CF382EB}" dt="2023-02-14T09:25:14.331" v="5162" actId="1076"/>
          <ac:picMkLst>
            <pc:docMk/>
            <pc:sldMk cId="1827812938" sldId="2147468930"/>
            <ac:picMk id="112" creationId="{21485437-23EA-4462-A5DA-1D17DC38E68B}"/>
          </ac:picMkLst>
        </pc:picChg>
        <pc:picChg chg="mod">
          <ac:chgData name="Tejada, Carmen" userId="4e46fa0d-51a0-4b7a-a6a6-e5b06c9f6d76" providerId="ADAL" clId="{0F93E6D3-7306-4F51-BEDB-FEFB5CF382EB}" dt="2023-02-14T09:25:19.693" v="5163" actId="1076"/>
          <ac:picMkLst>
            <pc:docMk/>
            <pc:sldMk cId="1827812938" sldId="2147468930"/>
            <ac:picMk id="124" creationId="{D9673F34-0050-4F3C-AE22-8223A2194C0A}"/>
          </ac:picMkLst>
        </pc:picChg>
      </pc:sldChg>
      <pc:sldChg chg="add">
        <pc:chgData name="Tejada, Carmen" userId="4e46fa0d-51a0-4b7a-a6a6-e5b06c9f6d76" providerId="ADAL" clId="{0F93E6D3-7306-4F51-BEDB-FEFB5CF382EB}" dt="2023-02-13T18:31:48.643" v="1852"/>
        <pc:sldMkLst>
          <pc:docMk/>
          <pc:sldMk cId="1951436750" sldId="2147468931"/>
        </pc:sldMkLst>
      </pc:sldChg>
      <pc:sldChg chg="addSp delSp modSp add mod">
        <pc:chgData name="Tejada, Carmen" userId="4e46fa0d-51a0-4b7a-a6a6-e5b06c9f6d76" providerId="ADAL" clId="{0F93E6D3-7306-4F51-BEDB-FEFB5CF382EB}" dt="2023-02-14T09:32:42.037" v="5291" actId="478"/>
        <pc:sldMkLst>
          <pc:docMk/>
          <pc:sldMk cId="1490681093" sldId="2147468932"/>
        </pc:sldMkLst>
        <pc:spChg chg="add del">
          <ac:chgData name="Tejada, Carmen" userId="4e46fa0d-51a0-4b7a-a6a6-e5b06c9f6d76" providerId="ADAL" clId="{0F93E6D3-7306-4F51-BEDB-FEFB5CF382EB}" dt="2023-02-14T09:32:42.037" v="5291" actId="478"/>
          <ac:spMkLst>
            <pc:docMk/>
            <pc:sldMk cId="1490681093" sldId="2147468932"/>
            <ac:spMk id="22" creationId="{ACB1CC3D-65C4-40DB-8465-87E82EC09EF1}"/>
          </ac:spMkLst>
        </pc:spChg>
        <pc:spChg chg="mod">
          <ac:chgData name="Tejada, Carmen" userId="4e46fa0d-51a0-4b7a-a6a6-e5b06c9f6d76" providerId="ADAL" clId="{0F93E6D3-7306-4F51-BEDB-FEFB5CF382EB}" dt="2023-02-13T18:32:01.965" v="1853" actId="20577"/>
          <ac:spMkLst>
            <pc:docMk/>
            <pc:sldMk cId="1490681093" sldId="2147468932"/>
            <ac:spMk id="57" creationId="{B0EE36C4-E1B5-4459-A8D1-53152D60A4FD}"/>
          </ac:spMkLst>
        </pc:spChg>
        <pc:spChg chg="mod">
          <ac:chgData name="Tejada, Carmen" userId="4e46fa0d-51a0-4b7a-a6a6-e5b06c9f6d76" providerId="ADAL" clId="{0F93E6D3-7306-4F51-BEDB-FEFB5CF382EB}" dt="2023-02-13T18:34:16.452" v="2096" actId="20577"/>
          <ac:spMkLst>
            <pc:docMk/>
            <pc:sldMk cId="1490681093" sldId="2147468932"/>
            <ac:spMk id="120" creationId="{04EADD87-D2A2-4C9B-AB9F-28A609B3CD6C}"/>
          </ac:spMkLst>
        </pc:spChg>
      </pc:sldChg>
      <pc:sldChg chg="add">
        <pc:chgData name="Tejada, Carmen" userId="4e46fa0d-51a0-4b7a-a6a6-e5b06c9f6d76" providerId="ADAL" clId="{0F93E6D3-7306-4F51-BEDB-FEFB5CF382EB}" dt="2023-02-13T18:31:48.643" v="1852"/>
        <pc:sldMkLst>
          <pc:docMk/>
          <pc:sldMk cId="3812878244" sldId="2147468933"/>
        </pc:sldMkLst>
      </pc:sldChg>
      <pc:sldChg chg="addSp delSp modSp add mod">
        <pc:chgData name="Tejada, Carmen" userId="4e46fa0d-51a0-4b7a-a6a6-e5b06c9f6d76" providerId="ADAL" clId="{0F93E6D3-7306-4F51-BEDB-FEFB5CF382EB}" dt="2023-02-13T21:12:35.177" v="4211"/>
        <pc:sldMkLst>
          <pc:docMk/>
          <pc:sldMk cId="1125194592" sldId="2147468934"/>
        </pc:sldMkLst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3" creationId="{830D324D-2706-4228-8144-6CE028C2DF1D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4" creationId="{F2756C86-9660-4710-B44C-45095A3EADEC}"/>
          </ac:spMkLst>
        </pc:spChg>
        <pc:spChg chg="add mod">
          <ac:chgData name="Tejada, Carmen" userId="4e46fa0d-51a0-4b7a-a6a6-e5b06c9f6d76" providerId="ADAL" clId="{0F93E6D3-7306-4F51-BEDB-FEFB5CF382EB}" dt="2023-02-13T20:42:03.522" v="3111"/>
          <ac:spMkLst>
            <pc:docMk/>
            <pc:sldMk cId="1125194592" sldId="2147468934"/>
            <ac:spMk id="47" creationId="{93FB2093-D0BF-4354-A627-428750C72B88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52" creationId="{9F407F65-85E9-41C0-9E91-9337618D32D9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57" creationId="{9764327B-0382-42B7-8C65-C222DE6E2326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58" creationId="{A707D47E-B1B5-45F6-81D7-2B146952DBAF}"/>
          </ac:spMkLst>
        </pc:spChg>
        <pc:spChg chg="mod">
          <ac:chgData name="Tejada, Carmen" userId="4e46fa0d-51a0-4b7a-a6a6-e5b06c9f6d76" providerId="ADAL" clId="{0F93E6D3-7306-4F51-BEDB-FEFB5CF382EB}" dt="2023-02-13T20:53:30.897" v="3415" actId="554"/>
          <ac:spMkLst>
            <pc:docMk/>
            <pc:sldMk cId="1125194592" sldId="2147468934"/>
            <ac:spMk id="59" creationId="{B60C1F3D-0B60-4B53-B1A3-A84AE53E0008}"/>
          </ac:spMkLst>
        </pc:spChg>
        <pc:spChg chg="mod">
          <ac:chgData name="Tejada, Carmen" userId="4e46fa0d-51a0-4b7a-a6a6-e5b06c9f6d76" providerId="ADAL" clId="{0F93E6D3-7306-4F51-BEDB-FEFB5CF382EB}" dt="2023-02-13T21:11:11.309" v="4154"/>
          <ac:spMkLst>
            <pc:docMk/>
            <pc:sldMk cId="1125194592" sldId="2147468934"/>
            <ac:spMk id="63" creationId="{2693744E-88CD-44C1-8211-E07A056B9E3A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65" creationId="{753D5192-BEF6-4975-80BE-ADC21FBF8F98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67" creationId="{84EE57D6-739B-4C91-80B0-D5F779E60059}"/>
          </ac:spMkLst>
        </pc:spChg>
        <pc:spChg chg="mod">
          <ac:chgData name="Tejada, Carmen" userId="4e46fa0d-51a0-4b7a-a6a6-e5b06c9f6d76" providerId="ADAL" clId="{0F93E6D3-7306-4F51-BEDB-FEFB5CF382EB}" dt="2023-02-13T20:53:30.897" v="3415" actId="554"/>
          <ac:spMkLst>
            <pc:docMk/>
            <pc:sldMk cId="1125194592" sldId="2147468934"/>
            <ac:spMk id="68" creationId="{2854DE08-B65C-437B-8DB4-7EA2C8A45004}"/>
          </ac:spMkLst>
        </pc:spChg>
        <pc:spChg chg="mod">
          <ac:chgData name="Tejada, Carmen" userId="4e46fa0d-51a0-4b7a-a6a6-e5b06c9f6d76" providerId="ADAL" clId="{0F93E6D3-7306-4F51-BEDB-FEFB5CF382EB}" dt="2023-02-13T20:53:15.750" v="3414" actId="20577"/>
          <ac:spMkLst>
            <pc:docMk/>
            <pc:sldMk cId="1125194592" sldId="2147468934"/>
            <ac:spMk id="69" creationId="{A55A4CB3-50F8-4811-8549-241FB732D8D4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72" creationId="{8B6C62E9-9A96-4175-B331-8FF6044D82FF}"/>
          </ac:spMkLst>
        </pc:spChg>
        <pc:spChg chg="mod">
          <ac:chgData name="Tejada, Carmen" userId="4e46fa0d-51a0-4b7a-a6a6-e5b06c9f6d76" providerId="ADAL" clId="{0F93E6D3-7306-4F51-BEDB-FEFB5CF382EB}" dt="2023-02-13T20:47:41.128" v="3139" actId="1076"/>
          <ac:spMkLst>
            <pc:docMk/>
            <pc:sldMk cId="1125194592" sldId="2147468934"/>
            <ac:spMk id="73" creationId="{491EE23C-78FB-4E82-9E72-40C8A1DE4E50}"/>
          </ac:spMkLst>
        </pc:spChg>
        <pc:spChg chg="mod">
          <ac:chgData name="Tejada, Carmen" userId="4e46fa0d-51a0-4b7a-a6a6-e5b06c9f6d76" providerId="ADAL" clId="{0F93E6D3-7306-4F51-BEDB-FEFB5CF382EB}" dt="2023-02-13T20:53:30.897" v="3415" actId="554"/>
          <ac:spMkLst>
            <pc:docMk/>
            <pc:sldMk cId="1125194592" sldId="2147468934"/>
            <ac:spMk id="74" creationId="{6AD4D76B-2C0A-4A2E-99E2-8DD33A766BB7}"/>
          </ac:spMkLst>
        </pc:spChg>
        <pc:spChg chg="mod">
          <ac:chgData name="Tejada, Carmen" userId="4e46fa0d-51a0-4b7a-a6a6-e5b06c9f6d76" providerId="ADAL" clId="{0F93E6D3-7306-4F51-BEDB-FEFB5CF382EB}" dt="2023-02-13T21:12:35.177" v="4211"/>
          <ac:spMkLst>
            <pc:docMk/>
            <pc:sldMk cId="1125194592" sldId="2147468934"/>
            <ac:spMk id="75" creationId="{1B787DFA-FD49-4BF2-B543-A019CA7A6609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77" creationId="{6766594E-9070-40D1-AE00-C688E6C1B00A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79" creationId="{AFCD7D85-1616-4189-ADD3-C9AA7527AF5F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80" creationId="{CAE208B1-7119-4A13-8F43-0E0BDA5AF0D5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81" creationId="{7D8D3BD2-2841-4D9A-84DA-CAE6F1F67844}"/>
          </ac:spMkLst>
        </pc:spChg>
        <pc:spChg chg="mod">
          <ac:chgData name="Tejada, Carmen" userId="4e46fa0d-51a0-4b7a-a6a6-e5b06c9f6d76" providerId="ADAL" clId="{0F93E6D3-7306-4F51-BEDB-FEFB5CF382EB}" dt="2023-02-13T20:40:11.836" v="3090"/>
          <ac:spMkLst>
            <pc:docMk/>
            <pc:sldMk cId="1125194592" sldId="2147468934"/>
            <ac:spMk id="86" creationId="{654847C7-6569-41C0-B82F-BE4C6DEB1C34}"/>
          </ac:spMkLst>
        </pc:spChg>
        <pc:spChg chg="mod">
          <ac:chgData name="Tejada, Carmen" userId="4e46fa0d-51a0-4b7a-a6a6-e5b06c9f6d76" providerId="ADAL" clId="{0F93E6D3-7306-4F51-BEDB-FEFB5CF382EB}" dt="2023-02-13T20:40:11.836" v="3090"/>
          <ac:spMkLst>
            <pc:docMk/>
            <pc:sldMk cId="1125194592" sldId="2147468934"/>
            <ac:spMk id="87" creationId="{151FCDB8-6EA9-41E4-BC08-0EDE145C69A4}"/>
          </ac:spMkLst>
        </pc:spChg>
        <pc:spChg chg="mod">
          <ac:chgData name="Tejada, Carmen" userId="4e46fa0d-51a0-4b7a-a6a6-e5b06c9f6d76" providerId="ADAL" clId="{0F93E6D3-7306-4F51-BEDB-FEFB5CF382EB}" dt="2023-02-13T20:40:11.836" v="3090"/>
          <ac:spMkLst>
            <pc:docMk/>
            <pc:sldMk cId="1125194592" sldId="2147468934"/>
            <ac:spMk id="88" creationId="{F9A53178-2569-4307-B92E-A016298C9D4E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89" creationId="{1378EE0C-C147-43F1-9247-E63B4EE27E69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90" creationId="{D167ACE8-7DF2-4CCB-A302-F39A9CFC7114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91" creationId="{CC799481-EA71-445E-BFA6-7B5D36759DA0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93" creationId="{A5F47396-8427-4137-AE3D-AC68AC1581AC}"/>
          </ac:spMkLst>
        </pc:spChg>
        <pc:spChg chg="mod">
          <ac:chgData name="Tejada, Carmen" userId="4e46fa0d-51a0-4b7a-a6a6-e5b06c9f6d76" providerId="ADAL" clId="{0F93E6D3-7306-4F51-BEDB-FEFB5CF382EB}" dt="2023-02-13T20:53:30.897" v="3415" actId="554"/>
          <ac:spMkLst>
            <pc:docMk/>
            <pc:sldMk cId="1125194592" sldId="2147468934"/>
            <ac:spMk id="94" creationId="{7E814C6C-0191-4809-9645-C7FEC000D7CF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98" creationId="{B2F3DA96-FD77-496F-9517-3E661AC7DF4D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99" creationId="{420EFBC0-56E5-4EF1-8605-18178D55153B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0" creationId="{65A8290F-3185-484D-A3F8-6BF4FD8D5663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1" creationId="{B2B664E4-52F6-45E9-83E9-F8EFA4AD13F1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3" creationId="{62E6979C-90B5-4A51-95C9-7C13B2143E2C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4" creationId="{3C4A6133-B394-4EA3-AFA8-C03CFDAA0A75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5" creationId="{227FCF6A-7BF8-4278-8815-0E1FAE72B96E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06" creationId="{5B1DF375-C8C3-4B51-9576-5F914CD87B55}"/>
          </ac:spMkLst>
        </pc:spChg>
        <pc:spChg chg="del mod">
          <ac:chgData name="Tejada, Carmen" userId="4e46fa0d-51a0-4b7a-a6a6-e5b06c9f6d76" providerId="ADAL" clId="{0F93E6D3-7306-4F51-BEDB-FEFB5CF382EB}" dt="2023-02-13T20:40:20.875" v="3091" actId="478"/>
          <ac:spMkLst>
            <pc:docMk/>
            <pc:sldMk cId="1125194592" sldId="2147468934"/>
            <ac:spMk id="110" creationId="{88148C08-9C80-43D5-B63A-A6A1E40DEB3A}"/>
          </ac:spMkLst>
        </pc:spChg>
        <pc:grpChg chg="mod">
          <ac:chgData name="Tejada, Carmen" userId="4e46fa0d-51a0-4b7a-a6a6-e5b06c9f6d76" providerId="ADAL" clId="{0F93E6D3-7306-4F51-BEDB-FEFB5CF382EB}" dt="2023-02-13T20:40:11.836" v="3090"/>
          <ac:grpSpMkLst>
            <pc:docMk/>
            <pc:sldMk cId="1125194592" sldId="2147468934"/>
            <ac:grpSpMk id="1" creationId="{00000000-0000-0000-0000-000000000000}"/>
          </ac:grpSpMkLst>
        </pc:grpChg>
        <pc:graphicFrameChg chg="mod">
          <ac:chgData name="Tejada, Carmen" userId="4e46fa0d-51a0-4b7a-a6a6-e5b06c9f6d76" providerId="ADAL" clId="{0F93E6D3-7306-4F51-BEDB-FEFB5CF382EB}" dt="2023-02-13T20:40:11.836" v="3090"/>
          <ac:graphicFrameMkLst>
            <pc:docMk/>
            <pc:sldMk cId="1125194592" sldId="2147468934"/>
            <ac:graphicFrameMk id="5" creationId="{A710DDCD-9D7A-468A-BC05-724DF1DC6F53}"/>
          </ac:graphicFrameMkLst>
        </pc:graphicFrameChg>
        <pc:picChg chg="mod">
          <ac:chgData name="Tejada, Carmen" userId="4e46fa0d-51a0-4b7a-a6a6-e5b06c9f6d76" providerId="ADAL" clId="{0F93E6D3-7306-4F51-BEDB-FEFB5CF382EB}" dt="2023-02-13T20:47:41.128" v="3139" actId="1076"/>
          <ac:picMkLst>
            <pc:docMk/>
            <pc:sldMk cId="1125194592" sldId="2147468934"/>
            <ac:picMk id="8" creationId="{0ADBF229-2D10-4CDE-ADC4-AAC163F2AE21}"/>
          </ac:picMkLst>
        </pc:picChg>
        <pc:picChg chg="mod">
          <ac:chgData name="Tejada, Carmen" userId="4e46fa0d-51a0-4b7a-a6a6-e5b06c9f6d76" providerId="ADAL" clId="{0F93E6D3-7306-4F51-BEDB-FEFB5CF382EB}" dt="2023-02-13T20:47:41.128" v="3139" actId="1076"/>
          <ac:picMkLst>
            <pc:docMk/>
            <pc:sldMk cId="1125194592" sldId="2147468934"/>
            <ac:picMk id="10" creationId="{21ED9C83-BEB1-4881-9489-0E7C6B0A47DA}"/>
          </ac:picMkLst>
        </pc:picChg>
        <pc:picChg chg="mod">
          <ac:chgData name="Tejada, Carmen" userId="4e46fa0d-51a0-4b7a-a6a6-e5b06c9f6d76" providerId="ADAL" clId="{0F93E6D3-7306-4F51-BEDB-FEFB5CF382EB}" dt="2023-02-13T20:47:41.128" v="3139" actId="1076"/>
          <ac:picMkLst>
            <pc:docMk/>
            <pc:sldMk cId="1125194592" sldId="2147468934"/>
            <ac:picMk id="11" creationId="{8C81CE49-A655-4873-BCB4-90B702E6AA9E}"/>
          </ac:picMkLst>
        </pc:picChg>
        <pc:picChg chg="add del mod">
          <ac:chgData name="Tejada, Carmen" userId="4e46fa0d-51a0-4b7a-a6a6-e5b06c9f6d76" providerId="ADAL" clId="{0F93E6D3-7306-4F51-BEDB-FEFB5CF382EB}" dt="2023-02-13T21:12:33.349" v="4210" actId="478"/>
          <ac:picMkLst>
            <pc:docMk/>
            <pc:sldMk cId="1125194592" sldId="2147468934"/>
            <ac:picMk id="12" creationId="{EA0AEDAF-9B33-470A-A9B2-7192A1FDA01D}"/>
          </ac:picMkLst>
        </pc:picChg>
        <pc:picChg chg="del mod">
          <ac:chgData name="Tejada, Carmen" userId="4e46fa0d-51a0-4b7a-a6a6-e5b06c9f6d76" providerId="ADAL" clId="{0F93E6D3-7306-4F51-BEDB-FEFB5CF382EB}" dt="2023-02-13T20:40:20.875" v="3091" actId="478"/>
          <ac:picMkLst>
            <pc:docMk/>
            <pc:sldMk cId="1125194592" sldId="2147468934"/>
            <ac:picMk id="14" creationId="{CE85C286-E32A-46B7-837A-3D53FEC1FEA1}"/>
          </ac:picMkLst>
        </pc:picChg>
        <pc:picChg chg="add mod">
          <ac:chgData name="Tejada, Carmen" userId="4e46fa0d-51a0-4b7a-a6a6-e5b06c9f6d76" providerId="ADAL" clId="{0F93E6D3-7306-4F51-BEDB-FEFB5CF382EB}" dt="2023-02-13T20:47:07.590" v="3121" actId="1076"/>
          <ac:picMkLst>
            <pc:docMk/>
            <pc:sldMk cId="1125194592" sldId="2147468934"/>
            <ac:picMk id="48" creationId="{9526BC44-E2B3-4B0D-9801-8C3A7685B593}"/>
          </ac:picMkLst>
        </pc:picChg>
        <pc:picChg chg="del mod">
          <ac:chgData name="Tejada, Carmen" userId="4e46fa0d-51a0-4b7a-a6a6-e5b06c9f6d76" providerId="ADAL" clId="{0F93E6D3-7306-4F51-BEDB-FEFB5CF382EB}" dt="2023-02-13T20:40:20.875" v="3091" actId="478"/>
          <ac:picMkLst>
            <pc:docMk/>
            <pc:sldMk cId="1125194592" sldId="2147468934"/>
            <ac:picMk id="96" creationId="{8FD59957-4F2A-4C2F-800D-6AFBCAFC7082}"/>
          </ac:picMkLst>
        </pc:picChg>
        <pc:picChg chg="del mod">
          <ac:chgData name="Tejada, Carmen" userId="4e46fa0d-51a0-4b7a-a6a6-e5b06c9f6d76" providerId="ADAL" clId="{0F93E6D3-7306-4F51-BEDB-FEFB5CF382EB}" dt="2023-02-13T20:40:20.875" v="3091" actId="478"/>
          <ac:picMkLst>
            <pc:docMk/>
            <pc:sldMk cId="1125194592" sldId="2147468934"/>
            <ac:picMk id="102" creationId="{8F669980-E8DC-4E00-A4E0-454017893B37}"/>
          </ac:picMkLst>
        </pc:picChg>
        <pc:picChg chg="del mod">
          <ac:chgData name="Tejada, Carmen" userId="4e46fa0d-51a0-4b7a-a6a6-e5b06c9f6d76" providerId="ADAL" clId="{0F93E6D3-7306-4F51-BEDB-FEFB5CF382EB}" dt="2023-02-13T20:40:20.875" v="3091" actId="478"/>
          <ac:picMkLst>
            <pc:docMk/>
            <pc:sldMk cId="1125194592" sldId="2147468934"/>
            <ac:picMk id="107" creationId="{03B904AF-A201-40B5-ADE6-A2340FCB10E0}"/>
          </ac:picMkLst>
        </pc:picChg>
      </pc:sldChg>
      <pc:sldChg chg="addSp modSp new add mod">
        <pc:chgData name="Tejada, Carmen" userId="4e46fa0d-51a0-4b7a-a6a6-e5b06c9f6d76" providerId="ADAL" clId="{0F93E6D3-7306-4F51-BEDB-FEFB5CF382EB}" dt="2023-02-13T20:46:41.192" v="3115" actId="1076"/>
        <pc:sldMkLst>
          <pc:docMk/>
          <pc:sldMk cId="1880501675" sldId="2147468935"/>
        </pc:sldMkLst>
        <pc:spChg chg="add mod">
          <ac:chgData name="Tejada, Carmen" userId="4e46fa0d-51a0-4b7a-a6a6-e5b06c9f6d76" providerId="ADAL" clId="{0F93E6D3-7306-4F51-BEDB-FEFB5CF382EB}" dt="2023-02-13T20:46:41.192" v="3115" actId="1076"/>
          <ac:spMkLst>
            <pc:docMk/>
            <pc:sldMk cId="1880501675" sldId="2147468935"/>
            <ac:spMk id="5" creationId="{0DCB9081-8728-471D-BFB1-ECA2C8A277AB}"/>
          </ac:spMkLst>
        </pc:spChg>
        <pc:spChg chg="add mod">
          <ac:chgData name="Tejada, Carmen" userId="4e46fa0d-51a0-4b7a-a6a6-e5b06c9f6d76" providerId="ADAL" clId="{0F93E6D3-7306-4F51-BEDB-FEFB5CF382EB}" dt="2023-02-13T20:46:41.192" v="3115" actId="1076"/>
          <ac:spMkLst>
            <pc:docMk/>
            <pc:sldMk cId="1880501675" sldId="2147468935"/>
            <ac:spMk id="6" creationId="{72960528-BEDA-4CF6-8B59-18D2730EF2E9}"/>
          </ac:spMkLst>
        </pc:spChg>
        <pc:spChg chg="add mod">
          <ac:chgData name="Tejada, Carmen" userId="4e46fa0d-51a0-4b7a-a6a6-e5b06c9f6d76" providerId="ADAL" clId="{0F93E6D3-7306-4F51-BEDB-FEFB5CF382EB}" dt="2023-02-13T20:46:41.192" v="3115" actId="1076"/>
          <ac:spMkLst>
            <pc:docMk/>
            <pc:sldMk cId="1880501675" sldId="2147468935"/>
            <ac:spMk id="7" creationId="{76B8F7DE-F1D7-41CC-BF8B-D864E864F79B}"/>
          </ac:spMkLst>
        </pc:spChg>
        <pc:spChg chg="add mod">
          <ac:chgData name="Tejada, Carmen" userId="4e46fa0d-51a0-4b7a-a6a6-e5b06c9f6d76" providerId="ADAL" clId="{0F93E6D3-7306-4F51-BEDB-FEFB5CF382EB}" dt="2023-02-13T20:46:41.192" v="3115" actId="1076"/>
          <ac:spMkLst>
            <pc:docMk/>
            <pc:sldMk cId="1880501675" sldId="2147468935"/>
            <ac:spMk id="8" creationId="{5E85A16A-5152-4E40-ACBD-1503C66ABBA3}"/>
          </ac:spMkLst>
        </pc:spChg>
        <pc:spChg chg="add mod">
          <ac:chgData name="Tejada, Carmen" userId="4e46fa0d-51a0-4b7a-a6a6-e5b06c9f6d76" providerId="ADAL" clId="{0F93E6D3-7306-4F51-BEDB-FEFB5CF382EB}" dt="2023-02-13T20:46:41.192" v="3115" actId="1076"/>
          <ac:spMkLst>
            <pc:docMk/>
            <pc:sldMk cId="1880501675" sldId="2147468935"/>
            <ac:spMk id="9" creationId="{A3F404C5-CFC5-4CF1-AC5D-35C36688FACD}"/>
          </ac:spMkLst>
        </pc:spChg>
        <pc:graphicFrameChg chg="add mod">
          <ac:chgData name="Tejada, Carmen" userId="4e46fa0d-51a0-4b7a-a6a6-e5b06c9f6d76" providerId="ADAL" clId="{0F93E6D3-7306-4F51-BEDB-FEFB5CF382EB}" dt="2023-02-13T20:46:41.192" v="3115" actId="1076"/>
          <ac:graphicFrameMkLst>
            <pc:docMk/>
            <pc:sldMk cId="1880501675" sldId="2147468935"/>
            <ac:graphicFrameMk id="4" creationId="{15294AF4-2409-4632-96E9-072780C0CBBC}"/>
          </ac:graphicFrameMkLst>
        </pc:graphicFrameChg>
      </pc:sldChg>
      <pc:sldChg chg="addSp delSp modSp add mod">
        <pc:chgData name="Tejada, Carmen" userId="4e46fa0d-51a0-4b7a-a6a6-e5b06c9f6d76" providerId="ADAL" clId="{0F93E6D3-7306-4F51-BEDB-FEFB5CF382EB}" dt="2023-02-14T09:20:22.389" v="5121" actId="20577"/>
        <pc:sldMkLst>
          <pc:docMk/>
          <pc:sldMk cId="3567439726" sldId="2147468936"/>
        </pc:sldMkLst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3" creationId="{830D324D-2706-4228-8144-6CE028C2DF1D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4" creationId="{F2756C86-9660-4710-B44C-45095A3EADEC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28" creationId="{802EB49A-0E88-410E-A731-44A89B8DBB51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29" creationId="{25105ADB-9022-4E2B-8B49-D2FC65CDBEFA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0" creationId="{D22F25C7-2731-46F0-9543-7444698B1FBE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1" creationId="{4CAAE9D1-D313-458D-8E85-6C10D52AFF68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2" creationId="{F35413DD-6FA7-4211-8792-74AE10B0F9AF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3" creationId="{49D35F7D-BD83-43E7-96CF-446B02B80B56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4" creationId="{7D0A39F0-4B81-4921-AEF4-34E7964E2497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5" creationId="{C4E8E7F5-04CE-41B7-BE85-8CE9CA5C981D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6" creationId="{41505BC5-DBC8-4C5A-924D-2541A4B29E37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7" creationId="{DDE7027C-4A62-43FE-967B-987FA9B04927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8" creationId="{B8A58F79-6981-41AA-A495-DD07FA7A40D0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39" creationId="{3044DECE-4AE4-44B8-B1BA-FF73C68A883C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40" creationId="{F2E6C5C1-5424-42D2-B911-87333EBDD7B9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41" creationId="{FCC2188D-7A6A-4E57-AC5B-F98EAED833FD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42" creationId="{7F44912D-A866-484E-B408-F476C3CA74D3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43" creationId="{9AA4D2CB-4F09-4261-918F-5F3EEFC9EA23}"/>
          </ac:spMkLst>
        </pc:spChg>
        <pc:spChg chg="add del mod">
          <ac:chgData name="Tejada, Carmen" userId="4e46fa0d-51a0-4b7a-a6a6-e5b06c9f6d76" providerId="ADAL" clId="{0F93E6D3-7306-4F51-BEDB-FEFB5CF382EB}" dt="2023-02-13T20:48:39.066" v="3165"/>
          <ac:spMkLst>
            <pc:docMk/>
            <pc:sldMk cId="3567439726" sldId="2147468936"/>
            <ac:spMk id="44" creationId="{0575FDC8-9854-46FD-B661-EE812EBB3501}"/>
          </ac:spMkLst>
        </pc:spChg>
        <pc:spChg chg="add mod">
          <ac:chgData name="Tejada, Carmen" userId="4e46fa0d-51a0-4b7a-a6a6-e5b06c9f6d76" providerId="ADAL" clId="{0F93E6D3-7306-4F51-BEDB-FEFB5CF382EB}" dt="2023-02-13T20:50:01.668" v="3345" actId="14100"/>
          <ac:spMkLst>
            <pc:docMk/>
            <pc:sldMk cId="3567439726" sldId="2147468936"/>
            <ac:spMk id="45" creationId="{27861933-079E-425A-8B89-66ADD8829AD1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46" creationId="{FDE33737-6985-49E3-8388-A080A6E5109C}"/>
          </ac:spMkLst>
        </pc:spChg>
        <pc:spChg chg="mod">
          <ac:chgData name="Tejada, Carmen" userId="4e46fa0d-51a0-4b7a-a6a6-e5b06c9f6d76" providerId="ADAL" clId="{0F93E6D3-7306-4F51-BEDB-FEFB5CF382EB}" dt="2023-02-13T20:48:20.218" v="3145"/>
          <ac:spMkLst>
            <pc:docMk/>
            <pc:sldMk cId="3567439726" sldId="2147468936"/>
            <ac:spMk id="47" creationId="{93FB2093-D0BF-4354-A627-428750C72B88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49" creationId="{D7D8D04D-95ED-4DF6-896B-2030E9CFE589}"/>
          </ac:spMkLst>
        </pc:spChg>
        <pc:spChg chg="add mod">
          <ac:chgData name="Tejada, Carmen" userId="4e46fa0d-51a0-4b7a-a6a6-e5b06c9f6d76" providerId="ADAL" clId="{0F93E6D3-7306-4F51-BEDB-FEFB5CF382EB}" dt="2023-02-13T20:49:44.276" v="3319" actId="255"/>
          <ac:spMkLst>
            <pc:docMk/>
            <pc:sldMk cId="3567439726" sldId="2147468936"/>
            <ac:spMk id="50" creationId="{C9B30B91-9996-4372-A40D-6F0BB7AD08DF}"/>
          </ac:spMkLst>
        </pc:spChg>
        <pc:spChg chg="add mod">
          <ac:chgData name="Tejada, Carmen" userId="4e46fa0d-51a0-4b7a-a6a6-e5b06c9f6d76" providerId="ADAL" clId="{0F93E6D3-7306-4F51-BEDB-FEFB5CF382EB}" dt="2023-02-13T20:50:01.668" v="3345" actId="14100"/>
          <ac:spMkLst>
            <pc:docMk/>
            <pc:sldMk cId="3567439726" sldId="2147468936"/>
            <ac:spMk id="51" creationId="{EFAE106F-FD1A-42D2-9F3D-0DD24C93A879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52" creationId="{9F407F65-85E9-41C0-9E91-9337618D32D9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53" creationId="{3C9E37FF-81DA-464D-8072-B906527D3C7E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54" creationId="{667A0CC2-54D3-4893-8E17-03A1186C0F0D}"/>
          </ac:spMkLst>
        </pc:spChg>
        <pc:spChg chg="add mod">
          <ac:chgData name="Tejada, Carmen" userId="4e46fa0d-51a0-4b7a-a6a6-e5b06c9f6d76" providerId="ADAL" clId="{0F93E6D3-7306-4F51-BEDB-FEFB5CF382EB}" dt="2023-02-13T21:11:46.720" v="4156" actId="207"/>
          <ac:spMkLst>
            <pc:docMk/>
            <pc:sldMk cId="3567439726" sldId="2147468936"/>
            <ac:spMk id="55" creationId="{BC02130B-CBEF-413A-9101-104E76F7D9AF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57" creationId="{9764327B-0382-42B7-8C65-C222DE6E2326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58" creationId="{A707D47E-B1B5-45F6-81D7-2B146952DBAF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59" creationId="{B60C1F3D-0B60-4B53-B1A3-A84AE53E0008}"/>
          </ac:spMkLst>
        </pc:spChg>
        <pc:spChg chg="add mod">
          <ac:chgData name="Tejada, Carmen" userId="4e46fa0d-51a0-4b7a-a6a6-e5b06c9f6d76" providerId="ADAL" clId="{0F93E6D3-7306-4F51-BEDB-FEFB5CF382EB}" dt="2023-02-13T20:50:01.668" v="3345" actId="14100"/>
          <ac:spMkLst>
            <pc:docMk/>
            <pc:sldMk cId="3567439726" sldId="2147468936"/>
            <ac:spMk id="60" creationId="{720E8BAA-920C-4B2B-BACD-FA4C80A39E47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61" creationId="{0F92E6D9-531F-4BC4-8BFC-9F5926A4C225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62" creationId="{6AC197DE-C0A0-4181-8A9F-6DFEFF0F19B9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63" creationId="{2693744E-88CD-44C1-8211-E07A056B9E3A}"/>
          </ac:spMkLst>
        </pc:spChg>
        <pc:spChg chg="add mod">
          <ac:chgData name="Tejada, Carmen" userId="4e46fa0d-51a0-4b7a-a6a6-e5b06c9f6d76" providerId="ADAL" clId="{0F93E6D3-7306-4F51-BEDB-FEFB5CF382EB}" dt="2023-02-13T21:11:55.826" v="4157"/>
          <ac:spMkLst>
            <pc:docMk/>
            <pc:sldMk cId="3567439726" sldId="2147468936"/>
            <ac:spMk id="64" creationId="{E3EAC619-FF84-43CB-9E31-2D92FE427FD8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65" creationId="{753D5192-BEF6-4975-80BE-ADC21FBF8F98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67" creationId="{84EE57D6-739B-4C91-80B0-D5F779E60059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68" creationId="{2854DE08-B65C-437B-8DB4-7EA2C8A45004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69" creationId="{A55A4CB3-50F8-4811-8549-241FB732D8D4}"/>
          </ac:spMkLst>
        </pc:spChg>
        <pc:spChg chg="add mod">
          <ac:chgData name="Tejada, Carmen" userId="4e46fa0d-51a0-4b7a-a6a6-e5b06c9f6d76" providerId="ADAL" clId="{0F93E6D3-7306-4F51-BEDB-FEFB5CF382EB}" dt="2023-02-13T20:50:01.668" v="3345" actId="14100"/>
          <ac:spMkLst>
            <pc:docMk/>
            <pc:sldMk cId="3567439726" sldId="2147468936"/>
            <ac:spMk id="70" creationId="{AA31CAEA-32E5-46CB-90F0-C5EE3359F590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71" creationId="{DF533B2E-9FBE-47B9-8A03-74570D167EE2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72" creationId="{8B6C62E9-9A96-4175-B331-8FF6044D82FF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73" creationId="{491EE23C-78FB-4E82-9E72-40C8A1DE4E50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74" creationId="{6AD4D76B-2C0A-4A2E-99E2-8DD33A766BB7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75" creationId="{1B787DFA-FD49-4BF2-B543-A019CA7A6609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76" creationId="{B099D403-E64F-4877-BC5B-94C03E74EAE0}"/>
          </ac:spMkLst>
        </pc:spChg>
        <pc:spChg chg="add mod">
          <ac:chgData name="Tejada, Carmen" userId="4e46fa0d-51a0-4b7a-a6a6-e5b06c9f6d76" providerId="ADAL" clId="{0F93E6D3-7306-4F51-BEDB-FEFB5CF382EB}" dt="2023-02-14T09:20:22.389" v="5121" actId="20577"/>
          <ac:spMkLst>
            <pc:docMk/>
            <pc:sldMk cId="3567439726" sldId="2147468936"/>
            <ac:spMk id="77" creationId="{9575554E-384D-4491-969B-550FD87BF228}"/>
          </ac:spMkLst>
        </pc:spChg>
        <pc:spChg chg="add mod">
          <ac:chgData name="Tejada, Carmen" userId="4e46fa0d-51a0-4b7a-a6a6-e5b06c9f6d76" providerId="ADAL" clId="{0F93E6D3-7306-4F51-BEDB-FEFB5CF382EB}" dt="2023-02-13T20:49:20.443" v="3282" actId="1036"/>
          <ac:spMkLst>
            <pc:docMk/>
            <pc:sldMk cId="3567439726" sldId="2147468936"/>
            <ac:spMk id="79" creationId="{CA922524-6C5E-4356-8280-244FED61E5C3}"/>
          </ac:spMkLst>
        </pc:spChg>
        <pc:spChg chg="add del mod">
          <ac:chgData name="Tejada, Carmen" userId="4e46fa0d-51a0-4b7a-a6a6-e5b06c9f6d76" providerId="ADAL" clId="{0F93E6D3-7306-4F51-BEDB-FEFB5CF382EB}" dt="2023-02-13T20:49:24.180" v="3283" actId="478"/>
          <ac:spMkLst>
            <pc:docMk/>
            <pc:sldMk cId="3567439726" sldId="2147468936"/>
            <ac:spMk id="81" creationId="{2A10F29A-5DEA-47E4-8F50-46CFA045D5E3}"/>
          </ac:spMkLst>
        </pc:spChg>
        <pc:spChg chg="mod">
          <ac:chgData name="Tejada, Carmen" userId="4e46fa0d-51a0-4b7a-a6a6-e5b06c9f6d76" providerId="ADAL" clId="{0F93E6D3-7306-4F51-BEDB-FEFB5CF382EB}" dt="2023-02-13T20:48:20.218" v="3145"/>
          <ac:spMkLst>
            <pc:docMk/>
            <pc:sldMk cId="3567439726" sldId="2147468936"/>
            <ac:spMk id="86" creationId="{654847C7-6569-41C0-B82F-BE4C6DEB1C34}"/>
          </ac:spMkLst>
        </pc:spChg>
        <pc:spChg chg="mod">
          <ac:chgData name="Tejada, Carmen" userId="4e46fa0d-51a0-4b7a-a6a6-e5b06c9f6d76" providerId="ADAL" clId="{0F93E6D3-7306-4F51-BEDB-FEFB5CF382EB}" dt="2023-02-13T20:48:20.218" v="3145"/>
          <ac:spMkLst>
            <pc:docMk/>
            <pc:sldMk cId="3567439726" sldId="2147468936"/>
            <ac:spMk id="87" creationId="{151FCDB8-6EA9-41E4-BC08-0EDE145C69A4}"/>
          </ac:spMkLst>
        </pc:spChg>
        <pc:spChg chg="mod">
          <ac:chgData name="Tejada, Carmen" userId="4e46fa0d-51a0-4b7a-a6a6-e5b06c9f6d76" providerId="ADAL" clId="{0F93E6D3-7306-4F51-BEDB-FEFB5CF382EB}" dt="2023-02-13T20:48:20.218" v="3145"/>
          <ac:spMkLst>
            <pc:docMk/>
            <pc:sldMk cId="3567439726" sldId="2147468936"/>
            <ac:spMk id="88" creationId="{F9A53178-2569-4307-B92E-A016298C9D4E}"/>
          </ac:spMkLst>
        </pc:spChg>
        <pc:spChg chg="del mod">
          <ac:chgData name="Tejada, Carmen" userId="4e46fa0d-51a0-4b7a-a6a6-e5b06c9f6d76" providerId="ADAL" clId="{0F93E6D3-7306-4F51-BEDB-FEFB5CF382EB}" dt="2023-02-13T20:48:25.637" v="3146" actId="478"/>
          <ac:spMkLst>
            <pc:docMk/>
            <pc:sldMk cId="3567439726" sldId="2147468936"/>
            <ac:spMk id="94" creationId="{7E814C6C-0191-4809-9645-C7FEC000D7CF}"/>
          </ac:spMkLst>
        </pc:spChg>
        <pc:grpChg chg="mod">
          <ac:chgData name="Tejada, Carmen" userId="4e46fa0d-51a0-4b7a-a6a6-e5b06c9f6d76" providerId="ADAL" clId="{0F93E6D3-7306-4F51-BEDB-FEFB5CF382EB}" dt="2023-02-13T20:48:20.218" v="3145"/>
          <ac:grpSpMkLst>
            <pc:docMk/>
            <pc:sldMk cId="3567439726" sldId="2147468936"/>
            <ac:grpSpMk id="1" creationId="{00000000-0000-0000-0000-000000000000}"/>
          </ac:grpSpMkLst>
        </pc:grpChg>
        <pc:graphicFrameChg chg="mod">
          <ac:chgData name="Tejada, Carmen" userId="4e46fa0d-51a0-4b7a-a6a6-e5b06c9f6d76" providerId="ADAL" clId="{0F93E6D3-7306-4F51-BEDB-FEFB5CF382EB}" dt="2023-02-13T20:48:20.218" v="3145"/>
          <ac:graphicFrameMkLst>
            <pc:docMk/>
            <pc:sldMk cId="3567439726" sldId="2147468936"/>
            <ac:graphicFrameMk id="5" creationId="{A710DDCD-9D7A-468A-BC05-724DF1DC6F53}"/>
          </ac:graphicFrameMkLst>
        </pc:graphicFrameChg>
        <pc:picChg chg="del mod">
          <ac:chgData name="Tejada, Carmen" userId="4e46fa0d-51a0-4b7a-a6a6-e5b06c9f6d76" providerId="ADAL" clId="{0F93E6D3-7306-4F51-BEDB-FEFB5CF382EB}" dt="2023-02-13T20:48:25.637" v="3146" actId="478"/>
          <ac:picMkLst>
            <pc:docMk/>
            <pc:sldMk cId="3567439726" sldId="2147468936"/>
            <ac:picMk id="8" creationId="{0ADBF229-2D10-4CDE-ADC4-AAC163F2AE21}"/>
          </ac:picMkLst>
        </pc:picChg>
        <pc:picChg chg="del mod">
          <ac:chgData name="Tejada, Carmen" userId="4e46fa0d-51a0-4b7a-a6a6-e5b06c9f6d76" providerId="ADAL" clId="{0F93E6D3-7306-4F51-BEDB-FEFB5CF382EB}" dt="2023-02-13T20:48:25.637" v="3146" actId="478"/>
          <ac:picMkLst>
            <pc:docMk/>
            <pc:sldMk cId="3567439726" sldId="2147468936"/>
            <ac:picMk id="10" creationId="{21ED9C83-BEB1-4881-9489-0E7C6B0A47DA}"/>
          </ac:picMkLst>
        </pc:picChg>
        <pc:picChg chg="del mod">
          <ac:chgData name="Tejada, Carmen" userId="4e46fa0d-51a0-4b7a-a6a6-e5b06c9f6d76" providerId="ADAL" clId="{0F93E6D3-7306-4F51-BEDB-FEFB5CF382EB}" dt="2023-02-13T20:48:25.637" v="3146" actId="478"/>
          <ac:picMkLst>
            <pc:docMk/>
            <pc:sldMk cId="3567439726" sldId="2147468936"/>
            <ac:picMk id="11" creationId="{8C81CE49-A655-4873-BCB4-90B702E6AA9E}"/>
          </ac:picMkLst>
        </pc:picChg>
        <pc:picChg chg="del mod">
          <ac:chgData name="Tejada, Carmen" userId="4e46fa0d-51a0-4b7a-a6a6-e5b06c9f6d76" providerId="ADAL" clId="{0F93E6D3-7306-4F51-BEDB-FEFB5CF382EB}" dt="2023-02-13T20:48:25.637" v="3146" actId="478"/>
          <ac:picMkLst>
            <pc:docMk/>
            <pc:sldMk cId="3567439726" sldId="2147468936"/>
            <ac:picMk id="12" creationId="{EA0AEDAF-9B33-470A-A9B2-7192A1FDA01D}"/>
          </ac:picMkLst>
        </pc:picChg>
        <pc:picChg chg="mod">
          <ac:chgData name="Tejada, Carmen" userId="4e46fa0d-51a0-4b7a-a6a6-e5b06c9f6d76" providerId="ADAL" clId="{0F93E6D3-7306-4F51-BEDB-FEFB5CF382EB}" dt="2023-02-13T20:48:20.218" v="3145"/>
          <ac:picMkLst>
            <pc:docMk/>
            <pc:sldMk cId="3567439726" sldId="2147468936"/>
            <ac:picMk id="48" creationId="{9526BC44-E2B3-4B0D-9801-8C3A7685B593}"/>
          </ac:picMkLst>
        </pc:picChg>
        <pc:picChg chg="add del mod">
          <ac:chgData name="Tejada, Carmen" userId="4e46fa0d-51a0-4b7a-a6a6-e5b06c9f6d76" providerId="ADAL" clId="{0F93E6D3-7306-4F51-BEDB-FEFB5CF382EB}" dt="2023-02-13T21:10:43.583" v="4067" actId="478"/>
          <ac:picMkLst>
            <pc:docMk/>
            <pc:sldMk cId="3567439726" sldId="2147468936"/>
            <ac:picMk id="56" creationId="{B1064362-A77C-4E25-B6B6-D78CFCB3B947}"/>
          </ac:picMkLst>
        </pc:picChg>
        <pc:picChg chg="add del mod">
          <ac:chgData name="Tejada, Carmen" userId="4e46fa0d-51a0-4b7a-a6a6-e5b06c9f6d76" providerId="ADAL" clId="{0F93E6D3-7306-4F51-BEDB-FEFB5CF382EB}" dt="2023-02-13T21:11:58.631" v="4158" actId="478"/>
          <ac:picMkLst>
            <pc:docMk/>
            <pc:sldMk cId="3567439726" sldId="2147468936"/>
            <ac:picMk id="66" creationId="{4197BCF8-AFD0-463F-AA2B-E826DC69C287}"/>
          </ac:picMkLst>
        </pc:picChg>
        <pc:picChg chg="add del mod">
          <ac:chgData name="Tejada, Carmen" userId="4e46fa0d-51a0-4b7a-a6a6-e5b06c9f6d76" providerId="ADAL" clId="{0F93E6D3-7306-4F51-BEDB-FEFB5CF382EB}" dt="2023-02-13T21:12:53.635" v="4213" actId="478"/>
          <ac:picMkLst>
            <pc:docMk/>
            <pc:sldMk cId="3567439726" sldId="2147468936"/>
            <ac:picMk id="78" creationId="{7E4EA741-1B45-4999-8E07-20D538235563}"/>
          </ac:picMkLst>
        </pc:picChg>
        <pc:picChg chg="add mod">
          <ac:chgData name="Tejada, Carmen" userId="4e46fa0d-51a0-4b7a-a6a6-e5b06c9f6d76" providerId="ADAL" clId="{0F93E6D3-7306-4F51-BEDB-FEFB5CF382EB}" dt="2023-02-14T08:52:34.713" v="4889" actId="554"/>
          <ac:picMkLst>
            <pc:docMk/>
            <pc:sldMk cId="3567439726" sldId="2147468936"/>
            <ac:picMk id="80" creationId="{A9537B0D-ECFD-422E-9EE2-0BE69B136A03}"/>
          </ac:picMkLst>
        </pc:picChg>
        <pc:picChg chg="add mod">
          <ac:chgData name="Tejada, Carmen" userId="4e46fa0d-51a0-4b7a-a6a6-e5b06c9f6d76" providerId="ADAL" clId="{0F93E6D3-7306-4F51-BEDB-FEFB5CF382EB}" dt="2023-02-14T08:52:34.713" v="4889" actId="554"/>
          <ac:picMkLst>
            <pc:docMk/>
            <pc:sldMk cId="3567439726" sldId="2147468936"/>
            <ac:picMk id="82" creationId="{A42FD555-EAB8-4338-A391-BF830588CECA}"/>
          </ac:picMkLst>
        </pc:picChg>
        <pc:picChg chg="add mod">
          <ac:chgData name="Tejada, Carmen" userId="4e46fa0d-51a0-4b7a-a6a6-e5b06c9f6d76" providerId="ADAL" clId="{0F93E6D3-7306-4F51-BEDB-FEFB5CF382EB}" dt="2023-02-14T08:52:34.713" v="4889" actId="554"/>
          <ac:picMkLst>
            <pc:docMk/>
            <pc:sldMk cId="3567439726" sldId="2147468936"/>
            <ac:picMk id="83" creationId="{B842CD5A-3522-418B-BA09-E7F46BE6A0CA}"/>
          </ac:picMkLst>
        </pc:picChg>
        <pc:picChg chg="add del mod">
          <ac:chgData name="Tejada, Carmen" userId="4e46fa0d-51a0-4b7a-a6a6-e5b06c9f6d76" providerId="ADAL" clId="{0F93E6D3-7306-4F51-BEDB-FEFB5CF382EB}" dt="2023-02-14T08:52:10.820" v="4815" actId="478"/>
          <ac:picMkLst>
            <pc:docMk/>
            <pc:sldMk cId="3567439726" sldId="2147468936"/>
            <ac:picMk id="84" creationId="{E817A388-CF64-4AF3-8BA3-7AB8D3DA4071}"/>
          </ac:picMkLst>
        </pc:picChg>
        <pc:picChg chg="add mod">
          <ac:chgData name="Tejada, Carmen" userId="4e46fa0d-51a0-4b7a-a6a6-e5b06c9f6d76" providerId="ADAL" clId="{0F93E6D3-7306-4F51-BEDB-FEFB5CF382EB}" dt="2023-02-14T08:52:34.713" v="4889" actId="554"/>
          <ac:picMkLst>
            <pc:docMk/>
            <pc:sldMk cId="3567439726" sldId="2147468936"/>
            <ac:picMk id="85" creationId="{BBDDC7C1-AA2A-437F-9E02-872FFD725F58}"/>
          </ac:picMkLst>
        </pc:picChg>
      </pc:sldChg>
      <pc:sldChg chg="modSp add mod">
        <pc:chgData name="Tejada, Carmen" userId="4e46fa0d-51a0-4b7a-a6a6-e5b06c9f6d76" providerId="ADAL" clId="{0F93E6D3-7306-4F51-BEDB-FEFB5CF382EB}" dt="2023-02-14T08:21:50.080" v="4292" actId="20577"/>
        <pc:sldMkLst>
          <pc:docMk/>
          <pc:sldMk cId="1128218017" sldId="2147468937"/>
        </pc:sldMkLst>
        <pc:spChg chg="mod">
          <ac:chgData name="Tejada, Carmen" userId="4e46fa0d-51a0-4b7a-a6a6-e5b06c9f6d76" providerId="ADAL" clId="{0F93E6D3-7306-4F51-BEDB-FEFB5CF382EB}" dt="2023-02-14T08:21:50.080" v="4292" actId="20577"/>
          <ac:spMkLst>
            <pc:docMk/>
            <pc:sldMk cId="1128218017" sldId="2147468937"/>
            <ac:spMk id="8" creationId="{862D3331-0F5A-4344-9277-E609CEE8AAEF}"/>
          </ac:spMkLst>
        </pc:spChg>
      </pc:sldChg>
      <pc:sldChg chg="addSp delSp modSp add del mod modTransition">
        <pc:chgData name="Tejada, Carmen" userId="4e46fa0d-51a0-4b7a-a6a6-e5b06c9f6d76" providerId="ADAL" clId="{0F93E6D3-7306-4F51-BEDB-FEFB5CF382EB}" dt="2023-02-14T08:52:58.411" v="4899" actId="47"/>
        <pc:sldMkLst>
          <pc:docMk/>
          <pc:sldMk cId="1629722101" sldId="2147470264"/>
        </pc:sldMkLst>
        <pc:spChg chg="add mod">
          <ac:chgData name="Tejada, Carmen" userId="4e46fa0d-51a0-4b7a-a6a6-e5b06c9f6d76" providerId="ADAL" clId="{0F93E6D3-7306-4F51-BEDB-FEFB5CF382EB}" dt="2023-02-14T08:35:46.007" v="4315" actId="1076"/>
          <ac:spMkLst>
            <pc:docMk/>
            <pc:sldMk cId="1629722101" sldId="2147470264"/>
            <ac:spMk id="2" creationId="{F74A0B80-9327-4D7F-9E80-D94011C1501F}"/>
          </ac:spMkLst>
        </pc:spChg>
        <pc:graphicFrameChg chg="mod modGraphic">
          <ac:chgData name="Tejada, Carmen" userId="4e46fa0d-51a0-4b7a-a6a6-e5b06c9f6d76" providerId="ADAL" clId="{0F93E6D3-7306-4F51-BEDB-FEFB5CF382EB}" dt="2023-02-14T08:34:53.293" v="4301" actId="14100"/>
          <ac:graphicFrameMkLst>
            <pc:docMk/>
            <pc:sldMk cId="1629722101" sldId="2147470264"/>
            <ac:graphicFrameMk id="8" creationId="{7654D579-2346-48CB-B5DC-D6C04BAAFE1A}"/>
          </ac:graphicFrameMkLst>
        </pc:graphicFrameChg>
        <pc:picChg chg="add mod">
          <ac:chgData name="Tejada, Carmen" userId="4e46fa0d-51a0-4b7a-a6a6-e5b06c9f6d76" providerId="ADAL" clId="{0F93E6D3-7306-4F51-BEDB-FEFB5CF382EB}" dt="2023-02-14T08:35:25.460" v="4307" actId="1076"/>
          <ac:picMkLst>
            <pc:docMk/>
            <pc:sldMk cId="1629722101" sldId="2147470264"/>
            <ac:picMk id="52" creationId="{634F8D9E-A036-4CCB-BCCD-EF4CD82270D4}"/>
          </ac:picMkLst>
        </pc:picChg>
        <pc:picChg chg="add del mod">
          <ac:chgData name="Tejada, Carmen" userId="4e46fa0d-51a0-4b7a-a6a6-e5b06c9f6d76" providerId="ADAL" clId="{0F93E6D3-7306-4F51-BEDB-FEFB5CF382EB}" dt="2023-02-14T08:38:23.863" v="4377" actId="21"/>
          <ac:picMkLst>
            <pc:docMk/>
            <pc:sldMk cId="1629722101" sldId="2147470264"/>
            <ac:picMk id="53" creationId="{058ACD11-1E74-4FC0-B2A7-14F106D0567B}"/>
          </ac:picMkLst>
        </pc:picChg>
      </pc:sldChg>
      <pc:sldChg chg="addSp delSp modSp add mod modTransition">
        <pc:chgData name="Tejada, Carmen" userId="4e46fa0d-51a0-4b7a-a6a6-e5b06c9f6d76" providerId="ADAL" clId="{0F93E6D3-7306-4F51-BEDB-FEFB5CF382EB}" dt="2023-02-14T08:52:54.954" v="4898" actId="1076"/>
        <pc:sldMkLst>
          <pc:docMk/>
          <pc:sldMk cId="533112466" sldId="2147470265"/>
        </pc:sldMkLst>
        <pc:spChg chg="mod">
          <ac:chgData name="Tejada, Carmen" userId="4e46fa0d-51a0-4b7a-a6a6-e5b06c9f6d76" providerId="ADAL" clId="{0F93E6D3-7306-4F51-BEDB-FEFB5CF382EB}" dt="2023-02-14T08:43:19.661" v="4536" actId="1076"/>
          <ac:spMkLst>
            <pc:docMk/>
            <pc:sldMk cId="533112466" sldId="2147470265"/>
            <ac:spMk id="5" creationId="{793B441E-A7FA-49AD-BB3F-DE529D18ECD5}"/>
          </ac:spMkLst>
        </pc:spChg>
        <pc:spChg chg="mod">
          <ac:chgData name="Tejada, Carmen" userId="4e46fa0d-51a0-4b7a-a6a6-e5b06c9f6d76" providerId="ADAL" clId="{0F93E6D3-7306-4F51-BEDB-FEFB5CF382EB}" dt="2023-02-14T08:43:13.890" v="4535" actId="14100"/>
          <ac:spMkLst>
            <pc:docMk/>
            <pc:sldMk cId="533112466" sldId="2147470265"/>
            <ac:spMk id="7" creationId="{97AF4AAC-0660-4130-88A5-E1CA15F0531B}"/>
          </ac:spMkLst>
        </pc:spChg>
        <pc:spChg chg="mod">
          <ac:chgData name="Tejada, Carmen" userId="4e46fa0d-51a0-4b7a-a6a6-e5b06c9f6d76" providerId="ADAL" clId="{0F93E6D3-7306-4F51-BEDB-FEFB5CF382EB}" dt="2023-02-14T08:42:40.289" v="4511" actId="14100"/>
          <ac:spMkLst>
            <pc:docMk/>
            <pc:sldMk cId="533112466" sldId="2147470265"/>
            <ac:spMk id="21" creationId="{0BA1B85E-11BC-4688-8CAB-3B4FA4CAACB9}"/>
          </ac:spMkLst>
        </pc:spChg>
        <pc:spChg chg="mod">
          <ac:chgData name="Tejada, Carmen" userId="4e46fa0d-51a0-4b7a-a6a6-e5b06c9f6d76" providerId="ADAL" clId="{0F93E6D3-7306-4F51-BEDB-FEFB5CF382EB}" dt="2023-02-14T08:38:05.704" v="4373" actId="207"/>
          <ac:spMkLst>
            <pc:docMk/>
            <pc:sldMk cId="533112466" sldId="2147470265"/>
            <ac:spMk id="26" creationId="{931BA5BC-AEAB-4D4C-AC84-3A7115FEA025}"/>
          </ac:spMkLst>
        </pc:spChg>
        <pc:spChg chg="mod">
          <ac:chgData name="Tejada, Carmen" userId="4e46fa0d-51a0-4b7a-a6a6-e5b06c9f6d76" providerId="ADAL" clId="{0F93E6D3-7306-4F51-BEDB-FEFB5CF382EB}" dt="2023-02-14T08:44:50.834" v="4600" actId="1076"/>
          <ac:spMkLst>
            <pc:docMk/>
            <pc:sldMk cId="533112466" sldId="2147470265"/>
            <ac:spMk id="27" creationId="{92EF9D24-DE8B-421D-AB1E-2502C940C044}"/>
          </ac:spMkLst>
        </pc:spChg>
        <pc:spChg chg="mod">
          <ac:chgData name="Tejada, Carmen" userId="4e46fa0d-51a0-4b7a-a6a6-e5b06c9f6d76" providerId="ADAL" clId="{0F93E6D3-7306-4F51-BEDB-FEFB5CF382EB}" dt="2023-02-14T08:36:24.703" v="4341" actId="1038"/>
          <ac:spMkLst>
            <pc:docMk/>
            <pc:sldMk cId="533112466" sldId="2147470265"/>
            <ac:spMk id="28" creationId="{28E8B7FD-2C13-4CAE-B7BB-220395E59A4E}"/>
          </ac:spMkLst>
        </pc:spChg>
        <pc:spChg chg="mod">
          <ac:chgData name="Tejada, Carmen" userId="4e46fa0d-51a0-4b7a-a6a6-e5b06c9f6d76" providerId="ADAL" clId="{0F93E6D3-7306-4F51-BEDB-FEFB5CF382EB}" dt="2023-02-14T08:44:13.355" v="4592" actId="14100"/>
          <ac:spMkLst>
            <pc:docMk/>
            <pc:sldMk cId="533112466" sldId="2147470265"/>
            <ac:spMk id="29" creationId="{6052333B-8C71-49A0-8405-FECD1793CD2D}"/>
          </ac:spMkLst>
        </pc:spChg>
        <pc:spChg chg="mod">
          <ac:chgData name="Tejada, Carmen" userId="4e46fa0d-51a0-4b7a-a6a6-e5b06c9f6d76" providerId="ADAL" clId="{0F93E6D3-7306-4F51-BEDB-FEFB5CF382EB}" dt="2023-02-14T08:45:36.655" v="4625" actId="1076"/>
          <ac:spMkLst>
            <pc:docMk/>
            <pc:sldMk cId="533112466" sldId="2147470265"/>
            <ac:spMk id="31" creationId="{C60BE094-E73E-4D96-BC41-31C9C150220E}"/>
          </ac:spMkLst>
        </pc:spChg>
        <pc:spChg chg="mod">
          <ac:chgData name="Tejada, Carmen" userId="4e46fa0d-51a0-4b7a-a6a6-e5b06c9f6d76" providerId="ADAL" clId="{0F93E6D3-7306-4F51-BEDB-FEFB5CF382EB}" dt="2023-02-14T08:38:09.704" v="4374" actId="1076"/>
          <ac:spMkLst>
            <pc:docMk/>
            <pc:sldMk cId="533112466" sldId="2147470265"/>
            <ac:spMk id="33" creationId="{27DF60ED-50FB-413F-84EE-AC33E36F9D41}"/>
          </ac:spMkLst>
        </pc:spChg>
        <pc:spChg chg="mod">
          <ac:chgData name="Tejada, Carmen" userId="4e46fa0d-51a0-4b7a-a6a6-e5b06c9f6d76" providerId="ADAL" clId="{0F93E6D3-7306-4F51-BEDB-FEFB5CF382EB}" dt="2023-02-14T08:46:18.693" v="4635" actId="14100"/>
          <ac:spMkLst>
            <pc:docMk/>
            <pc:sldMk cId="533112466" sldId="2147470265"/>
            <ac:spMk id="36" creationId="{54D15F65-8064-4FEB-8C25-B163D3BF6FE5}"/>
          </ac:spMkLst>
        </pc:spChg>
        <pc:spChg chg="mod">
          <ac:chgData name="Tejada, Carmen" userId="4e46fa0d-51a0-4b7a-a6a6-e5b06c9f6d76" providerId="ADAL" clId="{0F93E6D3-7306-4F51-BEDB-FEFB5CF382EB}" dt="2023-02-14T08:43:24.786" v="4537" actId="1076"/>
          <ac:spMkLst>
            <pc:docMk/>
            <pc:sldMk cId="533112466" sldId="2147470265"/>
            <ac:spMk id="37" creationId="{5F481878-00E0-4902-A101-A4B716807EB4}"/>
          </ac:spMkLst>
        </pc:spChg>
        <pc:spChg chg="mod">
          <ac:chgData name="Tejada, Carmen" userId="4e46fa0d-51a0-4b7a-a6a6-e5b06c9f6d76" providerId="ADAL" clId="{0F93E6D3-7306-4F51-BEDB-FEFB5CF382EB}" dt="2023-02-14T08:44:32.762" v="4596" actId="1076"/>
          <ac:spMkLst>
            <pc:docMk/>
            <pc:sldMk cId="533112466" sldId="2147470265"/>
            <ac:spMk id="38" creationId="{49ED8644-E487-4060-8707-80620298C4A1}"/>
          </ac:spMkLst>
        </pc:spChg>
        <pc:spChg chg="mod">
          <ac:chgData name="Tejada, Carmen" userId="4e46fa0d-51a0-4b7a-a6a6-e5b06c9f6d76" providerId="ADAL" clId="{0F93E6D3-7306-4F51-BEDB-FEFB5CF382EB}" dt="2023-02-14T08:36:24.703" v="4341" actId="1038"/>
          <ac:spMkLst>
            <pc:docMk/>
            <pc:sldMk cId="533112466" sldId="2147470265"/>
            <ac:spMk id="39" creationId="{9B278E25-DDD0-428B-A9DF-B5B224A3A796}"/>
          </ac:spMkLst>
        </pc:spChg>
        <pc:spChg chg="mod">
          <ac:chgData name="Tejada, Carmen" userId="4e46fa0d-51a0-4b7a-a6a6-e5b06c9f6d76" providerId="ADAL" clId="{0F93E6D3-7306-4F51-BEDB-FEFB5CF382EB}" dt="2023-02-14T08:48:31.394" v="4676" actId="207"/>
          <ac:spMkLst>
            <pc:docMk/>
            <pc:sldMk cId="533112466" sldId="2147470265"/>
            <ac:spMk id="40" creationId="{225AE903-0496-40E9-B86B-F940CFAB3923}"/>
          </ac:spMkLst>
        </pc:spChg>
        <pc:spChg chg="mod">
          <ac:chgData name="Tejada, Carmen" userId="4e46fa0d-51a0-4b7a-a6a6-e5b06c9f6d76" providerId="ADAL" clId="{0F93E6D3-7306-4F51-BEDB-FEFB5CF382EB}" dt="2023-02-14T08:40:24.709" v="4454" actId="20577"/>
          <ac:spMkLst>
            <pc:docMk/>
            <pc:sldMk cId="533112466" sldId="2147470265"/>
            <ac:spMk id="41" creationId="{5D46BD6C-96C0-4F2D-AE10-AD5865B871E0}"/>
          </ac:spMkLst>
        </pc:spChg>
        <pc:spChg chg="mod">
          <ac:chgData name="Tejada, Carmen" userId="4e46fa0d-51a0-4b7a-a6a6-e5b06c9f6d76" providerId="ADAL" clId="{0F93E6D3-7306-4F51-BEDB-FEFB5CF382EB}" dt="2023-02-14T08:45:40.716" v="4626" actId="1076"/>
          <ac:spMkLst>
            <pc:docMk/>
            <pc:sldMk cId="533112466" sldId="2147470265"/>
            <ac:spMk id="42" creationId="{E16742D3-415E-4EB0-AB72-4B95FB3BCF41}"/>
          </ac:spMkLst>
        </pc:spChg>
        <pc:spChg chg="mod">
          <ac:chgData name="Tejada, Carmen" userId="4e46fa0d-51a0-4b7a-a6a6-e5b06c9f6d76" providerId="ADAL" clId="{0F93E6D3-7306-4F51-BEDB-FEFB5CF382EB}" dt="2023-02-14T08:50:26.224" v="4735" actId="14100"/>
          <ac:spMkLst>
            <pc:docMk/>
            <pc:sldMk cId="533112466" sldId="2147470265"/>
            <ac:spMk id="43" creationId="{00D14504-182C-4836-ACDC-42B346D5EF0B}"/>
          </ac:spMkLst>
        </pc:spChg>
        <pc:spChg chg="mod">
          <ac:chgData name="Tejada, Carmen" userId="4e46fa0d-51a0-4b7a-a6a6-e5b06c9f6d76" providerId="ADAL" clId="{0F93E6D3-7306-4F51-BEDB-FEFB5CF382EB}" dt="2023-02-14T08:48:28.356" v="4675" actId="14100"/>
          <ac:spMkLst>
            <pc:docMk/>
            <pc:sldMk cId="533112466" sldId="2147470265"/>
            <ac:spMk id="44" creationId="{520BBBEB-C59A-4EEE-B691-70F18C1E464B}"/>
          </ac:spMkLst>
        </pc:spChg>
        <pc:spChg chg="mod">
          <ac:chgData name="Tejada, Carmen" userId="4e46fa0d-51a0-4b7a-a6a6-e5b06c9f6d76" providerId="ADAL" clId="{0F93E6D3-7306-4F51-BEDB-FEFB5CF382EB}" dt="2023-02-14T08:46:38.745" v="4642" actId="1076"/>
          <ac:spMkLst>
            <pc:docMk/>
            <pc:sldMk cId="533112466" sldId="2147470265"/>
            <ac:spMk id="45" creationId="{B4C665C6-E3FC-4EF8-9EBE-50FB12B64DEB}"/>
          </ac:spMkLst>
        </pc:spChg>
        <pc:spChg chg="mod">
          <ac:chgData name="Tejada, Carmen" userId="4e46fa0d-51a0-4b7a-a6a6-e5b06c9f6d76" providerId="ADAL" clId="{0F93E6D3-7306-4F51-BEDB-FEFB5CF382EB}" dt="2023-02-14T08:49:34.110" v="4716" actId="14100"/>
          <ac:spMkLst>
            <pc:docMk/>
            <pc:sldMk cId="533112466" sldId="2147470265"/>
            <ac:spMk id="46" creationId="{1A82FE8E-4DC3-420E-95EB-150FF21502DF}"/>
          </ac:spMkLst>
        </pc:spChg>
        <pc:spChg chg="mod">
          <ac:chgData name="Tejada, Carmen" userId="4e46fa0d-51a0-4b7a-a6a6-e5b06c9f6d76" providerId="ADAL" clId="{0F93E6D3-7306-4F51-BEDB-FEFB5CF382EB}" dt="2023-02-14T08:39:54.249" v="4423" actId="1076"/>
          <ac:spMkLst>
            <pc:docMk/>
            <pc:sldMk cId="533112466" sldId="2147470265"/>
            <ac:spMk id="47" creationId="{1F11478E-48F7-4A79-96D0-CB5466D90AFA}"/>
          </ac:spMkLst>
        </pc:spChg>
        <pc:spChg chg="mod">
          <ac:chgData name="Tejada, Carmen" userId="4e46fa0d-51a0-4b7a-a6a6-e5b06c9f6d76" providerId="ADAL" clId="{0F93E6D3-7306-4F51-BEDB-FEFB5CF382EB}" dt="2023-02-14T08:46:35.028" v="4641" actId="1076"/>
          <ac:spMkLst>
            <pc:docMk/>
            <pc:sldMk cId="533112466" sldId="2147470265"/>
            <ac:spMk id="48" creationId="{19A339F4-EF1A-4B45-9E07-42B0CD7FDF0B}"/>
          </ac:spMkLst>
        </pc:spChg>
        <pc:spChg chg="mod">
          <ac:chgData name="Tejada, Carmen" userId="4e46fa0d-51a0-4b7a-a6a6-e5b06c9f6d76" providerId="ADAL" clId="{0F93E6D3-7306-4F51-BEDB-FEFB5CF382EB}" dt="2023-02-14T08:44:25.888" v="4595" actId="1076"/>
          <ac:spMkLst>
            <pc:docMk/>
            <pc:sldMk cId="533112466" sldId="2147470265"/>
            <ac:spMk id="51" creationId="{D04B3D25-495A-4FBF-A497-63A1C8782F53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53" creationId="{A9759650-433C-4AF7-B10C-4AF66F7B1566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55" creationId="{C1F95E96-4E90-4A1A-A8C5-A87BF839BC59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58" creationId="{59E6F6D0-1E16-49FE-9D70-19C757D1C660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59" creationId="{09CF5F08-36B8-420A-979C-FF113DE6B273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61" creationId="{48D788AA-2198-48F7-9ED8-8BFC468D5AE5}"/>
          </ac:spMkLst>
        </pc:spChg>
        <pc:spChg chg="add mod">
          <ac:chgData name="Tejada, Carmen" userId="4e46fa0d-51a0-4b7a-a6a6-e5b06c9f6d76" providerId="ADAL" clId="{0F93E6D3-7306-4F51-BEDB-FEFB5CF382EB}" dt="2023-02-14T08:46:31.462" v="4640" actId="1076"/>
          <ac:spMkLst>
            <pc:docMk/>
            <pc:sldMk cId="533112466" sldId="2147470265"/>
            <ac:spMk id="62" creationId="{A02D33AB-4DE9-4C21-89D4-6E328FC16478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64" creationId="{89D2A553-3E4B-4CD0-A705-7EF469E43629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66" creationId="{38587CB7-2257-4CCC-A6F6-647704F5B587}"/>
          </ac:spMkLst>
        </pc:spChg>
        <pc:spChg chg="add mod">
          <ac:chgData name="Tejada, Carmen" userId="4e46fa0d-51a0-4b7a-a6a6-e5b06c9f6d76" providerId="ADAL" clId="{0F93E6D3-7306-4F51-BEDB-FEFB5CF382EB}" dt="2023-02-14T08:50:37.140" v="4736" actId="552"/>
          <ac:spMkLst>
            <pc:docMk/>
            <pc:sldMk cId="533112466" sldId="2147470265"/>
            <ac:spMk id="68" creationId="{2E18ADDF-63A2-4BA8-AAF0-EE18E0633730}"/>
          </ac:spMkLst>
        </pc:spChg>
        <pc:graphicFrameChg chg="mod modGraphic">
          <ac:chgData name="Tejada, Carmen" userId="4e46fa0d-51a0-4b7a-a6a6-e5b06c9f6d76" providerId="ADAL" clId="{0F93E6D3-7306-4F51-BEDB-FEFB5CF382EB}" dt="2023-02-14T08:37:09.492" v="4358" actId="404"/>
          <ac:graphicFrameMkLst>
            <pc:docMk/>
            <pc:sldMk cId="533112466" sldId="2147470265"/>
            <ac:graphicFrameMk id="8" creationId="{7654D579-2346-48CB-B5DC-D6C04BAAFE1A}"/>
          </ac:graphicFrameMkLst>
        </pc:graphicFrameChg>
        <pc:picChg chg="add mod">
          <ac:chgData name="Tejada, Carmen" userId="4e46fa0d-51a0-4b7a-a6a6-e5b06c9f6d76" providerId="ADAL" clId="{0F93E6D3-7306-4F51-BEDB-FEFB5CF382EB}" dt="2023-02-14T08:37:25.975" v="4364" actId="1076"/>
          <ac:picMkLst>
            <pc:docMk/>
            <pc:sldMk cId="533112466" sldId="2147470265"/>
            <ac:picMk id="52" creationId="{D4FC9414-F9DE-491C-A443-AD6F1D6952FF}"/>
          </ac:picMkLst>
        </pc:picChg>
        <pc:picChg chg="add mod">
          <ac:chgData name="Tejada, Carmen" userId="4e46fa0d-51a0-4b7a-a6a6-e5b06c9f6d76" providerId="ADAL" clId="{0F93E6D3-7306-4F51-BEDB-FEFB5CF382EB}" dt="2023-02-14T08:38:54.078" v="4387" actId="1076"/>
          <ac:picMkLst>
            <pc:docMk/>
            <pc:sldMk cId="533112466" sldId="2147470265"/>
            <ac:picMk id="54" creationId="{4A2DC43E-409A-4AEB-87CE-E6BFD2E97856}"/>
          </ac:picMkLst>
        </pc:picChg>
        <pc:picChg chg="add mod">
          <ac:chgData name="Tejada, Carmen" userId="4e46fa0d-51a0-4b7a-a6a6-e5b06c9f6d76" providerId="ADAL" clId="{0F93E6D3-7306-4F51-BEDB-FEFB5CF382EB}" dt="2023-02-14T08:43:37.089" v="4544" actId="1076"/>
          <ac:picMkLst>
            <pc:docMk/>
            <pc:sldMk cId="533112466" sldId="2147470265"/>
            <ac:picMk id="56" creationId="{AB708523-F0EB-4FE2-9765-D9D9E576DD97}"/>
          </ac:picMkLst>
        </pc:picChg>
        <pc:picChg chg="add mod">
          <ac:chgData name="Tejada, Carmen" userId="4e46fa0d-51a0-4b7a-a6a6-e5b06c9f6d76" providerId="ADAL" clId="{0F93E6D3-7306-4F51-BEDB-FEFB5CF382EB}" dt="2023-02-14T08:41:07.494" v="4466" actId="1076"/>
          <ac:picMkLst>
            <pc:docMk/>
            <pc:sldMk cId="533112466" sldId="2147470265"/>
            <ac:picMk id="57" creationId="{AA466845-5FE6-4787-97C5-AB08C615B38C}"/>
          </ac:picMkLst>
        </pc:picChg>
        <pc:picChg chg="add mod">
          <ac:chgData name="Tejada, Carmen" userId="4e46fa0d-51a0-4b7a-a6a6-e5b06c9f6d76" providerId="ADAL" clId="{0F93E6D3-7306-4F51-BEDB-FEFB5CF382EB}" dt="2023-02-14T08:45:16.166" v="4609" actId="1076"/>
          <ac:picMkLst>
            <pc:docMk/>
            <pc:sldMk cId="533112466" sldId="2147470265"/>
            <ac:picMk id="60" creationId="{CFF95984-0777-48B2-B470-6B73A9BA3AB3}"/>
          </ac:picMkLst>
        </pc:picChg>
        <pc:picChg chg="add mod">
          <ac:chgData name="Tejada, Carmen" userId="4e46fa0d-51a0-4b7a-a6a6-e5b06c9f6d76" providerId="ADAL" clId="{0F93E6D3-7306-4F51-BEDB-FEFB5CF382EB}" dt="2023-02-14T08:47:15.976" v="4653" actId="1076"/>
          <ac:picMkLst>
            <pc:docMk/>
            <pc:sldMk cId="533112466" sldId="2147470265"/>
            <ac:picMk id="63" creationId="{CE139F4A-F273-4797-A9FA-CC5D6F8E4A24}"/>
          </ac:picMkLst>
        </pc:picChg>
        <pc:picChg chg="add mod">
          <ac:chgData name="Tejada, Carmen" userId="4e46fa0d-51a0-4b7a-a6a6-e5b06c9f6d76" providerId="ADAL" clId="{0F93E6D3-7306-4F51-BEDB-FEFB5CF382EB}" dt="2023-02-14T08:48:58.616" v="4686" actId="1076"/>
          <ac:picMkLst>
            <pc:docMk/>
            <pc:sldMk cId="533112466" sldId="2147470265"/>
            <ac:picMk id="65" creationId="{E96B7C9C-B2EC-41BF-9F7C-4E7970B32BB8}"/>
          </ac:picMkLst>
        </pc:picChg>
        <pc:picChg chg="add del mod">
          <ac:chgData name="Tejada, Carmen" userId="4e46fa0d-51a0-4b7a-a6a6-e5b06c9f6d76" providerId="ADAL" clId="{0F93E6D3-7306-4F51-BEDB-FEFB5CF382EB}" dt="2023-02-14T08:52:40.665" v="4890" actId="478"/>
          <ac:picMkLst>
            <pc:docMk/>
            <pc:sldMk cId="533112466" sldId="2147470265"/>
            <ac:picMk id="67" creationId="{E83896A7-31D8-44D8-A721-0A01536F649C}"/>
          </ac:picMkLst>
        </pc:picChg>
        <pc:picChg chg="add mod">
          <ac:chgData name="Tejada, Carmen" userId="4e46fa0d-51a0-4b7a-a6a6-e5b06c9f6d76" providerId="ADAL" clId="{0F93E6D3-7306-4F51-BEDB-FEFB5CF382EB}" dt="2023-02-14T08:52:54.954" v="4898" actId="1076"/>
          <ac:picMkLst>
            <pc:docMk/>
            <pc:sldMk cId="533112466" sldId="2147470265"/>
            <ac:picMk id="69" creationId="{556A1969-9E10-4EFB-8A20-1FEFFD526273}"/>
          </ac:picMkLst>
        </pc:picChg>
        <pc:cxnChg chg="mod">
          <ac:chgData name="Tejada, Carmen" userId="4e46fa0d-51a0-4b7a-a6a6-e5b06c9f6d76" providerId="ADAL" clId="{0F93E6D3-7306-4F51-BEDB-FEFB5CF382EB}" dt="2023-02-14T08:37:58.145" v="4372" actId="1076"/>
          <ac:cxnSpMkLst>
            <pc:docMk/>
            <pc:sldMk cId="533112466" sldId="2147470265"/>
            <ac:cxnSpMk id="22" creationId="{153986CE-FB13-4F4D-91AA-6542B3434E88}"/>
          </ac:cxnSpMkLst>
        </pc:cxnChg>
      </pc:sldChg>
      <pc:sldChg chg="add ord">
        <pc:chgData name="Tejada, Carmen" userId="4e46fa0d-51a0-4b7a-a6a6-e5b06c9f6d76" providerId="ADAL" clId="{0F93E6D3-7306-4F51-BEDB-FEFB5CF382EB}" dt="2023-02-14T08:58:49.357" v="5093"/>
        <pc:sldMkLst>
          <pc:docMk/>
          <pc:sldMk cId="2134811329" sldId="2147470266"/>
        </pc:sldMkLst>
      </pc:sldChg>
      <pc:sldChg chg="addSp delSp modSp add mod">
        <pc:chgData name="Tejada, Carmen" userId="4e46fa0d-51a0-4b7a-a6a6-e5b06c9f6d76" providerId="ADAL" clId="{0F93E6D3-7306-4F51-BEDB-FEFB5CF382EB}" dt="2023-02-14T09:54:10.299" v="5666" actId="1076"/>
        <pc:sldMkLst>
          <pc:docMk/>
          <pc:sldMk cId="556816909" sldId="2147470274"/>
        </pc:sldMkLst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13" creationId="{FC9754E2-F0DF-4ACB-8FFE-6607F1D06DCC}"/>
          </ac:spMkLst>
        </pc:spChg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14" creationId="{47F2A5D4-0B7C-4B84-9FD0-2BB5CF482F31}"/>
          </ac:spMkLst>
        </pc:spChg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16" creationId="{75D56E92-42AB-41BF-BE17-421F31F02DF6}"/>
          </ac:spMkLst>
        </pc:spChg>
        <pc:spChg chg="del mod">
          <ac:chgData name="Tejada, Carmen" userId="4e46fa0d-51a0-4b7a-a6a6-e5b06c9f6d76" providerId="ADAL" clId="{0F93E6D3-7306-4F51-BEDB-FEFB5CF382EB}" dt="2023-02-14T09:32:55.736" v="5293" actId="478"/>
          <ac:spMkLst>
            <pc:docMk/>
            <pc:sldMk cId="556816909" sldId="2147470274"/>
            <ac:spMk id="22" creationId="{ACB1CC3D-65C4-40DB-8465-87E82EC09EF1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45" creationId="{B2EFEAC7-94B9-40EE-B0F7-A95B8E048F1C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47" creationId="{E2F3163A-21F5-4221-8CA6-A93A32223A20}"/>
          </ac:spMkLst>
        </pc:spChg>
        <pc:spChg chg="mod ord">
          <ac:chgData name="Tejada, Carmen" userId="4e46fa0d-51a0-4b7a-a6a6-e5b06c9f6d76" providerId="ADAL" clId="{0F93E6D3-7306-4F51-BEDB-FEFB5CF382EB}" dt="2023-02-14T09:48:08.183" v="5643" actId="14100"/>
          <ac:spMkLst>
            <pc:docMk/>
            <pc:sldMk cId="556816909" sldId="2147470274"/>
            <ac:spMk id="49" creationId="{C37343B8-24E2-48D2-BE77-5E9626F23D40}"/>
          </ac:spMkLst>
        </pc:spChg>
        <pc:spChg chg="mod ord">
          <ac:chgData name="Tejada, Carmen" userId="4e46fa0d-51a0-4b7a-a6a6-e5b06c9f6d76" providerId="ADAL" clId="{0F93E6D3-7306-4F51-BEDB-FEFB5CF382EB}" dt="2023-02-14T09:47:15.425" v="5545"/>
          <ac:spMkLst>
            <pc:docMk/>
            <pc:sldMk cId="556816909" sldId="2147470274"/>
            <ac:spMk id="50" creationId="{76899B09-544B-40F3-ACCB-E7CBE68CFF10}"/>
          </ac:spMkLst>
        </pc:spChg>
        <pc:spChg chg="mod ord">
          <ac:chgData name="Tejada, Carmen" userId="4e46fa0d-51a0-4b7a-a6a6-e5b06c9f6d76" providerId="ADAL" clId="{0F93E6D3-7306-4F51-BEDB-FEFB5CF382EB}" dt="2023-02-14T09:53:01.539" v="5656" actId="14100"/>
          <ac:spMkLst>
            <pc:docMk/>
            <pc:sldMk cId="556816909" sldId="2147470274"/>
            <ac:spMk id="51" creationId="{5910E7FE-412F-496C-8DAD-D55E2A5CD075}"/>
          </ac:spMkLst>
        </pc:spChg>
        <pc:spChg chg="mod ord">
          <ac:chgData name="Tejada, Carmen" userId="4e46fa0d-51a0-4b7a-a6a6-e5b06c9f6d76" providerId="ADAL" clId="{0F93E6D3-7306-4F51-BEDB-FEFB5CF382EB}" dt="2023-02-14T09:54:10.299" v="5666" actId="1076"/>
          <ac:spMkLst>
            <pc:docMk/>
            <pc:sldMk cId="556816909" sldId="2147470274"/>
            <ac:spMk id="52" creationId="{E59B06E0-AB3F-473F-8E67-BD21EEC083E3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53" creationId="{AE0BE256-D30B-4006-A430-800E452B4F9B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54" creationId="{A70A39CB-AF79-4B78-B4C9-0362B442072F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55" creationId="{B549CC13-C619-435A-B617-EBB202D2F995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56" creationId="{E8EC48A7-1EA7-4B14-9157-6A023D99FB05}"/>
          </ac:spMkLst>
        </pc:spChg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57" creationId="{B0EE36C4-E1B5-4459-A8D1-53152D60A4FD}"/>
          </ac:spMkLst>
        </pc:spChg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58" creationId="{B8EF36FC-3078-45E4-8584-67E04954C8A0}"/>
          </ac:spMkLst>
        </pc:spChg>
        <pc:spChg chg="mod">
          <ac:chgData name="Tejada, Carmen" userId="4e46fa0d-51a0-4b7a-a6a6-e5b06c9f6d76" providerId="ADAL" clId="{0F93E6D3-7306-4F51-BEDB-FEFB5CF382EB}" dt="2023-02-14T09:31:37.937" v="5258"/>
          <ac:spMkLst>
            <pc:docMk/>
            <pc:sldMk cId="556816909" sldId="2147470274"/>
            <ac:spMk id="60" creationId="{CF044D6E-1E7B-4EE5-A0C0-5B93FA1F07D8}"/>
          </ac:spMkLst>
        </pc:spChg>
        <pc:spChg chg="mod">
          <ac:chgData name="Tejada, Carmen" userId="4e46fa0d-51a0-4b7a-a6a6-e5b06c9f6d76" providerId="ADAL" clId="{0F93E6D3-7306-4F51-BEDB-FEFB5CF382EB}" dt="2023-02-14T09:31:37.937" v="5258"/>
          <ac:spMkLst>
            <pc:docMk/>
            <pc:sldMk cId="556816909" sldId="2147470274"/>
            <ac:spMk id="61" creationId="{69A01591-14C3-4A3F-9FAC-577A3A965687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62" creationId="{3A6D241F-B800-4946-9397-153EDD7758B7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63" creationId="{48E800C1-60D5-4507-96B1-997EE484C8B8}"/>
          </ac:spMkLst>
        </pc:spChg>
        <pc:spChg chg="mod ord">
          <ac:chgData name="Tejada, Carmen" userId="4e46fa0d-51a0-4b7a-a6a6-e5b06c9f6d76" providerId="ADAL" clId="{0F93E6D3-7306-4F51-BEDB-FEFB5CF382EB}" dt="2023-02-14T09:52:53.281" v="5653" actId="1076"/>
          <ac:spMkLst>
            <pc:docMk/>
            <pc:sldMk cId="556816909" sldId="2147470274"/>
            <ac:spMk id="64" creationId="{34F30005-1E10-48C8-B4AA-31D8C6484F5C}"/>
          </ac:spMkLst>
        </pc:spChg>
        <pc:spChg chg="del mod ord">
          <ac:chgData name="Tejada, Carmen" userId="4e46fa0d-51a0-4b7a-a6a6-e5b06c9f6d76" providerId="ADAL" clId="{0F93E6D3-7306-4F51-BEDB-FEFB5CF382EB}" dt="2023-02-14T09:38:36" v="5440" actId="478"/>
          <ac:spMkLst>
            <pc:docMk/>
            <pc:sldMk cId="556816909" sldId="2147470274"/>
            <ac:spMk id="65" creationId="{1E6C270A-AD6D-4EC6-B5F9-FAB7FF3E8A4B}"/>
          </ac:spMkLst>
        </pc:spChg>
        <pc:spChg chg="del mod ord">
          <ac:chgData name="Tejada, Carmen" userId="4e46fa0d-51a0-4b7a-a6a6-e5b06c9f6d76" providerId="ADAL" clId="{0F93E6D3-7306-4F51-BEDB-FEFB5CF382EB}" dt="2023-02-14T09:38:36" v="5440" actId="478"/>
          <ac:spMkLst>
            <pc:docMk/>
            <pc:sldMk cId="556816909" sldId="2147470274"/>
            <ac:spMk id="66" creationId="{1834E29E-D976-4B2E-8E08-043182424C5B}"/>
          </ac:spMkLst>
        </pc:spChg>
        <pc:spChg chg="del mod ord">
          <ac:chgData name="Tejada, Carmen" userId="4e46fa0d-51a0-4b7a-a6a6-e5b06c9f6d76" providerId="ADAL" clId="{0F93E6D3-7306-4F51-BEDB-FEFB5CF382EB}" dt="2023-02-14T09:38:27.383" v="5438" actId="478"/>
          <ac:spMkLst>
            <pc:docMk/>
            <pc:sldMk cId="556816909" sldId="2147470274"/>
            <ac:spMk id="70" creationId="{F0F71F99-17C4-436A-B8BE-C511D93BAD2D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72" creationId="{9D250473-4CF8-41BF-B2EC-8100E9BED813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73" creationId="{EEA648C0-4875-4956-8534-FC7F02BFFBC0}"/>
          </ac:spMkLst>
        </pc:spChg>
        <pc:spChg chg="mod ord">
          <ac:chgData name="Tejada, Carmen" userId="4e46fa0d-51a0-4b7a-a6a6-e5b06c9f6d76" providerId="ADAL" clId="{0F93E6D3-7306-4F51-BEDB-FEFB5CF382EB}" dt="2023-02-14T09:54:02.715" v="5665" actId="1076"/>
          <ac:spMkLst>
            <pc:docMk/>
            <pc:sldMk cId="556816909" sldId="2147470274"/>
            <ac:spMk id="77" creationId="{CCE07229-CC37-43B5-8DF8-0C3D6788F3EC}"/>
          </ac:spMkLst>
        </pc:spChg>
        <pc:spChg chg="del mod ord">
          <ac:chgData name="Tejada, Carmen" userId="4e46fa0d-51a0-4b7a-a6a6-e5b06c9f6d76" providerId="ADAL" clId="{0F93E6D3-7306-4F51-BEDB-FEFB5CF382EB}" dt="2023-02-14T09:53:11.207" v="5657" actId="478"/>
          <ac:spMkLst>
            <pc:docMk/>
            <pc:sldMk cId="556816909" sldId="2147470274"/>
            <ac:spMk id="78" creationId="{AEE09731-BA7C-49DD-8515-F2D5C3EB1188}"/>
          </ac:spMkLst>
        </pc:spChg>
        <pc:spChg chg="del mod ord">
          <ac:chgData name="Tejada, Carmen" userId="4e46fa0d-51a0-4b7a-a6a6-e5b06c9f6d76" providerId="ADAL" clId="{0F93E6D3-7306-4F51-BEDB-FEFB5CF382EB}" dt="2023-02-14T09:37:13.612" v="5427" actId="478"/>
          <ac:spMkLst>
            <pc:docMk/>
            <pc:sldMk cId="556816909" sldId="2147470274"/>
            <ac:spMk id="79" creationId="{0554FC2C-FA2F-410F-A888-8BEF501A6947}"/>
          </ac:spMkLst>
        </pc:spChg>
        <pc:spChg chg="del mod ord">
          <ac:chgData name="Tejada, Carmen" userId="4e46fa0d-51a0-4b7a-a6a6-e5b06c9f6d76" providerId="ADAL" clId="{0F93E6D3-7306-4F51-BEDB-FEFB5CF382EB}" dt="2023-02-14T09:37:13.612" v="5427" actId="478"/>
          <ac:spMkLst>
            <pc:docMk/>
            <pc:sldMk cId="556816909" sldId="2147470274"/>
            <ac:spMk id="80" creationId="{6C1242C4-69E3-48EF-B92C-6A4799570413}"/>
          </ac:spMkLst>
        </pc:spChg>
        <pc:spChg chg="del mod ord">
          <ac:chgData name="Tejada, Carmen" userId="4e46fa0d-51a0-4b7a-a6a6-e5b06c9f6d76" providerId="ADAL" clId="{0F93E6D3-7306-4F51-BEDB-FEFB5CF382EB}" dt="2023-02-14T09:37:13.612" v="5427" actId="478"/>
          <ac:spMkLst>
            <pc:docMk/>
            <pc:sldMk cId="556816909" sldId="2147470274"/>
            <ac:spMk id="81" creationId="{7D141EEE-FC1B-40AB-B5AC-D5F972308EAB}"/>
          </ac:spMkLst>
        </pc:spChg>
        <pc:spChg chg="del mod ord">
          <ac:chgData name="Tejada, Carmen" userId="4e46fa0d-51a0-4b7a-a6a6-e5b06c9f6d76" providerId="ADAL" clId="{0F93E6D3-7306-4F51-BEDB-FEFB5CF382EB}" dt="2023-02-14T09:37:13.612" v="5427" actId="478"/>
          <ac:spMkLst>
            <pc:docMk/>
            <pc:sldMk cId="556816909" sldId="2147470274"/>
            <ac:spMk id="82" creationId="{A780D7E0-F2E0-4470-84B1-BAF02282C200}"/>
          </ac:spMkLst>
        </pc:spChg>
        <pc:spChg chg="del mod ord">
          <ac:chgData name="Tejada, Carmen" userId="4e46fa0d-51a0-4b7a-a6a6-e5b06c9f6d76" providerId="ADAL" clId="{0F93E6D3-7306-4F51-BEDB-FEFB5CF382EB}" dt="2023-02-14T09:37:16.574" v="5429" actId="478"/>
          <ac:spMkLst>
            <pc:docMk/>
            <pc:sldMk cId="556816909" sldId="2147470274"/>
            <ac:spMk id="83" creationId="{0CD126DF-CABF-49EA-9E09-25D323C57EBB}"/>
          </ac:spMkLst>
        </pc:spChg>
        <pc:spChg chg="del mod ord">
          <ac:chgData name="Tejada, Carmen" userId="4e46fa0d-51a0-4b7a-a6a6-e5b06c9f6d76" providerId="ADAL" clId="{0F93E6D3-7306-4F51-BEDB-FEFB5CF382EB}" dt="2023-02-14T09:38:36" v="5440" actId="478"/>
          <ac:spMkLst>
            <pc:docMk/>
            <pc:sldMk cId="556816909" sldId="2147470274"/>
            <ac:spMk id="84" creationId="{6ED92B07-EFC9-402C-9570-B9E5D54E9B21}"/>
          </ac:spMkLst>
        </pc:spChg>
        <pc:spChg chg="del mod ord">
          <ac:chgData name="Tejada, Carmen" userId="4e46fa0d-51a0-4b7a-a6a6-e5b06c9f6d76" providerId="ADAL" clId="{0F93E6D3-7306-4F51-BEDB-FEFB5CF382EB}" dt="2023-02-14T09:37:14.624" v="5428" actId="478"/>
          <ac:spMkLst>
            <pc:docMk/>
            <pc:sldMk cId="556816909" sldId="2147470274"/>
            <ac:spMk id="86" creationId="{5F009F73-6F5E-4A54-AD5D-6F4E30ED1808}"/>
          </ac:spMkLst>
        </pc:spChg>
        <pc:spChg chg="del mod ord">
          <ac:chgData name="Tejada, Carmen" userId="4e46fa0d-51a0-4b7a-a6a6-e5b06c9f6d76" providerId="ADAL" clId="{0F93E6D3-7306-4F51-BEDB-FEFB5CF382EB}" dt="2023-02-14T09:37:25.276" v="5432" actId="478"/>
          <ac:spMkLst>
            <pc:docMk/>
            <pc:sldMk cId="556816909" sldId="2147470274"/>
            <ac:spMk id="87" creationId="{58AA7EE5-F89E-4D26-A70D-440B04C1C0BF}"/>
          </ac:spMkLst>
        </pc:spChg>
        <pc:spChg chg="del mod ord">
          <ac:chgData name="Tejada, Carmen" userId="4e46fa0d-51a0-4b7a-a6a6-e5b06c9f6d76" providerId="ADAL" clId="{0F93E6D3-7306-4F51-BEDB-FEFB5CF382EB}" dt="2023-02-14T09:38:36" v="5440" actId="478"/>
          <ac:spMkLst>
            <pc:docMk/>
            <pc:sldMk cId="556816909" sldId="2147470274"/>
            <ac:spMk id="89" creationId="{95AD7257-6B5B-4793-A99B-77BD3877E076}"/>
          </ac:spMkLst>
        </pc:spChg>
        <pc:spChg chg="del mod ord">
          <ac:chgData name="Tejada, Carmen" userId="4e46fa0d-51a0-4b7a-a6a6-e5b06c9f6d76" providerId="ADAL" clId="{0F93E6D3-7306-4F51-BEDB-FEFB5CF382EB}" dt="2023-02-14T09:37:19.790" v="5430" actId="478"/>
          <ac:spMkLst>
            <pc:docMk/>
            <pc:sldMk cId="556816909" sldId="2147470274"/>
            <ac:spMk id="92" creationId="{F740853D-D2D4-4061-9168-445976EACA1C}"/>
          </ac:spMkLst>
        </pc:spChg>
        <pc:spChg chg="add mod ord">
          <ac:chgData name="Tejada, Carmen" userId="4e46fa0d-51a0-4b7a-a6a6-e5b06c9f6d76" providerId="ADAL" clId="{0F93E6D3-7306-4F51-BEDB-FEFB5CF382EB}" dt="2023-02-14T09:47:15.459" v="5589"/>
          <ac:spMkLst>
            <pc:docMk/>
            <pc:sldMk cId="556816909" sldId="2147470274"/>
            <ac:spMk id="93" creationId="{CD48E9B8-6724-4AB5-B41F-56858CE4B912}"/>
          </ac:spMkLst>
        </pc:spChg>
        <pc:spChg chg="del mod ord">
          <ac:chgData name="Tejada, Carmen" userId="4e46fa0d-51a0-4b7a-a6a6-e5b06c9f6d76" providerId="ADAL" clId="{0F93E6D3-7306-4F51-BEDB-FEFB5CF382EB}" dt="2023-02-14T09:38:36" v="5440" actId="478"/>
          <ac:spMkLst>
            <pc:docMk/>
            <pc:sldMk cId="556816909" sldId="2147470274"/>
            <ac:spMk id="94" creationId="{76C4DE9B-0D3F-4D45-B549-DBD9287D77D9}"/>
          </ac:spMkLst>
        </pc:spChg>
        <pc:spChg chg="add mod ord">
          <ac:chgData name="Tejada, Carmen" userId="4e46fa0d-51a0-4b7a-a6a6-e5b06c9f6d76" providerId="ADAL" clId="{0F93E6D3-7306-4F51-BEDB-FEFB5CF382EB}" dt="2023-02-14T09:47:15.460" v="5591"/>
          <ac:spMkLst>
            <pc:docMk/>
            <pc:sldMk cId="556816909" sldId="2147470274"/>
            <ac:spMk id="95" creationId="{0FDD1A70-B2EF-4FF7-B254-3B005A48C7EA}"/>
          </ac:spMkLst>
        </pc:spChg>
        <pc:spChg chg="add mod ord">
          <ac:chgData name="Tejada, Carmen" userId="4e46fa0d-51a0-4b7a-a6a6-e5b06c9f6d76" providerId="ADAL" clId="{0F93E6D3-7306-4F51-BEDB-FEFB5CF382EB}" dt="2023-02-14T09:47:15.461" v="5593"/>
          <ac:spMkLst>
            <pc:docMk/>
            <pc:sldMk cId="556816909" sldId="2147470274"/>
            <ac:spMk id="96" creationId="{8717B780-4099-4C35-B94F-0BF6B12111C4}"/>
          </ac:spMkLst>
        </pc:spChg>
        <pc:spChg chg="add mod ord">
          <ac:chgData name="Tejada, Carmen" userId="4e46fa0d-51a0-4b7a-a6a6-e5b06c9f6d76" providerId="ADAL" clId="{0F93E6D3-7306-4F51-BEDB-FEFB5CF382EB}" dt="2023-02-14T09:47:15.418" v="5537"/>
          <ac:spMkLst>
            <pc:docMk/>
            <pc:sldMk cId="556816909" sldId="2147470274"/>
            <ac:spMk id="97" creationId="{CBE4CB9B-CDE8-48C4-A756-B6415B866B3E}"/>
          </ac:spMkLst>
        </pc:spChg>
        <pc:spChg chg="add mod ord">
          <ac:chgData name="Tejada, Carmen" userId="4e46fa0d-51a0-4b7a-a6a6-e5b06c9f6d76" providerId="ADAL" clId="{0F93E6D3-7306-4F51-BEDB-FEFB5CF382EB}" dt="2023-02-14T09:47:15.462" v="5595"/>
          <ac:spMkLst>
            <pc:docMk/>
            <pc:sldMk cId="556816909" sldId="2147470274"/>
            <ac:spMk id="98" creationId="{4FD850A8-4EFA-45FF-998F-6B591FE74262}"/>
          </ac:spMkLst>
        </pc:spChg>
        <pc:spChg chg="add mod ord">
          <ac:chgData name="Tejada, Carmen" userId="4e46fa0d-51a0-4b7a-a6a6-e5b06c9f6d76" providerId="ADAL" clId="{0F93E6D3-7306-4F51-BEDB-FEFB5CF382EB}" dt="2023-02-14T09:47:15.463" v="5597"/>
          <ac:spMkLst>
            <pc:docMk/>
            <pc:sldMk cId="556816909" sldId="2147470274"/>
            <ac:spMk id="99" creationId="{310A14A4-F6CB-45DE-B6E1-A3DA7E36F837}"/>
          </ac:spMkLst>
        </pc:spChg>
        <pc:spChg chg="add mod ord">
          <ac:chgData name="Tejada, Carmen" userId="4e46fa0d-51a0-4b7a-a6a6-e5b06c9f6d76" providerId="ADAL" clId="{0F93E6D3-7306-4F51-BEDB-FEFB5CF382EB}" dt="2023-02-14T09:47:15.464" v="5599"/>
          <ac:spMkLst>
            <pc:docMk/>
            <pc:sldMk cId="556816909" sldId="2147470274"/>
            <ac:spMk id="100" creationId="{5092F700-CF47-48CD-96B9-E8BBC27D95BA}"/>
          </ac:spMkLst>
        </pc:spChg>
        <pc:spChg chg="mod">
          <ac:chgData name="Tejada, Carmen" userId="4e46fa0d-51a0-4b7a-a6a6-e5b06c9f6d76" providerId="ADAL" clId="{0F93E6D3-7306-4F51-BEDB-FEFB5CF382EB}" dt="2023-02-14T09:42:55.188" v="5482" actId="1036"/>
          <ac:spMkLst>
            <pc:docMk/>
            <pc:sldMk cId="556816909" sldId="2147470274"/>
            <ac:spMk id="102" creationId="{60B3D97A-8D2B-4066-B50B-1E5ED83F30D8}"/>
          </ac:spMkLst>
        </pc:spChg>
        <pc:spChg chg="mod">
          <ac:chgData name="Tejada, Carmen" userId="4e46fa0d-51a0-4b7a-a6a6-e5b06c9f6d76" providerId="ADAL" clId="{0F93E6D3-7306-4F51-BEDB-FEFB5CF382EB}" dt="2023-02-14T09:42:55.188" v="5482" actId="1036"/>
          <ac:spMkLst>
            <pc:docMk/>
            <pc:sldMk cId="556816909" sldId="2147470274"/>
            <ac:spMk id="103" creationId="{6EAEE653-EDA3-463F-B3F4-7CDF0134037C}"/>
          </ac:spMkLst>
        </pc:spChg>
        <pc:spChg chg="add mod ord">
          <ac:chgData name="Tejada, Carmen" userId="4e46fa0d-51a0-4b7a-a6a6-e5b06c9f6d76" providerId="ADAL" clId="{0F93E6D3-7306-4F51-BEDB-FEFB5CF382EB}" dt="2023-02-14T09:47:15.467" v="5603"/>
          <ac:spMkLst>
            <pc:docMk/>
            <pc:sldMk cId="556816909" sldId="2147470274"/>
            <ac:spMk id="104" creationId="{2E76E050-2422-4DC7-903B-5E405C53FAA8}"/>
          </ac:spMkLst>
        </pc:spChg>
        <pc:spChg chg="add mod ord">
          <ac:chgData name="Tejada, Carmen" userId="4e46fa0d-51a0-4b7a-a6a6-e5b06c9f6d76" providerId="ADAL" clId="{0F93E6D3-7306-4F51-BEDB-FEFB5CF382EB}" dt="2023-02-14T09:47:15.470" v="5607"/>
          <ac:spMkLst>
            <pc:docMk/>
            <pc:sldMk cId="556816909" sldId="2147470274"/>
            <ac:spMk id="107" creationId="{0D548263-2095-40C2-99A6-C65E56F8E021}"/>
          </ac:spMkLst>
        </pc:spChg>
        <pc:spChg chg="add mod ord">
          <ac:chgData name="Tejada, Carmen" userId="4e46fa0d-51a0-4b7a-a6a6-e5b06c9f6d76" providerId="ADAL" clId="{0F93E6D3-7306-4F51-BEDB-FEFB5CF382EB}" dt="2023-02-14T09:47:42.676" v="5641" actId="14100"/>
          <ac:spMkLst>
            <pc:docMk/>
            <pc:sldMk cId="556816909" sldId="2147470274"/>
            <ac:spMk id="110" creationId="{8CD59763-5A6D-4CFC-ABFF-D575511AF534}"/>
          </ac:spMkLst>
        </pc:spChg>
        <pc:spChg chg="add mod ord">
          <ac:chgData name="Tejada, Carmen" userId="4e46fa0d-51a0-4b7a-a6a6-e5b06c9f6d76" providerId="ADAL" clId="{0F93E6D3-7306-4F51-BEDB-FEFB5CF382EB}" dt="2023-02-14T09:47:15.476" v="5611"/>
          <ac:spMkLst>
            <pc:docMk/>
            <pc:sldMk cId="556816909" sldId="2147470274"/>
            <ac:spMk id="111" creationId="{41A0F59D-6751-4324-942C-A595A0D85D30}"/>
          </ac:spMkLst>
        </pc:spChg>
        <pc:spChg chg="mod ord">
          <ac:chgData name="Tejada, Carmen" userId="4e46fa0d-51a0-4b7a-a6a6-e5b06c9f6d76" providerId="ADAL" clId="{0F93E6D3-7306-4F51-BEDB-FEFB5CF382EB}" dt="2023-02-14T09:47:15.431" v="5557"/>
          <ac:spMkLst>
            <pc:docMk/>
            <pc:sldMk cId="556816909" sldId="2147470274"/>
            <ac:spMk id="115" creationId="{529D8EAB-61DA-44E4-8101-331AF0824E77}"/>
          </ac:spMkLst>
        </pc:spChg>
        <pc:spChg chg="mod ord">
          <ac:chgData name="Tejada, Carmen" userId="4e46fa0d-51a0-4b7a-a6a6-e5b06c9f6d76" providerId="ADAL" clId="{0F93E6D3-7306-4F51-BEDB-FEFB5CF382EB}" dt="2023-02-14T09:53:37.327" v="5661" actId="14100"/>
          <ac:spMkLst>
            <pc:docMk/>
            <pc:sldMk cId="556816909" sldId="2147470274"/>
            <ac:spMk id="116" creationId="{77EF360B-53A1-4241-A2EB-A3D56BFBFD94}"/>
          </ac:spMkLst>
        </pc:spChg>
        <pc:spChg chg="mod ord">
          <ac:chgData name="Tejada, Carmen" userId="4e46fa0d-51a0-4b7a-a6a6-e5b06c9f6d76" providerId="ADAL" clId="{0F93E6D3-7306-4F51-BEDB-FEFB5CF382EB}" dt="2023-02-14T09:47:15.435" v="5561"/>
          <ac:spMkLst>
            <pc:docMk/>
            <pc:sldMk cId="556816909" sldId="2147470274"/>
            <ac:spMk id="117" creationId="{2450BD17-656A-4299-AC34-F2F2260281D0}"/>
          </ac:spMkLst>
        </pc:spChg>
        <pc:spChg chg="mod ord">
          <ac:chgData name="Tejada, Carmen" userId="4e46fa0d-51a0-4b7a-a6a6-e5b06c9f6d76" providerId="ADAL" clId="{0F93E6D3-7306-4F51-BEDB-FEFB5CF382EB}" dt="2023-02-14T09:47:15.436" v="5563"/>
          <ac:spMkLst>
            <pc:docMk/>
            <pc:sldMk cId="556816909" sldId="2147470274"/>
            <ac:spMk id="118" creationId="{2EEA2CE5-2FDA-4874-BC99-E651463B6471}"/>
          </ac:spMkLst>
        </pc:spChg>
        <pc:spChg chg="mod ord">
          <ac:chgData name="Tejada, Carmen" userId="4e46fa0d-51a0-4b7a-a6a6-e5b06c9f6d76" providerId="ADAL" clId="{0F93E6D3-7306-4F51-BEDB-FEFB5CF382EB}" dt="2023-02-14T09:47:15.437" v="5565"/>
          <ac:spMkLst>
            <pc:docMk/>
            <pc:sldMk cId="556816909" sldId="2147470274"/>
            <ac:spMk id="119" creationId="{CCF8BCC5-B32B-4F4D-A5A8-4D9E6E7441B8}"/>
          </ac:spMkLst>
        </pc:spChg>
        <pc:spChg chg="mod ord">
          <ac:chgData name="Tejada, Carmen" userId="4e46fa0d-51a0-4b7a-a6a6-e5b06c9f6d76" providerId="ADAL" clId="{0F93E6D3-7306-4F51-BEDB-FEFB5CF382EB}" dt="2023-02-14T09:53:45.158" v="5662" actId="1076"/>
          <ac:spMkLst>
            <pc:docMk/>
            <pc:sldMk cId="556816909" sldId="2147470274"/>
            <ac:spMk id="120" creationId="{04EADD87-D2A2-4C9B-AB9F-28A609B3CD6C}"/>
          </ac:spMkLst>
        </pc:spChg>
        <pc:spChg chg="del mod">
          <ac:chgData name="Tejada, Carmen" userId="4e46fa0d-51a0-4b7a-a6a6-e5b06c9f6d76" providerId="ADAL" clId="{0F93E6D3-7306-4F51-BEDB-FEFB5CF382EB}" dt="2023-02-14T09:31:46.513" v="5259" actId="478"/>
          <ac:spMkLst>
            <pc:docMk/>
            <pc:sldMk cId="556816909" sldId="2147470274"/>
            <ac:spMk id="121" creationId="{52A5FAF2-4D14-424E-A368-2EC1C6322716}"/>
          </ac:spMkLst>
        </pc:spChg>
        <pc:spChg chg="mod ord">
          <ac:chgData name="Tejada, Carmen" userId="4e46fa0d-51a0-4b7a-a6a6-e5b06c9f6d76" providerId="ADAL" clId="{0F93E6D3-7306-4F51-BEDB-FEFB5CF382EB}" dt="2023-02-14T09:53:45.158" v="5662" actId="1076"/>
          <ac:spMkLst>
            <pc:docMk/>
            <pc:sldMk cId="556816909" sldId="2147470274"/>
            <ac:spMk id="123" creationId="{91BC08AE-CEA8-4B3D-A074-60C352CD2C0E}"/>
          </ac:spMkLst>
        </pc:spChg>
        <pc:spChg chg="mod ord">
          <ac:chgData name="Tejada, Carmen" userId="4e46fa0d-51a0-4b7a-a6a6-e5b06c9f6d76" providerId="ADAL" clId="{0F93E6D3-7306-4F51-BEDB-FEFB5CF382EB}" dt="2023-02-14T09:53:45.158" v="5662" actId="1076"/>
          <ac:spMkLst>
            <pc:docMk/>
            <pc:sldMk cId="556816909" sldId="2147470274"/>
            <ac:spMk id="124" creationId="{B5F0A8F3-376E-4155-A743-00D43BBE51AC}"/>
          </ac:spMkLst>
        </pc:spChg>
        <pc:spChg chg="add del mod">
          <ac:chgData name="Tejada, Carmen" userId="4e46fa0d-51a0-4b7a-a6a6-e5b06c9f6d76" providerId="ADAL" clId="{0F93E6D3-7306-4F51-BEDB-FEFB5CF382EB}" dt="2023-02-14T09:45:16.557" v="5513" actId="478"/>
          <ac:spMkLst>
            <pc:docMk/>
            <pc:sldMk cId="556816909" sldId="2147470274"/>
            <ac:spMk id="128" creationId="{2A34ED64-1F1E-41B3-97BD-F983EFC72698}"/>
          </ac:spMkLst>
        </pc:spChg>
        <pc:spChg chg="add mod ord">
          <ac:chgData name="Tejada, Carmen" userId="4e46fa0d-51a0-4b7a-a6a6-e5b06c9f6d76" providerId="ADAL" clId="{0F93E6D3-7306-4F51-BEDB-FEFB5CF382EB}" dt="2023-02-14T09:47:35.708" v="5640" actId="1076"/>
          <ac:spMkLst>
            <pc:docMk/>
            <pc:sldMk cId="556816909" sldId="2147470274"/>
            <ac:spMk id="131" creationId="{C3C63079-B501-4E9D-8CA6-0305D6776C60}"/>
          </ac:spMkLst>
        </pc:spChg>
        <pc:spChg chg="add mod ord">
          <ac:chgData name="Tejada, Carmen" userId="4e46fa0d-51a0-4b7a-a6a6-e5b06c9f6d76" providerId="ADAL" clId="{0F93E6D3-7306-4F51-BEDB-FEFB5CF382EB}" dt="2023-02-14T09:47:23.080" v="5638" actId="1076"/>
          <ac:spMkLst>
            <pc:docMk/>
            <pc:sldMk cId="556816909" sldId="2147470274"/>
            <ac:spMk id="134" creationId="{C6AED27B-BBEE-4016-818F-9FDE158118A2}"/>
          </ac:spMkLst>
        </pc:spChg>
        <pc:grpChg chg="mod">
          <ac:chgData name="Tejada, Carmen" userId="4e46fa0d-51a0-4b7a-a6a6-e5b06c9f6d76" providerId="ADAL" clId="{0F93E6D3-7306-4F51-BEDB-FEFB5CF382EB}" dt="2023-02-14T09:31:37.937" v="5258"/>
          <ac:grpSpMkLst>
            <pc:docMk/>
            <pc:sldMk cId="556816909" sldId="2147470274"/>
            <ac:grpSpMk id="1" creationId="{00000000-0000-0000-0000-000000000000}"/>
          </ac:grpSpMkLst>
        </pc:grpChg>
        <pc:grpChg chg="del mod">
          <ac:chgData name="Tejada, Carmen" userId="4e46fa0d-51a0-4b7a-a6a6-e5b06c9f6d76" providerId="ADAL" clId="{0F93E6D3-7306-4F51-BEDB-FEFB5CF382EB}" dt="2023-02-14T09:31:46.513" v="5259" actId="478"/>
          <ac:grpSpMkLst>
            <pc:docMk/>
            <pc:sldMk cId="556816909" sldId="2147470274"/>
            <ac:grpSpMk id="59" creationId="{F3484E70-A6F5-4E45-BA35-8548482002C1}"/>
          </ac:grpSpMkLst>
        </pc:grpChg>
        <pc:grpChg chg="add mod ord">
          <ac:chgData name="Tejada, Carmen" userId="4e46fa0d-51a0-4b7a-a6a6-e5b06c9f6d76" providerId="ADAL" clId="{0F93E6D3-7306-4F51-BEDB-FEFB5CF382EB}" dt="2023-02-14T09:47:15.466" v="5601"/>
          <ac:grpSpMkLst>
            <pc:docMk/>
            <pc:sldMk cId="556816909" sldId="2147470274"/>
            <ac:grpSpMk id="101" creationId="{70A2EAC0-10DD-4C33-9401-33636E60C0F1}"/>
          </ac:grpSpMkLst>
        </pc:grpChg>
        <pc:graphicFrameChg chg="mod">
          <ac:chgData name="Tejada, Carmen" userId="4e46fa0d-51a0-4b7a-a6a6-e5b06c9f6d76" providerId="ADAL" clId="{0F93E6D3-7306-4F51-BEDB-FEFB5CF382EB}" dt="2023-02-14T09:47:15.505" v="5636"/>
          <ac:graphicFrameMkLst>
            <pc:docMk/>
            <pc:sldMk cId="556816909" sldId="2147470274"/>
            <ac:graphicFrameMk id="4" creationId="{7569AC24-D204-49E9-88C7-8DCC12F09696}"/>
          </ac:graphicFrameMkLst>
        </pc:graphicFrameChg>
        <pc:picChg chg="del mo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67" creationId="{A4B14F12-4187-430F-BBBE-F8C9B0B5C070}"/>
          </ac:picMkLst>
        </pc:picChg>
        <pc:picChg chg="del mo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68" creationId="{0D75EDE1-65BC-4962-91FC-5BAC309757DA}"/>
          </ac:picMkLst>
        </pc:picChg>
        <pc:picChg chg="del mo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69" creationId="{5017A663-A73F-48ED-9461-8C9AAE8F2996}"/>
          </ac:picMkLst>
        </pc:picChg>
        <pc:picChg chg="del mo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71" creationId="{9C631EFC-120C-4167-AFAD-B22E009650D1}"/>
          </ac:picMkLst>
        </pc:picChg>
        <pc:picChg chg="del mod or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88" creationId="{F07BF936-11B0-4342-A4BC-5DD3761AEF1B}"/>
          </ac:picMkLst>
        </pc:picChg>
        <pc:picChg chg="del mod">
          <ac:chgData name="Tejada, Carmen" userId="4e46fa0d-51a0-4b7a-a6a6-e5b06c9f6d76" providerId="ADAL" clId="{0F93E6D3-7306-4F51-BEDB-FEFB5CF382EB}" dt="2023-02-14T09:38:36" v="5440" actId="478"/>
          <ac:picMkLst>
            <pc:docMk/>
            <pc:sldMk cId="556816909" sldId="2147470274"/>
            <ac:picMk id="91" creationId="{0A951A49-C3DF-4169-BF47-6D8F72ADB996}"/>
          </ac:picMkLst>
        </pc:picChg>
        <pc:picChg chg="add mod">
          <ac:chgData name="Tejada, Carmen" userId="4e46fa0d-51a0-4b7a-a6a6-e5b06c9f6d76" providerId="ADAL" clId="{0F93E6D3-7306-4F51-BEDB-FEFB5CF382EB}" dt="2023-02-14T09:47:15.468" v="5604"/>
          <ac:picMkLst>
            <pc:docMk/>
            <pc:sldMk cId="556816909" sldId="2147470274"/>
            <ac:picMk id="105" creationId="{ED30FFA0-AB99-4219-B8AD-9BD79D1E94C5}"/>
          </ac:picMkLst>
        </pc:picChg>
        <pc:picChg chg="add mod">
          <ac:chgData name="Tejada, Carmen" userId="4e46fa0d-51a0-4b7a-a6a6-e5b06c9f6d76" providerId="ADAL" clId="{0F93E6D3-7306-4F51-BEDB-FEFB5CF382EB}" dt="2023-02-14T09:47:15.470" v="5605"/>
          <ac:picMkLst>
            <pc:docMk/>
            <pc:sldMk cId="556816909" sldId="2147470274"/>
            <ac:picMk id="106" creationId="{20C699C7-85AD-4FC9-8033-BDEBF20F82E8}"/>
          </ac:picMkLst>
        </pc:picChg>
        <pc:picChg chg="add del mod">
          <ac:chgData name="Tejada, Carmen" userId="4e46fa0d-51a0-4b7a-a6a6-e5b06c9f6d76" providerId="ADAL" clId="{0F93E6D3-7306-4F51-BEDB-FEFB5CF382EB}" dt="2023-02-14T09:44:45.379" v="5509" actId="478"/>
          <ac:picMkLst>
            <pc:docMk/>
            <pc:sldMk cId="556816909" sldId="2147470274"/>
            <ac:picMk id="108" creationId="{C1EB02CB-5522-4863-9A3C-4F2E1DAA7DF3}"/>
          </ac:picMkLst>
        </pc:picChg>
        <pc:picChg chg="add del mod">
          <ac:chgData name="Tejada, Carmen" userId="4e46fa0d-51a0-4b7a-a6a6-e5b06c9f6d76" providerId="ADAL" clId="{0F93E6D3-7306-4F51-BEDB-FEFB5CF382EB}" dt="2023-02-14T09:44:43.364" v="5508" actId="478"/>
          <ac:picMkLst>
            <pc:docMk/>
            <pc:sldMk cId="556816909" sldId="2147470274"/>
            <ac:picMk id="109" creationId="{BD05B724-AD2E-4E68-9FC8-3A4E91FBD39B}"/>
          </ac:picMkLst>
        </pc:picChg>
        <pc:picChg chg="add mod">
          <ac:chgData name="Tejada, Carmen" userId="4e46fa0d-51a0-4b7a-a6a6-e5b06c9f6d76" providerId="ADAL" clId="{0F93E6D3-7306-4F51-BEDB-FEFB5CF382EB}" dt="2023-02-14T09:47:15.477" v="5612"/>
          <ac:picMkLst>
            <pc:docMk/>
            <pc:sldMk cId="556816909" sldId="2147470274"/>
            <ac:picMk id="112" creationId="{461616C2-6BAA-4B8B-A215-9B0EC1FFD5B2}"/>
          </ac:picMkLst>
        </pc:picChg>
        <pc:picChg chg="add mod">
          <ac:chgData name="Tejada, Carmen" userId="4e46fa0d-51a0-4b7a-a6a6-e5b06c9f6d76" providerId="ADAL" clId="{0F93E6D3-7306-4F51-BEDB-FEFB5CF382EB}" dt="2023-02-14T09:47:15.479" v="5613"/>
          <ac:picMkLst>
            <pc:docMk/>
            <pc:sldMk cId="556816909" sldId="2147470274"/>
            <ac:picMk id="113" creationId="{E832BD43-6E09-4E4A-A4DF-A5D62A1A066D}"/>
          </ac:picMkLst>
        </pc:picChg>
        <pc:picChg chg="add mod">
          <ac:chgData name="Tejada, Carmen" userId="4e46fa0d-51a0-4b7a-a6a6-e5b06c9f6d76" providerId="ADAL" clId="{0F93E6D3-7306-4F51-BEDB-FEFB5CF382EB}" dt="2023-02-14T09:47:15.498" v="5633"/>
          <ac:picMkLst>
            <pc:docMk/>
            <pc:sldMk cId="556816909" sldId="2147470274"/>
            <ac:picMk id="114" creationId="{5BDF3EC0-E1A0-4DA3-9837-DD3DB98EF9BA}"/>
          </ac:picMkLst>
        </pc:picChg>
        <pc:picChg chg="add mod">
          <ac:chgData name="Tejada, Carmen" userId="4e46fa0d-51a0-4b7a-a6a6-e5b06c9f6d76" providerId="ADAL" clId="{0F93E6D3-7306-4F51-BEDB-FEFB5CF382EB}" dt="2023-02-14T09:47:15.480" v="5614"/>
          <ac:picMkLst>
            <pc:docMk/>
            <pc:sldMk cId="556816909" sldId="2147470274"/>
            <ac:picMk id="122" creationId="{B6CB8315-D433-4E33-B91A-3419311F3D88}"/>
          </ac:picMkLst>
        </pc:picChg>
        <pc:picChg chg="add mod ord">
          <ac:chgData name="Tejada, Carmen" userId="4e46fa0d-51a0-4b7a-a6a6-e5b06c9f6d76" providerId="ADAL" clId="{0F93E6D3-7306-4F51-BEDB-FEFB5CF382EB}" dt="2023-02-14T09:47:28.862" v="5639" actId="1076"/>
          <ac:picMkLst>
            <pc:docMk/>
            <pc:sldMk cId="556816909" sldId="2147470274"/>
            <ac:picMk id="130" creationId="{A7969F12-3A5C-43AA-A20A-3800B33A52CB}"/>
          </ac:picMkLst>
        </pc:picChg>
        <pc:picChg chg="add mod">
          <ac:chgData name="Tejada, Carmen" userId="4e46fa0d-51a0-4b7a-a6a6-e5b06c9f6d76" providerId="ADAL" clId="{0F93E6D3-7306-4F51-BEDB-FEFB5CF382EB}" dt="2023-02-14T09:47:17.987" v="5637" actId="1076"/>
          <ac:picMkLst>
            <pc:docMk/>
            <pc:sldMk cId="556816909" sldId="2147470274"/>
            <ac:picMk id="133" creationId="{1974947D-3620-4AD1-B224-5DAFECC15D86}"/>
          </ac:picMkLst>
        </pc:picChg>
        <pc:picChg chg="add mod">
          <ac:chgData name="Tejada, Carmen" userId="4e46fa0d-51a0-4b7a-a6a6-e5b06c9f6d76" providerId="ADAL" clId="{0F93E6D3-7306-4F51-BEDB-FEFB5CF382EB}" dt="2023-02-14T09:47:15.497" v="5632"/>
          <ac:picMkLst>
            <pc:docMk/>
            <pc:sldMk cId="556816909" sldId="2147470274"/>
            <ac:picMk id="135" creationId="{FA2DEE95-CB78-4E13-9229-3C0FC6EE1876}"/>
          </ac:picMkLst>
        </pc:picChg>
        <pc:cxnChg chg="del mod ord">
          <ac:chgData name="Tejada, Carmen" userId="4e46fa0d-51a0-4b7a-a6a6-e5b06c9f6d76" providerId="ADAL" clId="{0F93E6D3-7306-4F51-BEDB-FEFB5CF382EB}" dt="2023-02-14T09:38:36" v="5440" actId="478"/>
          <ac:cxnSpMkLst>
            <pc:docMk/>
            <pc:sldMk cId="556816909" sldId="2147470274"/>
            <ac:cxnSpMk id="74" creationId="{BAD9B66F-33A3-4D45-B6D1-2767ABB732CC}"/>
          </ac:cxnSpMkLst>
        </pc:cxnChg>
        <pc:cxnChg chg="del mod ord">
          <ac:chgData name="Tejada, Carmen" userId="4e46fa0d-51a0-4b7a-a6a6-e5b06c9f6d76" providerId="ADAL" clId="{0F93E6D3-7306-4F51-BEDB-FEFB5CF382EB}" dt="2023-02-14T09:38:36" v="5440" actId="478"/>
          <ac:cxnSpMkLst>
            <pc:docMk/>
            <pc:sldMk cId="556816909" sldId="2147470274"/>
            <ac:cxnSpMk id="75" creationId="{47AEA089-478A-4D1F-8C34-73F41D06CD0F}"/>
          </ac:cxnSpMkLst>
        </pc:cxnChg>
        <pc:cxnChg chg="del mod ord">
          <ac:chgData name="Tejada, Carmen" userId="4e46fa0d-51a0-4b7a-a6a6-e5b06c9f6d76" providerId="ADAL" clId="{0F93E6D3-7306-4F51-BEDB-FEFB5CF382EB}" dt="2023-02-14T09:38:36" v="5440" actId="478"/>
          <ac:cxnSpMkLst>
            <pc:docMk/>
            <pc:sldMk cId="556816909" sldId="2147470274"/>
            <ac:cxnSpMk id="76" creationId="{DC2EBD18-DB04-4DB0-9518-F844B2F0430C}"/>
          </ac:cxnSpMkLst>
        </pc:cxnChg>
        <pc:cxnChg chg="del mod ord">
          <ac:chgData name="Tejada, Carmen" userId="4e46fa0d-51a0-4b7a-a6a6-e5b06c9f6d76" providerId="ADAL" clId="{0F93E6D3-7306-4F51-BEDB-FEFB5CF382EB}" dt="2023-02-14T09:38:36" v="5440" actId="478"/>
          <ac:cxnSpMkLst>
            <pc:docMk/>
            <pc:sldMk cId="556816909" sldId="2147470274"/>
            <ac:cxnSpMk id="85" creationId="{97382D48-EAD7-4D4E-A200-A9AE44EA064C}"/>
          </ac:cxnSpMkLst>
        </pc:cxnChg>
        <pc:cxnChg chg="del mod ord">
          <ac:chgData name="Tejada, Carmen" userId="4e46fa0d-51a0-4b7a-a6a6-e5b06c9f6d76" providerId="ADAL" clId="{0F93E6D3-7306-4F51-BEDB-FEFB5CF382EB}" dt="2023-02-14T09:38:36" v="5440" actId="478"/>
          <ac:cxnSpMkLst>
            <pc:docMk/>
            <pc:sldMk cId="556816909" sldId="2147470274"/>
            <ac:cxnSpMk id="90" creationId="{28D05D13-0565-490C-85A3-87261F1D0726}"/>
          </ac:cxnSpMkLst>
        </pc:cxnChg>
        <pc:cxnChg chg="add mod ord">
          <ac:chgData name="Tejada, Carmen" userId="4e46fa0d-51a0-4b7a-a6a6-e5b06c9f6d76" providerId="ADAL" clId="{0F93E6D3-7306-4F51-BEDB-FEFB5CF382EB}" dt="2023-02-14T09:47:15.483" v="5616"/>
          <ac:cxnSpMkLst>
            <pc:docMk/>
            <pc:sldMk cId="556816909" sldId="2147470274"/>
            <ac:cxnSpMk id="125" creationId="{BAC2D1DA-B563-43BA-97A5-F0DC8EE10663}"/>
          </ac:cxnSpMkLst>
        </pc:cxnChg>
        <pc:cxnChg chg="add mod ord">
          <ac:chgData name="Tejada, Carmen" userId="4e46fa0d-51a0-4b7a-a6a6-e5b06c9f6d76" providerId="ADAL" clId="{0F93E6D3-7306-4F51-BEDB-FEFB5CF382EB}" dt="2023-02-14T09:47:15.485" v="5618"/>
          <ac:cxnSpMkLst>
            <pc:docMk/>
            <pc:sldMk cId="556816909" sldId="2147470274"/>
            <ac:cxnSpMk id="126" creationId="{3E3DC23C-956C-46BE-80FF-0DB819DF4D06}"/>
          </ac:cxnSpMkLst>
        </pc:cxnChg>
        <pc:cxnChg chg="add mod ord">
          <ac:chgData name="Tejada, Carmen" userId="4e46fa0d-51a0-4b7a-a6a6-e5b06c9f6d76" providerId="ADAL" clId="{0F93E6D3-7306-4F51-BEDB-FEFB5CF382EB}" dt="2023-02-14T09:47:15.486" v="5620"/>
          <ac:cxnSpMkLst>
            <pc:docMk/>
            <pc:sldMk cId="556816909" sldId="2147470274"/>
            <ac:cxnSpMk id="127" creationId="{800AF2D3-9460-44C2-9591-60994EA6C7DA}"/>
          </ac:cxnSpMkLst>
        </pc:cxnChg>
        <pc:cxnChg chg="add mod ord">
          <ac:chgData name="Tejada, Carmen" userId="4e46fa0d-51a0-4b7a-a6a6-e5b06c9f6d76" providerId="ADAL" clId="{0F93E6D3-7306-4F51-BEDB-FEFB5CF382EB}" dt="2023-02-14T09:47:15.487" v="5622"/>
          <ac:cxnSpMkLst>
            <pc:docMk/>
            <pc:sldMk cId="556816909" sldId="2147470274"/>
            <ac:cxnSpMk id="129" creationId="{22A87617-CD5A-4721-8D80-03E847295574}"/>
          </ac:cxnSpMkLst>
        </pc:cxnChg>
        <pc:cxnChg chg="add mod ord">
          <ac:chgData name="Tejada, Carmen" userId="4e46fa0d-51a0-4b7a-a6a6-e5b06c9f6d76" providerId="ADAL" clId="{0F93E6D3-7306-4F51-BEDB-FEFB5CF382EB}" dt="2023-02-14T09:47:15.495" v="5628"/>
          <ac:cxnSpMkLst>
            <pc:docMk/>
            <pc:sldMk cId="556816909" sldId="2147470274"/>
            <ac:cxnSpMk id="132" creationId="{6EC4F9BE-4216-4E19-BF86-DFD8361CAFCA}"/>
          </ac:cxnSpMkLst>
        </pc:cxnChg>
      </pc:sldChg>
      <pc:sldMasterChg chg="delSldLayout">
        <pc:chgData name="Tejada, Carmen" userId="4e46fa0d-51a0-4b7a-a6a6-e5b06c9f6d76" providerId="ADAL" clId="{0F93E6D3-7306-4F51-BEDB-FEFB5CF382EB}" dt="2023-02-13T18:17:40.231" v="1396" actId="47"/>
        <pc:sldMasterMkLst>
          <pc:docMk/>
          <pc:sldMasterMk cId="1987436075" sldId="2147484233"/>
        </pc:sldMasterMkLst>
        <pc:sldLayoutChg chg="del">
          <pc:chgData name="Tejada, Carmen" userId="4e46fa0d-51a0-4b7a-a6a6-e5b06c9f6d76" providerId="ADAL" clId="{0F93E6D3-7306-4F51-BEDB-FEFB5CF382EB}" dt="2023-02-13T18:17:40.231" v="1396" actId="47"/>
          <pc:sldLayoutMkLst>
            <pc:docMk/>
            <pc:sldMasterMk cId="1987436075" sldId="2147484233"/>
            <pc:sldLayoutMk cId="3125025327" sldId="2147484262"/>
          </pc:sldLayoutMkLst>
        </pc:sldLayoutChg>
      </pc:sldMasterChg>
    </pc:docChg>
  </pc:docChgLst>
  <pc:docChgLst>
    <pc:chgData name="Tejada, Carmen" userId="4e46fa0d-51a0-4b7a-a6a6-e5b06c9f6d76" providerId="ADAL" clId="{0973AC2B-7113-47FA-8755-F7B35E778DA0}"/>
    <pc:docChg chg="undo redo custSel addSld delSld modSld sldOrd delSection modSection replTag">
      <pc:chgData name="Tejada, Carmen" userId="4e46fa0d-51a0-4b7a-a6a6-e5b06c9f6d76" providerId="ADAL" clId="{0973AC2B-7113-47FA-8755-F7B35E778DA0}" dt="2023-03-09T09:28:46.528" v="5692" actId="20577"/>
      <pc:docMkLst>
        <pc:docMk/>
      </pc:docMkLst>
      <pc:sldChg chg="addSp delSp modSp mod ord">
        <pc:chgData name="Tejada, Carmen" userId="4e46fa0d-51a0-4b7a-a6a6-e5b06c9f6d76" providerId="ADAL" clId="{0973AC2B-7113-47FA-8755-F7B35E778DA0}" dt="2023-02-17T08:27:28.920" v="5275" actId="14100"/>
        <pc:sldMkLst>
          <pc:docMk/>
          <pc:sldMk cId="2393417468" sldId="259"/>
        </pc:sldMkLst>
        <pc:spChg chg="add del mod">
          <ac:chgData name="Tejada, Carmen" userId="4e46fa0d-51a0-4b7a-a6a6-e5b06c9f6d76" providerId="ADAL" clId="{0973AC2B-7113-47FA-8755-F7B35E778DA0}" dt="2023-02-16T10:39:56.364" v="3634" actId="478"/>
          <ac:spMkLst>
            <pc:docMk/>
            <pc:sldMk cId="2393417468" sldId="259"/>
            <ac:spMk id="5" creationId="{413323EA-A3DC-4C57-B75A-6E03EBA17BA9}"/>
          </ac:spMkLst>
        </pc:spChg>
        <pc:spChg chg="mod">
          <ac:chgData name="Tejada, Carmen" userId="4e46fa0d-51a0-4b7a-a6a6-e5b06c9f6d76" providerId="ADAL" clId="{0973AC2B-7113-47FA-8755-F7B35E778DA0}" dt="2023-02-16T10:41:06.725" v="3670" actId="14100"/>
          <ac:spMkLst>
            <pc:docMk/>
            <pc:sldMk cId="2393417468" sldId="259"/>
            <ac:spMk id="11" creationId="{E88CD1A4-3601-4917-A043-402BCF6CC5C6}"/>
          </ac:spMkLst>
        </pc:spChg>
        <pc:spChg chg="mod">
          <ac:chgData name="Tejada, Carmen" userId="4e46fa0d-51a0-4b7a-a6a6-e5b06c9f6d76" providerId="ADAL" clId="{0973AC2B-7113-47FA-8755-F7B35E778DA0}" dt="2023-02-17T08:27:22.899" v="5273" actId="1076"/>
          <ac:spMkLst>
            <pc:docMk/>
            <pc:sldMk cId="2393417468" sldId="259"/>
            <ac:spMk id="15" creationId="{2B7BD5CD-6081-4736-89C1-A22F9436F0D2}"/>
          </ac:spMkLst>
        </pc:spChg>
        <pc:spChg chg="del mod">
          <ac:chgData name="Tejada, Carmen" userId="4e46fa0d-51a0-4b7a-a6a6-e5b06c9f6d76" providerId="ADAL" clId="{0973AC2B-7113-47FA-8755-F7B35E778DA0}" dt="2023-02-16T10:40:31.646" v="3662"/>
          <ac:spMkLst>
            <pc:docMk/>
            <pc:sldMk cId="2393417468" sldId="259"/>
            <ac:spMk id="17" creationId="{A344BBB9-2734-4398-97D7-F1A5FFCD87EB}"/>
          </ac:spMkLst>
        </pc:spChg>
        <pc:spChg chg="del">
          <ac:chgData name="Tejada, Carmen" userId="4e46fa0d-51a0-4b7a-a6a6-e5b06c9f6d76" providerId="ADAL" clId="{0973AC2B-7113-47FA-8755-F7B35E778DA0}" dt="2023-02-16T10:39:53.262" v="3630" actId="478"/>
          <ac:spMkLst>
            <pc:docMk/>
            <pc:sldMk cId="2393417468" sldId="259"/>
            <ac:spMk id="20" creationId="{CC6A7BFF-D82A-4FC7-AFEE-AD51CD4DE2BB}"/>
          </ac:spMkLst>
        </pc:spChg>
        <pc:spChg chg="add del mod">
          <ac:chgData name="Tejada, Carmen" userId="4e46fa0d-51a0-4b7a-a6a6-e5b06c9f6d76" providerId="ADAL" clId="{0973AC2B-7113-47FA-8755-F7B35E778DA0}" dt="2023-02-15T18:33:58.026" v="2862"/>
          <ac:spMkLst>
            <pc:docMk/>
            <pc:sldMk cId="2393417468" sldId="259"/>
            <ac:spMk id="24" creationId="{8A430797-035F-410C-944F-4DA20C178B2C}"/>
          </ac:spMkLst>
        </pc:spChg>
        <pc:spChg chg="add del mod">
          <ac:chgData name="Tejada, Carmen" userId="4e46fa0d-51a0-4b7a-a6a6-e5b06c9f6d76" providerId="ADAL" clId="{0973AC2B-7113-47FA-8755-F7B35E778DA0}" dt="2023-02-15T18:33:58.026" v="2862"/>
          <ac:spMkLst>
            <pc:docMk/>
            <pc:sldMk cId="2393417468" sldId="259"/>
            <ac:spMk id="26" creationId="{14499981-BA9B-4B7B-BFD6-4223A4D02AE0}"/>
          </ac:spMkLst>
        </pc:spChg>
        <pc:spChg chg="add mod">
          <ac:chgData name="Tejada, Carmen" userId="4e46fa0d-51a0-4b7a-a6a6-e5b06c9f6d76" providerId="ADAL" clId="{0973AC2B-7113-47FA-8755-F7B35E778DA0}" dt="2023-02-16T10:40:02.970" v="3652" actId="20577"/>
          <ac:spMkLst>
            <pc:docMk/>
            <pc:sldMk cId="2393417468" sldId="259"/>
            <ac:spMk id="28" creationId="{406C93C2-492F-4025-9389-F2700A47CB4B}"/>
          </ac:spMkLst>
        </pc:spChg>
        <pc:spChg chg="mod">
          <ac:chgData name="Tejada, Carmen" userId="4e46fa0d-51a0-4b7a-a6a6-e5b06c9f6d76" providerId="ADAL" clId="{0973AC2B-7113-47FA-8755-F7B35E778DA0}" dt="2023-02-17T08:27:22.899" v="5273" actId="1076"/>
          <ac:spMkLst>
            <pc:docMk/>
            <pc:sldMk cId="2393417468" sldId="259"/>
            <ac:spMk id="29" creationId="{778C21A8-A37C-45D5-B32C-6CBB30DB2B58}"/>
          </ac:spMkLst>
        </pc:spChg>
        <pc:spChg chg="add mod">
          <ac:chgData name="Tejada, Carmen" userId="4e46fa0d-51a0-4b7a-a6a6-e5b06c9f6d76" providerId="ADAL" clId="{0973AC2B-7113-47FA-8755-F7B35E778DA0}" dt="2023-02-16T10:39:56.796" v="3635"/>
          <ac:spMkLst>
            <pc:docMk/>
            <pc:sldMk cId="2393417468" sldId="259"/>
            <ac:spMk id="34" creationId="{C93377E1-D24D-41B4-9049-4148BD029524}"/>
          </ac:spMkLst>
        </pc:spChg>
        <pc:spChg chg="add mod">
          <ac:chgData name="Tejada, Carmen" userId="4e46fa0d-51a0-4b7a-a6a6-e5b06c9f6d76" providerId="ADAL" clId="{0973AC2B-7113-47FA-8755-F7B35E778DA0}" dt="2023-02-17T08:26:47.980" v="5270" actId="20577"/>
          <ac:spMkLst>
            <pc:docMk/>
            <pc:sldMk cId="2393417468" sldId="259"/>
            <ac:spMk id="35" creationId="{6CCD2B81-56CF-4333-B48E-18703A8C0AFB}"/>
          </ac:spMkLst>
        </pc:spChg>
        <pc:spChg chg="mod">
          <ac:chgData name="Tejada, Carmen" userId="4e46fa0d-51a0-4b7a-a6a6-e5b06c9f6d76" providerId="ADAL" clId="{0973AC2B-7113-47FA-8755-F7B35E778DA0}" dt="2023-02-17T08:27:22.899" v="5273" actId="1076"/>
          <ac:spMkLst>
            <pc:docMk/>
            <pc:sldMk cId="2393417468" sldId="259"/>
            <ac:spMk id="39" creationId="{A22FFD7B-05E0-44F2-B56B-24054535AFB7}"/>
          </ac:spMkLst>
        </pc:spChg>
        <pc:spChg chg="mod">
          <ac:chgData name="Tejada, Carmen" userId="4e46fa0d-51a0-4b7a-a6a6-e5b06c9f6d76" providerId="ADAL" clId="{0973AC2B-7113-47FA-8755-F7B35E778DA0}" dt="2023-02-17T08:27:22.899" v="5273" actId="1076"/>
          <ac:spMkLst>
            <pc:docMk/>
            <pc:sldMk cId="2393417468" sldId="259"/>
            <ac:spMk id="42" creationId="{C05A9927-9415-4F91-A876-ABDA6ABCD78A}"/>
          </ac:spMkLst>
        </pc:spChg>
        <pc:grpChg chg="mod">
          <ac:chgData name="Tejada, Carmen" userId="4e46fa0d-51a0-4b7a-a6a6-e5b06c9f6d76" providerId="ADAL" clId="{0973AC2B-7113-47FA-8755-F7B35E778DA0}" dt="2023-02-17T08:27:17.015" v="5272" actId="1076"/>
          <ac:grpSpMkLst>
            <pc:docMk/>
            <pc:sldMk cId="2393417468" sldId="259"/>
            <ac:grpSpMk id="3" creationId="{4270A95F-1637-4862-A593-DCF9C05A23C9}"/>
          </ac:grpSpMkLst>
        </pc:grpChg>
        <pc:graphicFrameChg chg="mod">
          <ac:chgData name="Tejada, Carmen" userId="4e46fa0d-51a0-4b7a-a6a6-e5b06c9f6d76" providerId="ADAL" clId="{0973AC2B-7113-47FA-8755-F7B35E778DA0}" dt="2023-02-16T10:39:56.918" v="3638"/>
          <ac:graphicFrameMkLst>
            <pc:docMk/>
            <pc:sldMk cId="2393417468" sldId="259"/>
            <ac:graphicFrameMk id="7" creationId="{F45C22BC-5AE8-42C9-B1BF-D49FCB8632EC}"/>
          </ac:graphicFrameMkLst>
        </pc:graphicFrameChg>
        <pc:cxnChg chg="mod">
          <ac:chgData name="Tejada, Carmen" userId="4e46fa0d-51a0-4b7a-a6a6-e5b06c9f6d76" providerId="ADAL" clId="{0973AC2B-7113-47FA-8755-F7B35E778DA0}" dt="2023-02-17T08:27:28.920" v="5275" actId="14100"/>
          <ac:cxnSpMkLst>
            <pc:docMk/>
            <pc:sldMk cId="2393417468" sldId="259"/>
            <ac:cxnSpMk id="38" creationId="{61F1FFAB-33EC-43F9-BE8C-66CA8377AE8C}"/>
          </ac:cxnSpMkLst>
        </pc:cxnChg>
      </pc:sldChg>
      <pc:sldChg chg="addSp delSp modSp mod ord">
        <pc:chgData name="Tejada, Carmen" userId="4e46fa0d-51a0-4b7a-a6a6-e5b06c9f6d76" providerId="ADAL" clId="{0973AC2B-7113-47FA-8755-F7B35E778DA0}" dt="2023-02-17T08:25:56.510" v="5203" actId="207"/>
        <pc:sldMkLst>
          <pc:docMk/>
          <pc:sldMk cId="2703726348" sldId="277"/>
        </pc:sldMkLst>
        <pc:spChg chg="del">
          <ac:chgData name="Tejada, Carmen" userId="4e46fa0d-51a0-4b7a-a6a6-e5b06c9f6d76" providerId="ADAL" clId="{0973AC2B-7113-47FA-8755-F7B35E778DA0}" dt="2023-02-16T10:45:22.451" v="3800" actId="478"/>
          <ac:spMkLst>
            <pc:docMk/>
            <pc:sldMk cId="2703726348" sldId="277"/>
            <ac:spMk id="2" creationId="{A1E96B23-5BE5-5846-B4C0-7F3D4D3D25C4}"/>
          </ac:spMkLst>
        </pc:spChg>
        <pc:spChg chg="add del mod">
          <ac:chgData name="Tejada, Carmen" userId="4e46fa0d-51a0-4b7a-a6a6-e5b06c9f6d76" providerId="ADAL" clId="{0973AC2B-7113-47FA-8755-F7B35E778DA0}" dt="2023-02-16T10:45:25.965" v="3804" actId="478"/>
          <ac:spMkLst>
            <pc:docMk/>
            <pc:sldMk cId="2703726348" sldId="277"/>
            <ac:spMk id="4" creationId="{413E8681-8E56-4E1D-A937-60448C48BD93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9" creationId="{930162EF-08D7-4F9C-8A9E-9350FAF2410C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13" creationId="{AEF646AE-E103-4D31-AB67-D6ADA6A0F784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15" creationId="{5B1CB476-8606-405D-86ED-F04F133D0AC7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19" creationId="{42958BC2-A800-412F-BC0B-4CC7FA4ABDC9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24" creationId="{6BB248B6-A772-47D1-A28F-8F1D6F4C8830}"/>
          </ac:spMkLst>
        </pc:spChg>
        <pc:spChg chg="add mod">
          <ac:chgData name="Tejada, Carmen" userId="4e46fa0d-51a0-4b7a-a6a6-e5b06c9f6d76" providerId="ADAL" clId="{0973AC2B-7113-47FA-8755-F7B35E778DA0}" dt="2023-02-16T10:45:37.971" v="3829" actId="20577"/>
          <ac:spMkLst>
            <pc:docMk/>
            <pc:sldMk cId="2703726348" sldId="277"/>
            <ac:spMk id="25" creationId="{949E8DE4-4F98-40CF-965B-D01D6DCE8E8B}"/>
          </ac:spMkLst>
        </pc:spChg>
        <pc:spChg chg="add mod">
          <ac:chgData name="Tejada, Carmen" userId="4e46fa0d-51a0-4b7a-a6a6-e5b06c9f6d76" providerId="ADAL" clId="{0973AC2B-7113-47FA-8755-F7B35E778DA0}" dt="2023-02-16T10:45:27.188" v="3808"/>
          <ac:spMkLst>
            <pc:docMk/>
            <pc:sldMk cId="2703726348" sldId="277"/>
            <ac:spMk id="27" creationId="{8257A8B4-A1BE-4505-9555-6A0BD227CA17}"/>
          </ac:spMkLst>
        </pc:spChg>
        <pc:spChg chg="mod">
          <ac:chgData name="Tejada, Carmen" userId="4e46fa0d-51a0-4b7a-a6a6-e5b06c9f6d76" providerId="ADAL" clId="{0973AC2B-7113-47FA-8755-F7B35E778DA0}" dt="2023-02-17T08:25:56.510" v="5203" actId="207"/>
          <ac:spMkLst>
            <pc:docMk/>
            <pc:sldMk cId="2703726348" sldId="277"/>
            <ac:spMk id="28" creationId="{465968C3-738F-4EF3-A402-F7671826CF4F}"/>
          </ac:spMkLst>
        </pc:spChg>
        <pc:spChg chg="add mod">
          <ac:chgData name="Tejada, Carmen" userId="4e46fa0d-51a0-4b7a-a6a6-e5b06c9f6d76" providerId="ADAL" clId="{0973AC2B-7113-47FA-8755-F7B35E778DA0}" dt="2023-02-17T08:25:05.749" v="5164" actId="123"/>
          <ac:spMkLst>
            <pc:docMk/>
            <pc:sldMk cId="2703726348" sldId="277"/>
            <ac:spMk id="29" creationId="{434EDBBD-F110-46EC-BB8D-FDE39EA95C35}"/>
          </ac:spMkLst>
        </pc:spChg>
        <pc:spChg chg="del mod">
          <ac:chgData name="Tejada, Carmen" userId="4e46fa0d-51a0-4b7a-a6a6-e5b06c9f6d76" providerId="ADAL" clId="{0973AC2B-7113-47FA-8755-F7B35E778DA0}" dt="2023-02-16T10:45:57.624" v="3833" actId="478"/>
          <ac:spMkLst>
            <pc:docMk/>
            <pc:sldMk cId="2703726348" sldId="277"/>
            <ac:spMk id="39" creationId="{E3BA92DE-C369-4C3E-80C0-A2C28BEC1078}"/>
          </ac:spMkLst>
        </pc:spChg>
        <pc:spChg chg="mod">
          <ac:chgData name="Tejada, Carmen" userId="4e46fa0d-51a0-4b7a-a6a6-e5b06c9f6d76" providerId="ADAL" clId="{0973AC2B-7113-47FA-8755-F7B35E778DA0}" dt="2023-02-16T10:46:23.015" v="3850" actId="1035"/>
          <ac:spMkLst>
            <pc:docMk/>
            <pc:sldMk cId="2703726348" sldId="277"/>
            <ac:spMk id="54" creationId="{3F0739B4-6901-4061-85A5-4CA9F518695B}"/>
          </ac:spMkLst>
        </pc:spChg>
        <pc:graphicFrameChg chg="mod">
          <ac:chgData name="Tejada, Carmen" userId="4e46fa0d-51a0-4b7a-a6a6-e5b06c9f6d76" providerId="ADAL" clId="{0973AC2B-7113-47FA-8755-F7B35E778DA0}" dt="2023-02-16T10:45:26.512" v="3807"/>
          <ac:graphicFrameMkLst>
            <pc:docMk/>
            <pc:sldMk cId="2703726348" sldId="277"/>
            <ac:graphicFrameMk id="7" creationId="{F45C22BC-5AE8-42C9-B1BF-D49FCB8632EC}"/>
          </ac:graphicFrameMkLst>
        </pc:graphicFrameChg>
        <pc:graphicFrameChg chg="mod">
          <ac:chgData name="Tejada, Carmen" userId="4e46fa0d-51a0-4b7a-a6a6-e5b06c9f6d76" providerId="ADAL" clId="{0973AC2B-7113-47FA-8755-F7B35E778DA0}" dt="2023-02-16T10:46:23.015" v="3850" actId="1035"/>
          <ac:graphicFrameMkLst>
            <pc:docMk/>
            <pc:sldMk cId="2703726348" sldId="277"/>
            <ac:graphicFrameMk id="32" creationId="{AA3BEB6D-1899-439B-9EC0-AF4E212D5F5D}"/>
          </ac:graphicFrameMkLst>
        </pc:graphicFrameChg>
        <pc:graphicFrameChg chg="mod">
          <ac:chgData name="Tejada, Carmen" userId="4e46fa0d-51a0-4b7a-a6a6-e5b06c9f6d76" providerId="ADAL" clId="{0973AC2B-7113-47FA-8755-F7B35E778DA0}" dt="2023-02-16T10:46:23.015" v="3850" actId="1035"/>
          <ac:graphicFrameMkLst>
            <pc:docMk/>
            <pc:sldMk cId="2703726348" sldId="277"/>
            <ac:graphicFrameMk id="43" creationId="{ED524712-ACF1-4FF0-BBD5-78BECD399A30}"/>
          </ac:graphicFrameMkLst>
        </pc:graphicFrameChg>
        <pc:picChg chg="mod">
          <ac:chgData name="Tejada, Carmen" userId="4e46fa0d-51a0-4b7a-a6a6-e5b06c9f6d76" providerId="ADAL" clId="{0973AC2B-7113-47FA-8755-F7B35E778DA0}" dt="2023-02-16T10:46:23.015" v="3850" actId="1035"/>
          <ac:picMkLst>
            <pc:docMk/>
            <pc:sldMk cId="2703726348" sldId="277"/>
            <ac:picMk id="36" creationId="{0C6DF11C-EF0F-4473-AB09-B3DA98759460}"/>
          </ac:picMkLst>
        </pc:picChg>
        <pc:picChg chg="mod">
          <ac:chgData name="Tejada, Carmen" userId="4e46fa0d-51a0-4b7a-a6a6-e5b06c9f6d76" providerId="ADAL" clId="{0973AC2B-7113-47FA-8755-F7B35E778DA0}" dt="2023-02-16T10:46:23.015" v="3850" actId="1035"/>
          <ac:picMkLst>
            <pc:docMk/>
            <pc:sldMk cId="2703726348" sldId="277"/>
            <ac:picMk id="37" creationId="{1E6B7BB3-366A-45C7-B7BF-559A7CCA6E5C}"/>
          </ac:picMkLst>
        </pc:picChg>
        <pc:picChg chg="mod">
          <ac:chgData name="Tejada, Carmen" userId="4e46fa0d-51a0-4b7a-a6a6-e5b06c9f6d76" providerId="ADAL" clId="{0973AC2B-7113-47FA-8755-F7B35E778DA0}" dt="2023-02-16T10:46:23.015" v="3850" actId="1035"/>
          <ac:picMkLst>
            <pc:docMk/>
            <pc:sldMk cId="2703726348" sldId="277"/>
            <ac:picMk id="38" creationId="{2B15B455-7A10-486E-A928-677561EE76BA}"/>
          </ac:picMkLst>
        </pc:picChg>
        <pc:cxnChg chg="mod">
          <ac:chgData name="Tejada, Carmen" userId="4e46fa0d-51a0-4b7a-a6a6-e5b06c9f6d76" providerId="ADAL" clId="{0973AC2B-7113-47FA-8755-F7B35E778DA0}" dt="2023-02-16T10:46:23.015" v="3850" actId="1035"/>
          <ac:cxnSpMkLst>
            <pc:docMk/>
            <pc:sldMk cId="2703726348" sldId="277"/>
            <ac:cxnSpMk id="20" creationId="{7F51B7A7-CD74-46C4-A0DE-8B22B2088DB6}"/>
          </ac:cxnSpMkLst>
        </pc:cxnChg>
        <pc:cxnChg chg="mod">
          <ac:chgData name="Tejada, Carmen" userId="4e46fa0d-51a0-4b7a-a6a6-e5b06c9f6d76" providerId="ADAL" clId="{0973AC2B-7113-47FA-8755-F7B35E778DA0}" dt="2023-02-16T10:46:23.015" v="3850" actId="1035"/>
          <ac:cxnSpMkLst>
            <pc:docMk/>
            <pc:sldMk cId="2703726348" sldId="277"/>
            <ac:cxnSpMk id="21" creationId="{68F54C61-E8DB-4AE7-814A-65C4B69E3D84}"/>
          </ac:cxnSpMkLst>
        </pc:cxnChg>
        <pc:cxnChg chg="mod">
          <ac:chgData name="Tejada, Carmen" userId="4e46fa0d-51a0-4b7a-a6a6-e5b06c9f6d76" providerId="ADAL" clId="{0973AC2B-7113-47FA-8755-F7B35E778DA0}" dt="2023-02-16T10:46:23.015" v="3850" actId="1035"/>
          <ac:cxnSpMkLst>
            <pc:docMk/>
            <pc:sldMk cId="2703726348" sldId="277"/>
            <ac:cxnSpMk id="23" creationId="{112DD8F8-EBAB-49FA-BC35-F9A122774F67}"/>
          </ac:cxnSpMkLst>
        </pc:cxnChg>
        <pc:cxnChg chg="mod">
          <ac:chgData name="Tejada, Carmen" userId="4e46fa0d-51a0-4b7a-a6a6-e5b06c9f6d76" providerId="ADAL" clId="{0973AC2B-7113-47FA-8755-F7B35E778DA0}" dt="2023-02-16T10:46:23.015" v="3850" actId="1035"/>
          <ac:cxnSpMkLst>
            <pc:docMk/>
            <pc:sldMk cId="2703726348" sldId="277"/>
            <ac:cxnSpMk id="26" creationId="{CEB0A793-6683-4E15-8EF8-63F82FE5E9D0}"/>
          </ac:cxnSpMkLst>
        </pc:cxnChg>
      </pc:sldChg>
      <pc:sldChg chg="addSp delSp modSp mod ord">
        <pc:chgData name="Tejada, Carmen" userId="4e46fa0d-51a0-4b7a-a6a6-e5b06c9f6d76" providerId="ADAL" clId="{0973AC2B-7113-47FA-8755-F7B35E778DA0}" dt="2023-02-17T08:24:18.693" v="5161" actId="1076"/>
        <pc:sldMkLst>
          <pc:docMk/>
          <pc:sldMk cId="973826153" sldId="278"/>
        </pc:sldMkLst>
        <pc:spChg chg="del">
          <ac:chgData name="Tejada, Carmen" userId="4e46fa0d-51a0-4b7a-a6a6-e5b06c9f6d76" providerId="ADAL" clId="{0973AC2B-7113-47FA-8755-F7B35E778DA0}" dt="2023-02-16T10:41:18.873" v="3671" actId="478"/>
          <ac:spMkLst>
            <pc:docMk/>
            <pc:sldMk cId="973826153" sldId="278"/>
            <ac:spMk id="2" creationId="{A1E96B23-5BE5-5846-B4C0-7F3D4D3D25C4}"/>
          </ac:spMkLst>
        </pc:spChg>
        <pc:spChg chg="mod ord">
          <ac:chgData name="Tejada, Carmen" userId="4e46fa0d-51a0-4b7a-a6a6-e5b06c9f6d76" providerId="ADAL" clId="{0973AC2B-7113-47FA-8755-F7B35E778DA0}" dt="2023-02-17T08:23:39.611" v="5122"/>
          <ac:spMkLst>
            <pc:docMk/>
            <pc:sldMk cId="973826153" sldId="278"/>
            <ac:spMk id="5" creationId="{BAC065D2-3434-4774-900E-2C3961BBD4FB}"/>
          </ac:spMkLst>
        </pc:spChg>
        <pc:spChg chg="add del mod">
          <ac:chgData name="Tejada, Carmen" userId="4e46fa0d-51a0-4b7a-a6a6-e5b06c9f6d76" providerId="ADAL" clId="{0973AC2B-7113-47FA-8755-F7B35E778DA0}" dt="2023-02-16T10:41:21.626" v="3675" actId="478"/>
          <ac:spMkLst>
            <pc:docMk/>
            <pc:sldMk cId="973826153" sldId="278"/>
            <ac:spMk id="6" creationId="{B9B08AFA-D06A-42CF-852B-D8494F3164C1}"/>
          </ac:spMkLst>
        </pc:spChg>
        <pc:spChg chg="del">
          <ac:chgData name="Tejada, Carmen" userId="4e46fa0d-51a0-4b7a-a6a6-e5b06c9f6d76" providerId="ADAL" clId="{0973AC2B-7113-47FA-8755-F7B35E778DA0}" dt="2023-02-16T10:42:21.837" v="3708" actId="478"/>
          <ac:spMkLst>
            <pc:docMk/>
            <pc:sldMk cId="973826153" sldId="278"/>
            <ac:spMk id="11" creationId="{2A27C60C-C4C9-4705-839B-12415F91AF7E}"/>
          </ac:spMkLst>
        </pc:spChg>
        <pc:spChg chg="del mod">
          <ac:chgData name="Tejada, Carmen" userId="4e46fa0d-51a0-4b7a-a6a6-e5b06c9f6d76" providerId="ADAL" clId="{0973AC2B-7113-47FA-8755-F7B35E778DA0}" dt="2023-02-16T10:41:46.112" v="3693" actId="478"/>
          <ac:spMkLst>
            <pc:docMk/>
            <pc:sldMk cId="973826153" sldId="278"/>
            <ac:spMk id="18" creationId="{FCC6F9E5-C617-4F79-9FFD-0D3E6BED0A87}"/>
          </ac:spMkLst>
        </pc:spChg>
        <pc:spChg chg="add mod ord">
          <ac:chgData name="Tejada, Carmen" userId="4e46fa0d-51a0-4b7a-a6a6-e5b06c9f6d76" providerId="ADAL" clId="{0973AC2B-7113-47FA-8755-F7B35E778DA0}" dt="2023-02-17T08:23:39.616" v="5128"/>
          <ac:spMkLst>
            <pc:docMk/>
            <pc:sldMk cId="973826153" sldId="278"/>
            <ac:spMk id="19" creationId="{5025F30F-DC09-4EC0-9B8B-073A8C25FBAB}"/>
          </ac:spMkLst>
        </pc:spChg>
        <pc:spChg chg="add mod ord">
          <ac:chgData name="Tejada, Carmen" userId="4e46fa0d-51a0-4b7a-a6a6-e5b06c9f6d76" providerId="ADAL" clId="{0973AC2B-7113-47FA-8755-F7B35E778DA0}" dt="2023-02-17T08:23:39.616" v="5130"/>
          <ac:spMkLst>
            <pc:docMk/>
            <pc:sldMk cId="973826153" sldId="278"/>
            <ac:spMk id="20" creationId="{57455D2A-0531-4BCB-ACC8-3185259D7390}"/>
          </ac:spMkLst>
        </pc:spChg>
        <pc:spChg chg="add mod ord">
          <ac:chgData name="Tejada, Carmen" userId="4e46fa0d-51a0-4b7a-a6a6-e5b06c9f6d76" providerId="ADAL" clId="{0973AC2B-7113-47FA-8755-F7B35E778DA0}" dt="2023-02-17T08:23:39.618" v="5132"/>
          <ac:spMkLst>
            <pc:docMk/>
            <pc:sldMk cId="973826153" sldId="278"/>
            <ac:spMk id="22" creationId="{F7C83A7F-761A-4116-BCB9-A90646FCA973}"/>
          </ac:spMkLst>
        </pc:spChg>
        <pc:spChg chg="mod ord">
          <ac:chgData name="Tejada, Carmen" userId="4e46fa0d-51a0-4b7a-a6a6-e5b06c9f6d76" providerId="ADAL" clId="{0973AC2B-7113-47FA-8755-F7B35E778DA0}" dt="2023-02-17T08:23:39.621" v="5138"/>
          <ac:spMkLst>
            <pc:docMk/>
            <pc:sldMk cId="973826153" sldId="278"/>
            <ac:spMk id="23" creationId="{B6E5DCC1-6B2C-4A1A-9D2E-D432976D9616}"/>
          </ac:spMkLst>
        </pc:spChg>
        <pc:spChg chg="mod ord">
          <ac:chgData name="Tejada, Carmen" userId="4e46fa0d-51a0-4b7a-a6a6-e5b06c9f6d76" providerId="ADAL" clId="{0973AC2B-7113-47FA-8755-F7B35E778DA0}" dt="2023-02-17T08:24:18.693" v="5161" actId="1076"/>
          <ac:spMkLst>
            <pc:docMk/>
            <pc:sldMk cId="973826153" sldId="278"/>
            <ac:spMk id="29" creationId="{BF85E3C1-869F-46C7-A33B-F3FA030DA69F}"/>
          </ac:spMkLst>
        </pc:spChg>
        <pc:spChg chg="add mod ord">
          <ac:chgData name="Tejada, Carmen" userId="4e46fa0d-51a0-4b7a-a6a6-e5b06c9f6d76" providerId="ADAL" clId="{0973AC2B-7113-47FA-8755-F7B35E778DA0}" dt="2023-02-17T08:23:39.622" v="5140"/>
          <ac:spMkLst>
            <pc:docMk/>
            <pc:sldMk cId="973826153" sldId="278"/>
            <ac:spMk id="30" creationId="{0482DBCF-079E-4DF3-B0E9-84A3D1C2FECE}"/>
          </ac:spMkLst>
        </pc:spChg>
        <pc:graphicFrameChg chg="mod">
          <ac:chgData name="Tejada, Carmen" userId="4e46fa0d-51a0-4b7a-a6a6-e5b06c9f6d76" providerId="ADAL" clId="{0973AC2B-7113-47FA-8755-F7B35E778DA0}" dt="2023-02-17T08:23:39.632" v="5153"/>
          <ac:graphicFrameMkLst>
            <pc:docMk/>
            <pc:sldMk cId="973826153" sldId="278"/>
            <ac:graphicFrameMk id="7" creationId="{F45C22BC-5AE8-42C9-B1BF-D49FCB8632EC}"/>
          </ac:graphicFrameMkLst>
        </pc:graphicFrameChg>
        <pc:graphicFrameChg chg="del">
          <ac:chgData name="Tejada, Carmen" userId="4e46fa0d-51a0-4b7a-a6a6-e5b06c9f6d76" providerId="ADAL" clId="{0973AC2B-7113-47FA-8755-F7B35E778DA0}" dt="2023-02-16T10:42:21.837" v="3708" actId="478"/>
          <ac:graphicFrameMkLst>
            <pc:docMk/>
            <pc:sldMk cId="973826153" sldId="278"/>
            <ac:graphicFrameMk id="10" creationId="{47B385B3-3E00-4238-95F5-1E3CA4F49941}"/>
          </ac:graphicFrameMkLst>
        </pc:graphicFrameChg>
        <pc:graphicFrameChg chg="add mod ord modGraphic">
          <ac:chgData name="Tejada, Carmen" userId="4e46fa0d-51a0-4b7a-a6a6-e5b06c9f6d76" providerId="ADAL" clId="{0973AC2B-7113-47FA-8755-F7B35E778DA0}" dt="2023-02-17T08:23:39.621" v="5136"/>
          <ac:graphicFrameMkLst>
            <pc:docMk/>
            <pc:sldMk cId="973826153" sldId="278"/>
            <ac:graphicFrameMk id="27" creationId="{2EEE9A67-3EC9-4E0B-8808-8BA248A38A63}"/>
          </ac:graphicFrameMkLst>
        </pc:graphicFrameChg>
        <pc:graphicFrameChg chg="add mod ord modGraphic">
          <ac:chgData name="Tejada, Carmen" userId="4e46fa0d-51a0-4b7a-a6a6-e5b06c9f6d76" providerId="ADAL" clId="{0973AC2B-7113-47FA-8755-F7B35E778DA0}" dt="2023-02-17T08:23:39.623" v="5142"/>
          <ac:graphicFrameMkLst>
            <pc:docMk/>
            <pc:sldMk cId="973826153" sldId="278"/>
            <ac:graphicFrameMk id="31" creationId="{C2560047-DE82-4F35-95C2-87E0CFB24167}"/>
          </ac:graphicFrameMkLst>
        </pc:graphicFrameChg>
        <pc:picChg chg="del mod">
          <ac:chgData name="Tejada, Carmen" userId="4e46fa0d-51a0-4b7a-a6a6-e5b06c9f6d76" providerId="ADAL" clId="{0973AC2B-7113-47FA-8755-F7B35E778DA0}" dt="2023-02-16T10:42:23.672" v="3709" actId="478"/>
          <ac:picMkLst>
            <pc:docMk/>
            <pc:sldMk cId="973826153" sldId="278"/>
            <ac:picMk id="4" creationId="{AE66AA66-CFA5-42A8-9076-D61FD8F5A188}"/>
          </ac:picMkLst>
        </pc:picChg>
        <pc:picChg chg="add del mod">
          <ac:chgData name="Tejada, Carmen" userId="4e46fa0d-51a0-4b7a-a6a6-e5b06c9f6d76" providerId="ADAL" clId="{0973AC2B-7113-47FA-8755-F7B35E778DA0}" dt="2023-02-16T10:43:31.347" v="3724" actId="478"/>
          <ac:picMkLst>
            <pc:docMk/>
            <pc:sldMk cId="973826153" sldId="278"/>
            <ac:picMk id="8" creationId="{925A4BED-CEC3-4944-AA6A-42DC3346AA77}"/>
          </ac:picMkLst>
        </pc:picChg>
        <pc:picChg chg="del mod ord">
          <ac:chgData name="Tejada, Carmen" userId="4e46fa0d-51a0-4b7a-a6a6-e5b06c9f6d76" providerId="ADAL" clId="{0973AC2B-7113-47FA-8755-F7B35E778DA0}" dt="2023-02-17T08:21:48.966" v="5019" actId="478"/>
          <ac:picMkLst>
            <pc:docMk/>
            <pc:sldMk cId="973826153" sldId="278"/>
            <ac:picMk id="21" creationId="{EBDF8964-51D7-4DB6-A573-1E41C253F6E4}"/>
          </ac:picMkLst>
        </pc:picChg>
        <pc:picChg chg="mod ord">
          <ac:chgData name="Tejada, Carmen" userId="4e46fa0d-51a0-4b7a-a6a6-e5b06c9f6d76" providerId="ADAL" clId="{0973AC2B-7113-47FA-8755-F7B35E778DA0}" dt="2023-02-17T08:23:53.414" v="5155" actId="1076"/>
          <ac:picMkLst>
            <pc:docMk/>
            <pc:sldMk cId="973826153" sldId="278"/>
            <ac:picMk id="24" creationId="{E5DC8993-62B2-476C-BDA9-757ACEBDDB9F}"/>
          </ac:picMkLst>
        </pc:picChg>
        <pc:picChg chg="mod ord">
          <ac:chgData name="Tejada, Carmen" userId="4e46fa0d-51a0-4b7a-a6a6-e5b06c9f6d76" providerId="ADAL" clId="{0973AC2B-7113-47FA-8755-F7B35E778DA0}" dt="2023-02-17T08:24:09.065" v="5160" actId="1076"/>
          <ac:picMkLst>
            <pc:docMk/>
            <pc:sldMk cId="973826153" sldId="278"/>
            <ac:picMk id="25" creationId="{147FAA6F-BEC0-49F0-8229-A8D21B19C082}"/>
          </ac:picMkLst>
        </pc:picChg>
        <pc:picChg chg="add mod ord">
          <ac:chgData name="Tejada, Carmen" userId="4e46fa0d-51a0-4b7a-a6a6-e5b06c9f6d76" providerId="ADAL" clId="{0973AC2B-7113-47FA-8755-F7B35E778DA0}" dt="2023-02-17T08:23:39.619" v="5134"/>
          <ac:picMkLst>
            <pc:docMk/>
            <pc:sldMk cId="973826153" sldId="278"/>
            <ac:picMk id="26" creationId="{44DECD79-38B4-4C78-8E1B-01300367DFA7}"/>
          </ac:picMkLst>
        </pc:picChg>
        <pc:cxnChg chg="mod ord">
          <ac:chgData name="Tejada, Carmen" userId="4e46fa0d-51a0-4b7a-a6a6-e5b06c9f6d76" providerId="ADAL" clId="{0973AC2B-7113-47FA-8755-F7B35E778DA0}" dt="2023-02-17T08:23:39.626" v="5146"/>
          <ac:cxnSpMkLst>
            <pc:docMk/>
            <pc:sldMk cId="973826153" sldId="278"/>
            <ac:cxnSpMk id="14" creationId="{B29504A4-6E2C-4FAC-B74E-FFEC981A1DAE}"/>
          </ac:cxnSpMkLst>
        </pc:cxnChg>
        <pc:cxnChg chg="mod ord">
          <ac:chgData name="Tejada, Carmen" userId="4e46fa0d-51a0-4b7a-a6a6-e5b06c9f6d76" providerId="ADAL" clId="{0973AC2B-7113-47FA-8755-F7B35E778DA0}" dt="2023-02-17T08:23:39.628" v="5150"/>
          <ac:cxnSpMkLst>
            <pc:docMk/>
            <pc:sldMk cId="973826153" sldId="278"/>
            <ac:cxnSpMk id="28" creationId="{A96B561A-5FC5-4E5C-B91B-399C9B477515}"/>
          </ac:cxnSpMkLst>
        </pc:cxnChg>
        <pc:cxnChg chg="add mod ord">
          <ac:chgData name="Tejada, Carmen" userId="4e46fa0d-51a0-4b7a-a6a6-e5b06c9f6d76" providerId="ADAL" clId="{0973AC2B-7113-47FA-8755-F7B35E778DA0}" dt="2023-02-17T08:23:39.625" v="5144"/>
          <ac:cxnSpMkLst>
            <pc:docMk/>
            <pc:sldMk cId="973826153" sldId="278"/>
            <ac:cxnSpMk id="32" creationId="{28BD0DE7-1CD7-4069-9805-8339C5865B65}"/>
          </ac:cxnSpMkLst>
        </pc:cxnChg>
      </pc:sldChg>
      <pc:sldChg chg="addSp delSp modSp mod">
        <pc:chgData name="Tejada, Carmen" userId="4e46fa0d-51a0-4b7a-a6a6-e5b06c9f6d76" providerId="ADAL" clId="{0973AC2B-7113-47FA-8755-F7B35E778DA0}" dt="2023-02-20T14:44:14.255" v="5358" actId="1076"/>
        <pc:sldMkLst>
          <pc:docMk/>
          <pc:sldMk cId="4250689473" sldId="282"/>
        </pc:sldMkLst>
        <pc:spChg chg="del">
          <ac:chgData name="Tejada, Carmen" userId="4e46fa0d-51a0-4b7a-a6a6-e5b06c9f6d76" providerId="ADAL" clId="{0973AC2B-7113-47FA-8755-F7B35E778DA0}" dt="2023-02-16T10:38:16.740" v="3602" actId="478"/>
          <ac:spMkLst>
            <pc:docMk/>
            <pc:sldMk cId="4250689473" sldId="282"/>
            <ac:spMk id="2" creationId="{A1E96B23-5BE5-5846-B4C0-7F3D4D3D25C4}"/>
          </ac:spMkLst>
        </pc:spChg>
        <pc:spChg chg="add del mod">
          <ac:chgData name="Tejada, Carmen" userId="4e46fa0d-51a0-4b7a-a6a6-e5b06c9f6d76" providerId="ADAL" clId="{0973AC2B-7113-47FA-8755-F7B35E778DA0}" dt="2023-02-16T10:38:19.879" v="3607" actId="478"/>
          <ac:spMkLst>
            <pc:docMk/>
            <pc:sldMk cId="4250689473" sldId="282"/>
            <ac:spMk id="4" creationId="{3041BDE4-5E17-4E8D-817B-0EBE5877676B}"/>
          </ac:spMkLst>
        </pc:spChg>
        <pc:spChg chg="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6" creationId="{CBF2E0C6-2981-446C-BAFC-233BC83C6874}"/>
          </ac:spMkLst>
        </pc:spChg>
        <pc:spChg chg="mod">
          <ac:chgData name="Tejada, Carmen" userId="4e46fa0d-51a0-4b7a-a6a6-e5b06c9f6d76" providerId="ADAL" clId="{0973AC2B-7113-47FA-8755-F7B35E778DA0}" dt="2023-02-15T15:33:43.241" v="2859" actId="242"/>
          <ac:spMkLst>
            <pc:docMk/>
            <pc:sldMk cId="4250689473" sldId="282"/>
            <ac:spMk id="8" creationId="{3912CA2E-0AB8-4C27-87BF-CB394ACD1887}"/>
          </ac:spMkLst>
        </pc:spChg>
        <pc:spChg chg="mod">
          <ac:chgData name="Tejada, Carmen" userId="4e46fa0d-51a0-4b7a-a6a6-e5b06c9f6d76" providerId="ADAL" clId="{0973AC2B-7113-47FA-8755-F7B35E778DA0}" dt="2023-02-17T08:28:17.312" v="5281" actId="123"/>
          <ac:spMkLst>
            <pc:docMk/>
            <pc:sldMk cId="4250689473" sldId="282"/>
            <ac:spMk id="18" creationId="{FCC6F9E5-C617-4F79-9FFD-0D3E6BED0A87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20" creationId="{4F7F4593-012D-4A1E-8C55-4D59DA44B77C}"/>
          </ac:spMkLst>
        </pc:spChg>
        <pc:spChg chg="add del mod">
          <ac:chgData name="Tejada, Carmen" userId="4e46fa0d-51a0-4b7a-a6a6-e5b06c9f6d76" providerId="ADAL" clId="{0973AC2B-7113-47FA-8755-F7B35E778DA0}" dt="2023-02-15T18:33:58.968" v="2863"/>
          <ac:spMkLst>
            <pc:docMk/>
            <pc:sldMk cId="4250689473" sldId="282"/>
            <ac:spMk id="22" creationId="{92C13F01-5F32-4144-B626-4BF1F1F43E64}"/>
          </ac:spMkLst>
        </pc:spChg>
        <pc:spChg chg="add del mod">
          <ac:chgData name="Tejada, Carmen" userId="4e46fa0d-51a0-4b7a-a6a6-e5b06c9f6d76" providerId="ADAL" clId="{0973AC2B-7113-47FA-8755-F7B35E778DA0}" dt="2023-02-15T18:33:58.968" v="2863"/>
          <ac:spMkLst>
            <pc:docMk/>
            <pc:sldMk cId="4250689473" sldId="282"/>
            <ac:spMk id="23" creationId="{9A6106E7-D36B-485A-B0D1-8FDEA511CD11}"/>
          </ac:spMkLst>
        </pc:spChg>
        <pc:spChg chg="add mod">
          <ac:chgData name="Tejada, Carmen" userId="4e46fa0d-51a0-4b7a-a6a6-e5b06c9f6d76" providerId="ADAL" clId="{0973AC2B-7113-47FA-8755-F7B35E778DA0}" dt="2023-02-17T08:27:58.014" v="5280" actId="20577"/>
          <ac:spMkLst>
            <pc:docMk/>
            <pc:sldMk cId="4250689473" sldId="282"/>
            <ac:spMk id="26" creationId="{7C5386BE-517D-4400-B8B0-0CEC283301D4}"/>
          </ac:spMkLst>
        </pc:spChg>
        <pc:spChg chg="add mod">
          <ac:chgData name="Tejada, Carmen" userId="4e46fa0d-51a0-4b7a-a6a6-e5b06c9f6d76" providerId="ADAL" clId="{0973AC2B-7113-47FA-8755-F7B35E778DA0}" dt="2023-02-16T10:38:47.228" v="3611" actId="1036"/>
          <ac:spMkLst>
            <pc:docMk/>
            <pc:sldMk cId="4250689473" sldId="282"/>
            <ac:spMk id="27" creationId="{6B183F64-A973-434F-80BA-426354CE403A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28" creationId="{CF5FF266-0A6C-41B4-9BBB-5E666773ADB9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29" creationId="{ADDBF59F-1935-4DD4-91BD-7FDFD8E5B07D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30" creationId="{C2E8A22E-FE90-4217-801C-C9AD540293F8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31" creationId="{2759429E-D491-48DF-B2B4-5380043AE0C7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32" creationId="{45ED78FE-F94A-4C90-9CB7-8DAE83CE751B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33" creationId="{05FFE30B-2DAF-4B98-AE8C-A0AED69E7F6C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34" creationId="{3EA40CEA-5D8B-4C5E-9E03-DC3CACB2FED1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35" creationId="{196FF88B-F347-46A9-A749-272887D7C2B7}"/>
          </ac:spMkLst>
        </pc:spChg>
        <pc:spChg chg="add del mod">
          <ac:chgData name="Tejada, Carmen" userId="4e46fa0d-51a0-4b7a-a6a6-e5b06c9f6d76" providerId="ADAL" clId="{0973AC2B-7113-47FA-8755-F7B35E778DA0}" dt="2023-02-17T08:28:30.074" v="5284" actId="478"/>
          <ac:spMkLst>
            <pc:docMk/>
            <pc:sldMk cId="4250689473" sldId="282"/>
            <ac:spMk id="36" creationId="{FFEBB825-C318-44BC-891A-92F13D96D05B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37" creationId="{30D75736-19AB-4151-9DB9-DDCC5FE159BD}"/>
          </ac:spMkLst>
        </pc:spChg>
        <pc:spChg chg="add del mod">
          <ac:chgData name="Tejada, Carmen" userId="4e46fa0d-51a0-4b7a-a6a6-e5b06c9f6d76" providerId="ADAL" clId="{0973AC2B-7113-47FA-8755-F7B35E778DA0}" dt="2023-02-17T08:28:38.638" v="5286"/>
          <ac:spMkLst>
            <pc:docMk/>
            <pc:sldMk cId="4250689473" sldId="282"/>
            <ac:spMk id="38" creationId="{B408BC90-E9EA-4C47-8BC0-5D9ADA0A5893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39" creationId="{8CA267B4-55C4-44D9-B42B-4F9C4CC70D89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40" creationId="{3C24D00F-6ADD-4BE7-A683-D34944E7B358}"/>
          </ac:spMkLst>
        </pc:spChg>
        <pc:spChg chg="del">
          <ac:chgData name="Tejada, Carmen" userId="4e46fa0d-51a0-4b7a-a6a6-e5b06c9f6d76" providerId="ADAL" clId="{0973AC2B-7113-47FA-8755-F7B35E778DA0}" dt="2023-02-17T08:28:59.713" v="5289" actId="478"/>
          <ac:spMkLst>
            <pc:docMk/>
            <pc:sldMk cId="4250689473" sldId="282"/>
            <ac:spMk id="42" creationId="{E4D5DE26-FE1A-4117-A652-A9AC550E9AC4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44" creationId="{89B40DD7-F371-47B2-A1D8-F39B3E966249}"/>
          </ac:spMkLst>
        </pc:spChg>
        <pc:spChg chg="del">
          <ac:chgData name="Tejada, Carmen" userId="4e46fa0d-51a0-4b7a-a6a6-e5b06c9f6d76" providerId="ADAL" clId="{0973AC2B-7113-47FA-8755-F7B35E778DA0}" dt="2023-02-16T15:59:53.713" v="4972" actId="478"/>
          <ac:spMkLst>
            <pc:docMk/>
            <pc:sldMk cId="4250689473" sldId="282"/>
            <ac:spMk id="45" creationId="{83D32B5D-3ABC-4F7D-88C2-BD7F7EF39472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46" creationId="{5E9D151A-3A78-48F3-8CC7-EEDBE0939BF2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48" creationId="{69D4FA82-191D-40F0-A38B-A5371C2669DD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49" creationId="{F38256D8-DBB0-4B74-857F-883E239F1251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52" creationId="{6C275AB6-65E3-47F3-A0CB-CE57FDBC544D}"/>
          </ac:spMkLst>
        </pc:spChg>
        <pc:spChg chg="add mod">
          <ac:chgData name="Tejada, Carmen" userId="4e46fa0d-51a0-4b7a-a6a6-e5b06c9f6d76" providerId="ADAL" clId="{0973AC2B-7113-47FA-8755-F7B35E778DA0}" dt="2023-02-17T08:32:22.436" v="5335" actId="1035"/>
          <ac:spMkLst>
            <pc:docMk/>
            <pc:sldMk cId="4250689473" sldId="282"/>
            <ac:spMk id="55" creationId="{B813CA04-F3E2-4C9B-87E2-3D2BA9B92957}"/>
          </ac:spMkLst>
        </pc:spChg>
        <pc:spChg chg="del">
          <ac:chgData name="Tejada, Carmen" userId="4e46fa0d-51a0-4b7a-a6a6-e5b06c9f6d76" providerId="ADAL" clId="{0973AC2B-7113-47FA-8755-F7B35E778DA0}" dt="2023-02-17T08:28:59.713" v="5289" actId="478"/>
          <ac:spMkLst>
            <pc:docMk/>
            <pc:sldMk cId="4250689473" sldId="282"/>
            <ac:spMk id="56" creationId="{37A3F038-A1D3-4711-9E48-052EEB770765}"/>
          </ac:spMkLst>
        </pc:spChg>
        <pc:spChg chg="del">
          <ac:chgData name="Tejada, Carmen" userId="4e46fa0d-51a0-4b7a-a6a6-e5b06c9f6d76" providerId="ADAL" clId="{0973AC2B-7113-47FA-8755-F7B35E778DA0}" dt="2023-02-17T08:28:59.713" v="5289" actId="478"/>
          <ac:spMkLst>
            <pc:docMk/>
            <pc:sldMk cId="4250689473" sldId="282"/>
            <ac:spMk id="57" creationId="{CD6E0D04-EC04-4979-8CF3-6AFFF0BAE0DC}"/>
          </ac:spMkLst>
        </pc:spChg>
        <pc:spChg chg="del">
          <ac:chgData name="Tejada, Carmen" userId="4e46fa0d-51a0-4b7a-a6a6-e5b06c9f6d76" providerId="ADAL" clId="{0973AC2B-7113-47FA-8755-F7B35E778DA0}" dt="2023-02-17T08:28:59.713" v="5289" actId="478"/>
          <ac:spMkLst>
            <pc:docMk/>
            <pc:sldMk cId="4250689473" sldId="282"/>
            <ac:spMk id="58" creationId="{F54E0FB8-7C26-47E9-8EA5-D5ADB87698AD}"/>
          </ac:spMkLst>
        </pc:spChg>
        <pc:spChg chg="del">
          <ac:chgData name="Tejada, Carmen" userId="4e46fa0d-51a0-4b7a-a6a6-e5b06c9f6d76" providerId="ADAL" clId="{0973AC2B-7113-47FA-8755-F7B35E778DA0}" dt="2023-02-17T08:28:59.713" v="5289" actId="478"/>
          <ac:spMkLst>
            <pc:docMk/>
            <pc:sldMk cId="4250689473" sldId="282"/>
            <ac:spMk id="59" creationId="{E59847CD-C799-42AC-9FB5-54FA769C2EA9}"/>
          </ac:spMkLst>
        </pc:spChg>
        <pc:graphicFrameChg chg="mod">
          <ac:chgData name="Tejada, Carmen" userId="4e46fa0d-51a0-4b7a-a6a6-e5b06c9f6d76" providerId="ADAL" clId="{0973AC2B-7113-47FA-8755-F7B35E778DA0}" dt="2023-02-16T10:38:20.425" v="3610"/>
          <ac:graphicFrameMkLst>
            <pc:docMk/>
            <pc:sldMk cId="4250689473" sldId="282"/>
            <ac:graphicFrameMk id="7" creationId="{F45C22BC-5AE8-42C9-B1BF-D49FCB8632EC}"/>
          </ac:graphicFrameMkLst>
        </pc:graphicFrameChg>
        <pc:graphicFrameChg chg="del">
          <ac:chgData name="Tejada, Carmen" userId="4e46fa0d-51a0-4b7a-a6a6-e5b06c9f6d76" providerId="ADAL" clId="{0973AC2B-7113-47FA-8755-F7B35E778DA0}" dt="2023-02-17T08:28:59.713" v="5289" actId="478"/>
          <ac:graphicFrameMkLst>
            <pc:docMk/>
            <pc:sldMk cId="4250689473" sldId="282"/>
            <ac:graphicFrameMk id="41" creationId="{3171C7E9-7D79-4E1B-96E3-54DFB3946E77}"/>
          </ac:graphicFrameMkLst>
        </pc:graphicFrameChg>
        <pc:graphicFrameChg chg="add mod">
          <ac:chgData name="Tejada, Carmen" userId="4e46fa0d-51a0-4b7a-a6a6-e5b06c9f6d76" providerId="ADAL" clId="{0973AC2B-7113-47FA-8755-F7B35E778DA0}" dt="2023-02-17T08:32:22.436" v="5335" actId="1035"/>
          <ac:graphicFrameMkLst>
            <pc:docMk/>
            <pc:sldMk cId="4250689473" sldId="282"/>
            <ac:graphicFrameMk id="43" creationId="{ECAD4123-4EFF-4249-B6B0-612F128E0F85}"/>
          </ac:graphicFrameMkLst>
        </pc:graphicFrameChg>
        <pc:graphicFrameChg chg="del">
          <ac:chgData name="Tejada, Carmen" userId="4e46fa0d-51a0-4b7a-a6a6-e5b06c9f6d76" providerId="ADAL" clId="{0973AC2B-7113-47FA-8755-F7B35E778DA0}" dt="2023-02-17T08:28:59.713" v="5289" actId="478"/>
          <ac:graphicFrameMkLst>
            <pc:docMk/>
            <pc:sldMk cId="4250689473" sldId="282"/>
            <ac:graphicFrameMk id="47" creationId="{7C5AE396-B14C-4795-82D6-309955E256B4}"/>
          </ac:graphicFrameMkLst>
        </pc:graphicFrameChg>
        <pc:graphicFrameChg chg="add mod modGraphic">
          <ac:chgData name="Tejada, Carmen" userId="4e46fa0d-51a0-4b7a-a6a6-e5b06c9f6d76" providerId="ADAL" clId="{0973AC2B-7113-47FA-8755-F7B35E778DA0}" dt="2023-02-17T08:32:22.436" v="5335" actId="1035"/>
          <ac:graphicFrameMkLst>
            <pc:docMk/>
            <pc:sldMk cId="4250689473" sldId="282"/>
            <ac:graphicFrameMk id="50" creationId="{B2077215-C6B4-475A-9DAD-A5A3DCD4EA90}"/>
          </ac:graphicFrameMkLst>
        </pc:graphicFrameChg>
        <pc:graphicFrameChg chg="add mod modGraphic">
          <ac:chgData name="Tejada, Carmen" userId="4e46fa0d-51a0-4b7a-a6a6-e5b06c9f6d76" providerId="ADAL" clId="{0973AC2B-7113-47FA-8755-F7B35E778DA0}" dt="2023-02-17T08:32:22.436" v="5335" actId="1035"/>
          <ac:graphicFrameMkLst>
            <pc:docMk/>
            <pc:sldMk cId="4250689473" sldId="282"/>
            <ac:graphicFrameMk id="51" creationId="{4766408B-EC0F-47A5-AB6C-0FFE6F6EED8F}"/>
          </ac:graphicFrameMkLst>
        </pc:graphicFrameChg>
        <pc:graphicFrameChg chg="add mod modGraphic">
          <ac:chgData name="Tejada, Carmen" userId="4e46fa0d-51a0-4b7a-a6a6-e5b06c9f6d76" providerId="ADAL" clId="{0973AC2B-7113-47FA-8755-F7B35E778DA0}" dt="2023-02-17T08:32:22.436" v="5335" actId="1035"/>
          <ac:graphicFrameMkLst>
            <pc:docMk/>
            <pc:sldMk cId="4250689473" sldId="282"/>
            <ac:graphicFrameMk id="53" creationId="{DE79021E-0BDA-42BB-9D86-0D57444F1CFD}"/>
          </ac:graphicFrameMkLst>
        </pc:graphicFrameChg>
        <pc:graphicFrameChg chg="del">
          <ac:chgData name="Tejada, Carmen" userId="4e46fa0d-51a0-4b7a-a6a6-e5b06c9f6d76" providerId="ADAL" clId="{0973AC2B-7113-47FA-8755-F7B35E778DA0}" dt="2023-02-17T08:28:59.713" v="5289" actId="478"/>
          <ac:graphicFrameMkLst>
            <pc:docMk/>
            <pc:sldMk cId="4250689473" sldId="282"/>
            <ac:graphicFrameMk id="54" creationId="{CA6C0D3A-104B-4FBD-A64A-EA6534F724EE}"/>
          </ac:graphicFrameMkLst>
        </pc:graphicFrameChg>
        <pc:graphicFrameChg chg="del">
          <ac:chgData name="Tejada, Carmen" userId="4e46fa0d-51a0-4b7a-a6a6-e5b06c9f6d76" providerId="ADAL" clId="{0973AC2B-7113-47FA-8755-F7B35E778DA0}" dt="2023-02-17T08:28:59.713" v="5289" actId="478"/>
          <ac:graphicFrameMkLst>
            <pc:docMk/>
            <pc:sldMk cId="4250689473" sldId="282"/>
            <ac:graphicFrameMk id="60" creationId="{943640BF-4B57-4FBE-BEFF-3AEFDC753593}"/>
          </ac:graphicFrameMkLst>
        </pc:graphicFrameChg>
        <pc:graphicFrameChg chg="add mod modGraphic">
          <ac:chgData name="Tejada, Carmen" userId="4e46fa0d-51a0-4b7a-a6a6-e5b06c9f6d76" providerId="ADAL" clId="{0973AC2B-7113-47FA-8755-F7B35E778DA0}" dt="2023-02-20T14:43:13.507" v="5347" actId="1076"/>
          <ac:graphicFrameMkLst>
            <pc:docMk/>
            <pc:sldMk cId="4250689473" sldId="282"/>
            <ac:graphicFrameMk id="61" creationId="{829E0ED6-4C0D-4BB5-ADFD-E87434BB2942}"/>
          </ac:graphicFrameMkLst>
        </pc:graphicFrameChg>
        <pc:graphicFrameChg chg="add mod">
          <ac:chgData name="Tejada, Carmen" userId="4e46fa0d-51a0-4b7a-a6a6-e5b06c9f6d76" providerId="ADAL" clId="{0973AC2B-7113-47FA-8755-F7B35E778DA0}" dt="2023-02-17T08:32:22.436" v="5335" actId="1035"/>
          <ac:graphicFrameMkLst>
            <pc:docMk/>
            <pc:sldMk cId="4250689473" sldId="282"/>
            <ac:graphicFrameMk id="62" creationId="{5A1E3E85-B5F0-465A-A9B4-D2ED706AAB7E}"/>
          </ac:graphicFrameMkLst>
        </pc:graphicFrameChg>
        <pc:picChg chg="add mod">
          <ac:chgData name="Tejada, Carmen" userId="4e46fa0d-51a0-4b7a-a6a6-e5b06c9f6d76" providerId="ADAL" clId="{0973AC2B-7113-47FA-8755-F7B35E778DA0}" dt="2023-02-20T14:44:14.255" v="5358" actId="1076"/>
          <ac:picMkLst>
            <pc:docMk/>
            <pc:sldMk cId="4250689473" sldId="282"/>
            <ac:picMk id="3" creationId="{EA2354F0-41A7-433A-AB98-47A9F5B137B2}"/>
          </ac:picMkLst>
        </pc:picChg>
        <pc:cxnChg chg="add mod">
          <ac:chgData name="Tejada, Carmen" userId="4e46fa0d-51a0-4b7a-a6a6-e5b06c9f6d76" providerId="ADAL" clId="{0973AC2B-7113-47FA-8755-F7B35E778DA0}" dt="2023-02-20T14:44:09.326" v="5356" actId="14100"/>
          <ac:cxnSpMkLst>
            <pc:docMk/>
            <pc:sldMk cId="4250689473" sldId="282"/>
            <ac:cxnSpMk id="23" creationId="{9EAA4650-40DC-434F-987D-02BC3A416C30}"/>
          </ac:cxnSpMkLst>
        </pc:cxnChg>
      </pc:sldChg>
      <pc:sldChg chg="modSp 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4171336514" sldId="2147468269"/>
        </pc:sldMkLst>
        <pc:graphicFrameChg chg="mod">
          <ac:chgData name="Tejada, Carmen" userId="4e46fa0d-51a0-4b7a-a6a6-e5b06c9f6d76" providerId="ADAL" clId="{0973AC2B-7113-47FA-8755-F7B35E778DA0}" dt="2023-02-16T11:02:16.243" v="4004" actId="207"/>
          <ac:graphicFrameMkLst>
            <pc:docMk/>
            <pc:sldMk cId="4171336514" sldId="2147468269"/>
            <ac:graphicFrameMk id="4" creationId="{F9A667D7-027B-4B3D-AA74-1D7B00649E03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03:12.346" v="4015" actId="207"/>
          <ac:graphicFrameMkLst>
            <pc:docMk/>
            <pc:sldMk cId="4171336514" sldId="2147468269"/>
            <ac:graphicFrameMk id="79" creationId="{78C12EBF-B8F8-4FC3-95EB-30F57752D260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02:51.688" v="4014" actId="207"/>
          <ac:graphicFrameMkLst>
            <pc:docMk/>
            <pc:sldMk cId="4171336514" sldId="2147468269"/>
            <ac:graphicFrameMk id="80" creationId="{5DD1B47C-2E85-4A9B-A989-A677A72FA466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02:22.606" v="4006" actId="207"/>
          <ac:graphicFrameMkLst>
            <pc:docMk/>
            <pc:sldMk cId="4171336514" sldId="2147468269"/>
            <ac:graphicFrameMk id="86" creationId="{40DA9AC0-8024-4A3B-B171-5D6CDD749DC1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03:24.376" v="4017" actId="207"/>
          <ac:graphicFrameMkLst>
            <pc:docMk/>
            <pc:sldMk cId="4171336514" sldId="2147468269"/>
            <ac:graphicFrameMk id="87" creationId="{F41B0C07-0EFB-4397-812F-2BDB179FC1C7}"/>
          </ac:graphicFrameMkLst>
        </pc:graphicFrameChg>
        <pc:picChg chg="mod">
          <ac:chgData name="Tejada, Carmen" userId="4e46fa0d-51a0-4b7a-a6a6-e5b06c9f6d76" providerId="ADAL" clId="{0973AC2B-7113-47FA-8755-F7B35E778DA0}" dt="2023-02-16T11:02:18.907" v="4005" actId="207"/>
          <ac:picMkLst>
            <pc:docMk/>
            <pc:sldMk cId="4171336514" sldId="2147468269"/>
            <ac:picMk id="18" creationId="{5B233FF7-BCE8-434F-98A5-FBF9854BAA25}"/>
          </ac:picMkLst>
        </pc:picChg>
        <pc:picChg chg="mod">
          <ac:chgData name="Tejada, Carmen" userId="4e46fa0d-51a0-4b7a-a6a6-e5b06c9f6d76" providerId="ADAL" clId="{0973AC2B-7113-47FA-8755-F7B35E778DA0}" dt="2023-02-16T11:02:24.410" v="4007" actId="207"/>
          <ac:picMkLst>
            <pc:docMk/>
            <pc:sldMk cId="4171336514" sldId="2147468269"/>
            <ac:picMk id="45" creationId="{5B0CE676-8442-4835-B670-994BC613D6B1}"/>
          </ac:picMkLst>
        </pc:picChg>
      </pc:sldChg>
      <pc:sldChg chg="addSp delSp modSp 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998951790" sldId="2147468271"/>
        </pc:sldMkLst>
        <pc:spChg chg="mod">
          <ac:chgData name="Tejada, Carmen" userId="4e46fa0d-51a0-4b7a-a6a6-e5b06c9f6d76" providerId="ADAL" clId="{0973AC2B-7113-47FA-8755-F7B35E778DA0}" dt="2023-02-16T11:09:41.490" v="4061" actId="1076"/>
          <ac:spMkLst>
            <pc:docMk/>
            <pc:sldMk cId="998951790" sldId="2147468271"/>
            <ac:spMk id="42" creationId="{A413D42E-FC28-451D-8295-D434D2544777}"/>
          </ac:spMkLst>
        </pc:spChg>
        <pc:spChg chg="mod">
          <ac:chgData name="Tejada, Carmen" userId="4e46fa0d-51a0-4b7a-a6a6-e5b06c9f6d76" providerId="ADAL" clId="{0973AC2B-7113-47FA-8755-F7B35E778DA0}" dt="2023-02-16T11:01:01.172" v="3996" actId="1076"/>
          <ac:spMkLst>
            <pc:docMk/>
            <pc:sldMk cId="998951790" sldId="2147468271"/>
            <ac:spMk id="48" creationId="{91A76258-10E3-4DBC-9F16-288C55A05034}"/>
          </ac:spMkLst>
        </pc:spChg>
        <pc:graphicFrameChg chg="mod">
          <ac:chgData name="Tejada, Carmen" userId="4e46fa0d-51a0-4b7a-a6a6-e5b06c9f6d76" providerId="ADAL" clId="{0973AC2B-7113-47FA-8755-F7B35E778DA0}" dt="2023-02-16T11:09:03.158" v="4054" actId="207"/>
          <ac:graphicFrameMkLst>
            <pc:docMk/>
            <pc:sldMk cId="998951790" sldId="2147468271"/>
            <ac:graphicFrameMk id="4" creationId="{F9A667D7-027B-4B3D-AA74-1D7B00649E03}"/>
          </ac:graphicFrameMkLst>
        </pc:graphicFrameChg>
        <pc:graphicFrameChg chg="add del mod">
          <ac:chgData name="Tejada, Carmen" userId="4e46fa0d-51a0-4b7a-a6a6-e5b06c9f6d76" providerId="ADAL" clId="{0973AC2B-7113-47FA-8755-F7B35E778DA0}" dt="2023-02-16T11:11:08.841" v="4078"/>
          <ac:graphicFrameMkLst>
            <pc:docMk/>
            <pc:sldMk cId="998951790" sldId="2147468271"/>
            <ac:graphicFrameMk id="29" creationId="{5344713F-0F3A-4AB3-994F-D08C661CD16E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09:38.628" v="4060" actId="207"/>
          <ac:graphicFrameMkLst>
            <pc:docMk/>
            <pc:sldMk cId="998951790" sldId="2147468271"/>
            <ac:graphicFrameMk id="79" creationId="{78C12EBF-B8F8-4FC3-95EB-30F57752D260}"/>
          </ac:graphicFrameMkLst>
        </pc:graphicFrameChg>
        <pc:graphicFrameChg chg="mod">
          <ac:chgData name="Tejada, Carmen" userId="4e46fa0d-51a0-4b7a-a6a6-e5b06c9f6d76" providerId="ADAL" clId="{0973AC2B-7113-47FA-8755-F7B35E778DA0}" dt="2023-02-16T11:11:04.241" v="4076" actId="1076"/>
          <ac:graphicFrameMkLst>
            <pc:docMk/>
            <pc:sldMk cId="998951790" sldId="2147468271"/>
            <ac:graphicFrameMk id="80" creationId="{5DD1B47C-2E85-4A9B-A989-A677A72FA466}"/>
          </ac:graphicFrameMkLst>
        </pc:graphicFrameChg>
        <pc:picChg chg="add del mod">
          <ac:chgData name="Tejada, Carmen" userId="4e46fa0d-51a0-4b7a-a6a6-e5b06c9f6d76" providerId="ADAL" clId="{0973AC2B-7113-47FA-8755-F7B35E778DA0}" dt="2023-02-16T11:10:53.243" v="4073" actId="478"/>
          <ac:picMkLst>
            <pc:docMk/>
            <pc:sldMk cId="998951790" sldId="2147468271"/>
            <ac:picMk id="27" creationId="{E2BF4947-0A3D-44E1-B89D-FADDBD467E94}"/>
          </ac:picMkLst>
        </pc:picChg>
        <pc:picChg chg="add del mod">
          <ac:chgData name="Tejada, Carmen" userId="4e46fa0d-51a0-4b7a-a6a6-e5b06c9f6d76" providerId="ADAL" clId="{0973AC2B-7113-47FA-8755-F7B35E778DA0}" dt="2023-02-16T11:10:58.598" v="4075" actId="478"/>
          <ac:picMkLst>
            <pc:docMk/>
            <pc:sldMk cId="998951790" sldId="2147468271"/>
            <ac:picMk id="28" creationId="{4043CDB8-C11B-40FB-887F-264F0A1AD3C5}"/>
          </ac:picMkLst>
        </pc:picChg>
      </pc:sldChg>
      <pc:sldChg chg="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2880233608" sldId="2147468274"/>
        </pc:sldMkLst>
      </pc:sldChg>
      <pc:sldChg chg="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8281549" sldId="2147468275"/>
        </pc:sldMkLst>
      </pc:sldChg>
      <pc:sldChg chg="addSp delSp modSp mod">
        <pc:chgData name="Tejada, Carmen" userId="4e46fa0d-51a0-4b7a-a6a6-e5b06c9f6d76" providerId="ADAL" clId="{0973AC2B-7113-47FA-8755-F7B35E778DA0}" dt="2023-02-28T19:27:33.715" v="5644" actId="1076"/>
        <pc:sldMkLst>
          <pc:docMk/>
          <pc:sldMk cId="1153162639" sldId="2147468918"/>
        </pc:sldMkLst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2" creationId="{0BAB47CA-6502-4141-9EF9-81C9261C39EF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" creationId="{FCB7AB1A-0689-4793-8B55-8CCECE2348F9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10" creationId="{23BE239B-9EFA-4EF6-AAD8-D8341D9C4267}"/>
          </ac:spMkLst>
        </pc:spChg>
        <pc:spChg chg="mod">
          <ac:chgData name="Tejada, Carmen" userId="4e46fa0d-51a0-4b7a-a6a6-e5b06c9f6d76" providerId="ADAL" clId="{0973AC2B-7113-47FA-8755-F7B35E778DA0}" dt="2023-02-16T10:39:38.145" v="3629" actId="1036"/>
          <ac:spMkLst>
            <pc:docMk/>
            <pc:sldMk cId="1153162639" sldId="2147468918"/>
            <ac:spMk id="13" creationId="{FC9754E2-F0DF-4ACB-8FFE-6607F1D06DCC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1" creationId="{9957B1FD-542E-4953-BBB9-29CB3BDA1E05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2" creationId="{EDE66097-5F7C-4D6C-9EAE-89D148EB64BE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3" creationId="{EE2F8C84-CD6E-4090-ACAC-F05983E2FF67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4" creationId="{7B76F351-0154-408F-A7EE-B9082CD1AFBA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5" creationId="{1346CC4B-EFB0-4114-8A18-C52172620088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6" creationId="{502DFB2B-4115-41CA-A31C-F1ED3A0648D9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7" creationId="{F9F3DB05-D207-46BB-972B-420BC6E0C9FF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38" creationId="{B04B9A3B-80F7-4653-91B8-6AAEC289CE15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41" creationId="{EBE82867-6B13-4C8E-8EA7-0268B59B58B8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44" creationId="{7EEB1677-B37B-4753-9D15-28588C6923E5}"/>
          </ac:spMkLst>
        </pc:spChg>
        <pc:spChg chg="del mod">
          <ac:chgData name="Tejada, Carmen" userId="4e46fa0d-51a0-4b7a-a6a6-e5b06c9f6d76" providerId="ADAL" clId="{0973AC2B-7113-47FA-8755-F7B35E778DA0}" dt="2023-02-16T11:25:18.325" v="4349" actId="478"/>
          <ac:spMkLst>
            <pc:docMk/>
            <pc:sldMk cId="1153162639" sldId="2147468918"/>
            <ac:spMk id="48" creationId="{13449DCF-5DD9-435F-9156-94B3AA3FA7FF}"/>
          </ac:spMkLst>
        </pc:spChg>
        <pc:spChg chg="mod">
          <ac:chgData name="Tejada, Carmen" userId="4e46fa0d-51a0-4b7a-a6a6-e5b06c9f6d76" providerId="ADAL" clId="{0973AC2B-7113-47FA-8755-F7B35E778DA0}" dt="2023-02-16T10:33:15.128" v="3300" actId="2711"/>
          <ac:spMkLst>
            <pc:docMk/>
            <pc:sldMk cId="1153162639" sldId="2147468918"/>
            <ac:spMk id="49" creationId="{836769A5-1DD4-48E2-BBCE-40FE2D884AA8}"/>
          </ac:spMkLst>
        </pc:spChg>
        <pc:spChg chg="add mod">
          <ac:chgData name="Tejada, Carmen" userId="4e46fa0d-51a0-4b7a-a6a6-e5b06c9f6d76" providerId="ADAL" clId="{0973AC2B-7113-47FA-8755-F7B35E778DA0}" dt="2023-02-16T11:26:21.698" v="4390" actId="20577"/>
          <ac:spMkLst>
            <pc:docMk/>
            <pc:sldMk cId="1153162639" sldId="2147468918"/>
            <ac:spMk id="50" creationId="{373639E2-EC46-4FC6-9B0C-BEB5EB883CF4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52" creationId="{D46CF565-7B62-4075-B568-3F402943E076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54" creationId="{DBE4E9F7-16FC-4882-A435-EF64BBEC7884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55" creationId="{8CB99C33-F120-42F0-8547-B3C66ECFEC77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58" creationId="{8B175991-4FDD-4605-8513-783EA38CBA9D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59" creationId="{462F2EA4-756C-4B8C-9F5C-ACDA8BBAF04B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0" creationId="{A4CE4A65-599C-404B-A76F-808C7E09D75D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1" creationId="{41DEDD24-27F0-4650-8818-8AC3D4D22E4A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2" creationId="{3D755988-E942-4C7C-B876-A3AD67E105EF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3" creationId="{E1CDF162-81BF-4819-B3AF-193C81C451B9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4" creationId="{5A0CAF75-CA30-40DB-8585-0C62F59864F1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5" creationId="{ECEC114D-E191-4446-A6C7-60F90C3A6E46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6" creationId="{A5F2044D-1B47-4153-A980-0AE09BCFC19C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67" creationId="{6B338AE8-A845-4244-A5F0-E7202690CA67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70" creationId="{B24752AE-C80A-47FB-B83E-78DB4B50D7E0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71" creationId="{A49E9B83-2C68-44F2-AA55-26CACF812903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72" creationId="{26F0F6FC-2F8E-4568-9912-2F28173F0437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79" creationId="{5C86BDE6-C3DB-4C03-A036-C590FE2DA819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0" creationId="{A0E1B4AC-AE4B-45DE-86AF-2B14A54DA787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1" creationId="{B247000C-BD39-482C-9931-A3C8F50F570F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2" creationId="{84C3EA30-B5EB-409F-8993-C26A5D69F8EC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5" creationId="{02FFAE5A-8B9E-4082-BEF2-26C35B39D683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86" creationId="{B96EAADB-2D72-4948-B3D9-5BD6250C55F6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103" creationId="{3832A323-BF09-416A-B92B-2BF34546FFC6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104" creationId="{D5095088-36D4-4805-8B6B-42637FB4D786}"/>
          </ac:spMkLst>
        </pc:spChg>
        <pc:spChg chg="mod">
          <ac:chgData name="Tejada, Carmen" userId="4e46fa0d-51a0-4b7a-a6a6-e5b06c9f6d76" providerId="ADAL" clId="{0973AC2B-7113-47FA-8755-F7B35E778DA0}" dt="2023-02-16T10:32:57.016" v="3296" actId="1036"/>
          <ac:spMkLst>
            <pc:docMk/>
            <pc:sldMk cId="1153162639" sldId="2147468918"/>
            <ac:spMk id="112" creationId="{96EBF07F-42E2-4742-A17D-CE550EAF83BB}"/>
          </ac:spMkLst>
        </pc:spChg>
        <pc:grpChg chg="mod">
          <ac:chgData name="Tejada, Carmen" userId="4e46fa0d-51a0-4b7a-a6a6-e5b06c9f6d76" providerId="ADAL" clId="{0973AC2B-7113-47FA-8755-F7B35E778DA0}" dt="2023-02-16T10:32:57.016" v="3296" actId="1036"/>
          <ac:grpSpMkLst>
            <pc:docMk/>
            <pc:sldMk cId="1153162639" sldId="2147468918"/>
            <ac:grpSpMk id="105" creationId="{9E991AB8-3E84-443B-BD44-7978A2048F04}"/>
          </ac:grpSpMkLst>
        </pc:grpChg>
        <pc:picChg chg="add del mod">
          <ac:chgData name="Tejada, Carmen" userId="4e46fa0d-51a0-4b7a-a6a6-e5b06c9f6d76" providerId="ADAL" clId="{0973AC2B-7113-47FA-8755-F7B35E778DA0}" dt="2023-02-28T19:27:20.154" v="5640" actId="478"/>
          <ac:picMkLst>
            <pc:docMk/>
            <pc:sldMk cId="1153162639" sldId="2147468918"/>
            <ac:picMk id="48" creationId="{64152C52-BFFE-4659-8A3E-32266ED67744}"/>
          </ac:picMkLst>
        </pc:picChg>
        <pc:picChg chg="add mod">
          <ac:chgData name="Tejada, Carmen" userId="4e46fa0d-51a0-4b7a-a6a6-e5b06c9f6d76" providerId="ADAL" clId="{0973AC2B-7113-47FA-8755-F7B35E778DA0}" dt="2023-02-28T19:27:33.715" v="5644" actId="1076"/>
          <ac:picMkLst>
            <pc:docMk/>
            <pc:sldMk cId="1153162639" sldId="2147468918"/>
            <ac:picMk id="51" creationId="{2525B104-1BA9-4E32-BDF1-FDF56096B023}"/>
          </ac:picMkLst>
        </pc:picChg>
        <pc:picChg chg="add del mod">
          <ac:chgData name="Tejada, Carmen" userId="4e46fa0d-51a0-4b7a-a6a6-e5b06c9f6d76" providerId="ADAL" clId="{0973AC2B-7113-47FA-8755-F7B35E778DA0}" dt="2023-02-28T19:26:33.773" v="5628" actId="478"/>
          <ac:picMkLst>
            <pc:docMk/>
            <pc:sldMk cId="1153162639" sldId="2147468918"/>
            <ac:picMk id="68" creationId="{13AC5A3E-9067-43D2-B20C-6FD80E5C6D9D}"/>
          </ac:picMkLst>
        </pc:picChg>
        <pc:picChg chg="mod">
          <ac:chgData name="Tejada, Carmen" userId="4e46fa0d-51a0-4b7a-a6a6-e5b06c9f6d76" providerId="ADAL" clId="{0973AC2B-7113-47FA-8755-F7B35E778DA0}" dt="2023-02-16T10:32:57.016" v="3296" actId="1036"/>
          <ac:picMkLst>
            <pc:docMk/>
            <pc:sldMk cId="1153162639" sldId="2147468918"/>
            <ac:picMk id="69" creationId="{9AD23FFF-67F9-406B-A6E6-E144C51CBA89}"/>
          </ac:picMkLst>
        </pc:picChg>
      </pc:sldChg>
      <pc:sldChg chg="ord">
        <pc:chgData name="Tejada, Carmen" userId="4e46fa0d-51a0-4b7a-a6a6-e5b06c9f6d76" providerId="ADAL" clId="{0973AC2B-7113-47FA-8755-F7B35E778DA0}" dt="2023-02-14T10:33:21.972" v="50"/>
        <pc:sldMkLst>
          <pc:docMk/>
          <pc:sldMk cId="62883760" sldId="2147468920"/>
        </pc:sldMkLst>
      </pc:sldChg>
      <pc:sldChg chg="modSp mod">
        <pc:chgData name="Tejada, Carmen" userId="4e46fa0d-51a0-4b7a-a6a6-e5b06c9f6d76" providerId="ADAL" clId="{0973AC2B-7113-47FA-8755-F7B35E778DA0}" dt="2023-02-16T11:33:51.607" v="4667" actId="20577"/>
        <pc:sldMkLst>
          <pc:docMk/>
          <pc:sldMk cId="803083685" sldId="2147468921"/>
        </pc:sldMkLst>
        <pc:spChg chg="mod">
          <ac:chgData name="Tejada, Carmen" userId="4e46fa0d-51a0-4b7a-a6a6-e5b06c9f6d76" providerId="ADAL" clId="{0973AC2B-7113-47FA-8755-F7B35E778DA0}" dt="2023-02-16T11:33:51.607" v="4667" actId="20577"/>
          <ac:spMkLst>
            <pc:docMk/>
            <pc:sldMk cId="803083685" sldId="2147468921"/>
            <ac:spMk id="2" creationId="{54972565-B463-4A0D-AE01-73E66F414133}"/>
          </ac:spMkLst>
        </pc:spChg>
      </pc:sldChg>
      <pc:sldChg chg="addSp delSp modSp mod">
        <pc:chgData name="Tejada, Carmen" userId="4e46fa0d-51a0-4b7a-a6a6-e5b06c9f6d76" providerId="ADAL" clId="{0973AC2B-7113-47FA-8755-F7B35E778DA0}" dt="2023-02-20T16:15:31.222" v="5487" actId="1076"/>
        <pc:sldMkLst>
          <pc:docMk/>
          <pc:sldMk cId="2317239546" sldId="2147468923"/>
        </pc:sldMkLst>
        <pc:spChg chg="del mod">
          <ac:chgData name="Tejada, Carmen" userId="4e46fa0d-51a0-4b7a-a6a6-e5b06c9f6d76" providerId="ADAL" clId="{0973AC2B-7113-47FA-8755-F7B35E778DA0}" dt="2023-02-20T16:00:12.130" v="5359" actId="478"/>
          <ac:spMkLst>
            <pc:docMk/>
            <pc:sldMk cId="2317239546" sldId="2147468923"/>
            <ac:spMk id="2" creationId="{1E24D284-1A44-4399-BC51-1B5B0E357792}"/>
          </ac:spMkLst>
        </pc:spChg>
        <pc:spChg chg="mod">
          <ac:chgData name="Tejada, Carmen" userId="4e46fa0d-51a0-4b7a-a6a6-e5b06c9f6d76" providerId="ADAL" clId="{0973AC2B-7113-47FA-8755-F7B35E778DA0}" dt="2023-02-14T14:39:17.958" v="2701" actId="20577"/>
          <ac:spMkLst>
            <pc:docMk/>
            <pc:sldMk cId="2317239546" sldId="2147468923"/>
            <ac:spMk id="3" creationId="{321CB8E8-8B5D-4210-A76D-A12BC88E5E0A}"/>
          </ac:spMkLst>
        </pc:spChg>
        <pc:spChg chg="mod">
          <ac:chgData name="Tejada, Carmen" userId="4e46fa0d-51a0-4b7a-a6a6-e5b06c9f6d76" providerId="ADAL" clId="{0973AC2B-7113-47FA-8755-F7B35E778DA0}" dt="2023-02-20T16:02:21.823" v="5393" actId="948"/>
          <ac:spMkLst>
            <pc:docMk/>
            <pc:sldMk cId="2317239546" sldId="2147468923"/>
            <ac:spMk id="10" creationId="{BEB62742-61D8-4859-BF6D-E68B662CCE7B}"/>
          </ac:spMkLst>
        </pc:spChg>
        <pc:spChg chg="mod">
          <ac:chgData name="Tejada, Carmen" userId="4e46fa0d-51a0-4b7a-a6a6-e5b06c9f6d76" providerId="ADAL" clId="{0973AC2B-7113-47FA-8755-F7B35E778DA0}" dt="2023-02-16T10:25:57.224" v="3007" actId="1035"/>
          <ac:spMkLst>
            <pc:docMk/>
            <pc:sldMk cId="2317239546" sldId="2147468923"/>
            <ac:spMk id="19" creationId="{7B62C1C5-6F9E-4E2C-8CAD-D658D507BB89}"/>
          </ac:spMkLst>
        </pc:spChg>
        <pc:spChg chg="add mod">
          <ac:chgData name="Tejada, Carmen" userId="4e46fa0d-51a0-4b7a-a6a6-e5b06c9f6d76" providerId="ADAL" clId="{0973AC2B-7113-47FA-8755-F7B35E778DA0}" dt="2023-02-20T16:13:17.945" v="5476" actId="1035"/>
          <ac:spMkLst>
            <pc:docMk/>
            <pc:sldMk cId="2317239546" sldId="2147468923"/>
            <ac:spMk id="42" creationId="{A6F55AF9-C52E-4063-86A4-60171F2A6860}"/>
          </ac:spMkLst>
        </pc:spChg>
        <pc:spChg chg="mod">
          <ac:chgData name="Tejada, Carmen" userId="4e46fa0d-51a0-4b7a-a6a6-e5b06c9f6d76" providerId="ADAL" clId="{0973AC2B-7113-47FA-8755-F7B35E778DA0}" dt="2023-02-20T16:02:00.795" v="5389" actId="1076"/>
          <ac:spMkLst>
            <pc:docMk/>
            <pc:sldMk cId="2317239546" sldId="2147468923"/>
            <ac:spMk id="46" creationId="{23CF944E-CB80-4F20-A23F-BA7F7E1BEA1B}"/>
          </ac:spMkLst>
        </pc:spChg>
        <pc:spChg chg="del">
          <ac:chgData name="Tejada, Carmen" userId="4e46fa0d-51a0-4b7a-a6a6-e5b06c9f6d76" providerId="ADAL" clId="{0973AC2B-7113-47FA-8755-F7B35E778DA0}" dt="2023-02-16T10:25:59.799" v="3008" actId="478"/>
          <ac:spMkLst>
            <pc:docMk/>
            <pc:sldMk cId="2317239546" sldId="2147468923"/>
            <ac:spMk id="47" creationId="{95AF44FE-2FDB-4549-80FD-9A2FBA0ED7E8}"/>
          </ac:spMkLst>
        </pc:spChg>
        <pc:spChg chg="mod">
          <ac:chgData name="Tejada, Carmen" userId="4e46fa0d-51a0-4b7a-a6a6-e5b06c9f6d76" providerId="ADAL" clId="{0973AC2B-7113-47FA-8755-F7B35E778DA0}" dt="2023-02-20T16:01:45.674" v="5384" actId="14100"/>
          <ac:spMkLst>
            <pc:docMk/>
            <pc:sldMk cId="2317239546" sldId="2147468923"/>
            <ac:spMk id="98" creationId="{65CBAD66-2B5B-4AE5-B913-43914A3AEAB2}"/>
          </ac:spMkLst>
        </pc:spChg>
        <pc:spChg chg="mod">
          <ac:chgData name="Tejada, Carmen" userId="4e46fa0d-51a0-4b7a-a6a6-e5b06c9f6d76" providerId="ADAL" clId="{0973AC2B-7113-47FA-8755-F7B35E778DA0}" dt="2023-02-20T16:01:52.649" v="5386" actId="14100"/>
          <ac:spMkLst>
            <pc:docMk/>
            <pc:sldMk cId="2317239546" sldId="2147468923"/>
            <ac:spMk id="99" creationId="{FDFDCDCD-6912-4201-B5E5-67FF7140FA8E}"/>
          </ac:spMkLst>
        </pc:spChg>
        <pc:spChg chg="mod">
          <ac:chgData name="Tejada, Carmen" userId="4e46fa0d-51a0-4b7a-a6a6-e5b06c9f6d76" providerId="ADAL" clId="{0973AC2B-7113-47FA-8755-F7B35E778DA0}" dt="2023-02-20T16:01:55.162" v="5387" actId="14100"/>
          <ac:spMkLst>
            <pc:docMk/>
            <pc:sldMk cId="2317239546" sldId="2147468923"/>
            <ac:spMk id="100" creationId="{6723469C-2E30-43F8-8B97-15681796CD5A}"/>
          </ac:spMkLst>
        </pc:spChg>
        <pc:spChg chg="mod">
          <ac:chgData name="Tejada, Carmen" userId="4e46fa0d-51a0-4b7a-a6a6-e5b06c9f6d76" providerId="ADAL" clId="{0973AC2B-7113-47FA-8755-F7B35E778DA0}" dt="2023-02-20T16:01:57.264" v="5388" actId="14100"/>
          <ac:spMkLst>
            <pc:docMk/>
            <pc:sldMk cId="2317239546" sldId="2147468923"/>
            <ac:spMk id="101" creationId="{C2A2EABC-EF3D-423A-A724-3C0C29AE0DFC}"/>
          </ac:spMkLst>
        </pc:spChg>
        <pc:spChg chg="mod">
          <ac:chgData name="Tejada, Carmen" userId="4e46fa0d-51a0-4b7a-a6a6-e5b06c9f6d76" providerId="ADAL" clId="{0973AC2B-7113-47FA-8755-F7B35E778DA0}" dt="2023-02-16T10:26:07.015" v="3009" actId="1076"/>
          <ac:spMkLst>
            <pc:docMk/>
            <pc:sldMk cId="2317239546" sldId="2147468923"/>
            <ac:spMk id="102" creationId="{AC571002-ADB6-414E-8949-7531056C4958}"/>
          </ac:spMkLst>
        </pc:spChg>
        <pc:spChg chg="mod">
          <ac:chgData name="Tejada, Carmen" userId="4e46fa0d-51a0-4b7a-a6a6-e5b06c9f6d76" providerId="ADAL" clId="{0973AC2B-7113-47FA-8755-F7B35E778DA0}" dt="2023-02-16T10:26:07.015" v="3009" actId="1076"/>
          <ac:spMkLst>
            <pc:docMk/>
            <pc:sldMk cId="2317239546" sldId="2147468923"/>
            <ac:spMk id="110" creationId="{CA6B4F63-FCF2-483F-BF15-129AD6A209A3}"/>
          </ac:spMkLst>
        </pc:spChg>
        <pc:spChg chg="mod">
          <ac:chgData name="Tejada, Carmen" userId="4e46fa0d-51a0-4b7a-a6a6-e5b06c9f6d76" providerId="ADAL" clId="{0973AC2B-7113-47FA-8755-F7B35E778DA0}" dt="2023-02-16T10:26:07.015" v="3009" actId="1076"/>
          <ac:spMkLst>
            <pc:docMk/>
            <pc:sldMk cId="2317239546" sldId="2147468923"/>
            <ac:spMk id="112" creationId="{6758EBD3-5C0D-45D9-9734-66ED4584D0F6}"/>
          </ac:spMkLst>
        </pc:spChg>
        <pc:spChg chg="mod">
          <ac:chgData name="Tejada, Carmen" userId="4e46fa0d-51a0-4b7a-a6a6-e5b06c9f6d76" providerId="ADAL" clId="{0973AC2B-7113-47FA-8755-F7B35E778DA0}" dt="2023-02-16T10:26:07.015" v="3009" actId="1076"/>
          <ac:spMkLst>
            <pc:docMk/>
            <pc:sldMk cId="2317239546" sldId="2147468923"/>
            <ac:spMk id="114" creationId="{D8047237-C9B4-4F19-9372-3730A3724DDC}"/>
          </ac:spMkLst>
        </pc:spChg>
        <pc:spChg chg="mod">
          <ac:chgData name="Tejada, Carmen" userId="4e46fa0d-51a0-4b7a-a6a6-e5b06c9f6d76" providerId="ADAL" clId="{0973AC2B-7113-47FA-8755-F7B35E778DA0}" dt="2023-02-20T16:02:34.210" v="5394" actId="948"/>
          <ac:spMkLst>
            <pc:docMk/>
            <pc:sldMk cId="2317239546" sldId="2147468923"/>
            <ac:spMk id="116" creationId="{C36A27D4-6058-4ECC-9461-3D3461EA1ED2}"/>
          </ac:spMkLst>
        </pc:spChg>
        <pc:picChg chg="mod">
          <ac:chgData name="Tejada, Carmen" userId="4e46fa0d-51a0-4b7a-a6a6-e5b06c9f6d76" providerId="ADAL" clId="{0973AC2B-7113-47FA-8755-F7B35E778DA0}" dt="2023-02-20T16:15:18.811" v="5482" actId="1076"/>
          <ac:picMkLst>
            <pc:docMk/>
            <pc:sldMk cId="2317239546" sldId="2147468923"/>
            <ac:picMk id="6" creationId="{B78A1BCE-AFCA-4D23-9EC8-A07382C222D3}"/>
          </ac:picMkLst>
        </pc:picChg>
        <pc:picChg chg="mod">
          <ac:chgData name="Tejada, Carmen" userId="4e46fa0d-51a0-4b7a-a6a6-e5b06c9f6d76" providerId="ADAL" clId="{0973AC2B-7113-47FA-8755-F7B35E778DA0}" dt="2023-02-20T16:02:03.450" v="5390" actId="1076"/>
          <ac:picMkLst>
            <pc:docMk/>
            <pc:sldMk cId="2317239546" sldId="2147468923"/>
            <ac:picMk id="35" creationId="{D51AFA13-560F-4EE3-850E-74CF60C39439}"/>
          </ac:picMkLst>
        </pc:picChg>
        <pc:picChg chg="mod">
          <ac:chgData name="Tejada, Carmen" userId="4e46fa0d-51a0-4b7a-a6a6-e5b06c9f6d76" providerId="ADAL" clId="{0973AC2B-7113-47FA-8755-F7B35E778DA0}" dt="2023-02-20T16:13:17.945" v="5476" actId="1035"/>
          <ac:picMkLst>
            <pc:docMk/>
            <pc:sldMk cId="2317239546" sldId="2147468923"/>
            <ac:picMk id="36" creationId="{65579B54-9B52-4985-870E-B5ED7176A75E}"/>
          </ac:picMkLst>
        </pc:picChg>
        <pc:picChg chg="mod">
          <ac:chgData name="Tejada, Carmen" userId="4e46fa0d-51a0-4b7a-a6a6-e5b06c9f6d76" providerId="ADAL" clId="{0973AC2B-7113-47FA-8755-F7B35E778DA0}" dt="2023-02-20T16:15:27.599" v="5485" actId="1076"/>
          <ac:picMkLst>
            <pc:docMk/>
            <pc:sldMk cId="2317239546" sldId="2147468923"/>
            <ac:picMk id="37" creationId="{0D4D7AA3-7EDF-4B6A-B123-1D0F37EB995A}"/>
          </ac:picMkLst>
        </pc:picChg>
        <pc:picChg chg="mod">
          <ac:chgData name="Tejada, Carmen" userId="4e46fa0d-51a0-4b7a-a6a6-e5b06c9f6d76" providerId="ADAL" clId="{0973AC2B-7113-47FA-8755-F7B35E778DA0}" dt="2023-02-20T16:15:23.433" v="5483" actId="1076"/>
          <ac:picMkLst>
            <pc:docMk/>
            <pc:sldMk cId="2317239546" sldId="2147468923"/>
            <ac:picMk id="38" creationId="{35F1198A-F902-46A3-86AD-A0E10841DF08}"/>
          </ac:picMkLst>
        </pc:picChg>
        <pc:picChg chg="mod">
          <ac:chgData name="Tejada, Carmen" userId="4e46fa0d-51a0-4b7a-a6a6-e5b06c9f6d76" providerId="ADAL" clId="{0973AC2B-7113-47FA-8755-F7B35E778DA0}" dt="2023-02-20T16:15:26.216" v="5484" actId="1076"/>
          <ac:picMkLst>
            <pc:docMk/>
            <pc:sldMk cId="2317239546" sldId="2147468923"/>
            <ac:picMk id="39" creationId="{6BC5B668-8967-4EDA-96D7-A894BA3BCE08}"/>
          </ac:picMkLst>
        </pc:picChg>
        <pc:picChg chg="mod">
          <ac:chgData name="Tejada, Carmen" userId="4e46fa0d-51a0-4b7a-a6a6-e5b06c9f6d76" providerId="ADAL" clId="{0973AC2B-7113-47FA-8755-F7B35E778DA0}" dt="2023-02-20T16:13:17.945" v="5476" actId="1035"/>
          <ac:picMkLst>
            <pc:docMk/>
            <pc:sldMk cId="2317239546" sldId="2147468923"/>
            <ac:picMk id="104" creationId="{6F4952E9-E41B-430D-901B-3184786B2C1B}"/>
          </ac:picMkLst>
        </pc:picChg>
        <pc:picChg chg="mod">
          <ac:chgData name="Tejada, Carmen" userId="4e46fa0d-51a0-4b7a-a6a6-e5b06c9f6d76" providerId="ADAL" clId="{0973AC2B-7113-47FA-8755-F7B35E778DA0}" dt="2023-02-20T16:15:31.222" v="5487" actId="1076"/>
          <ac:picMkLst>
            <pc:docMk/>
            <pc:sldMk cId="2317239546" sldId="2147468923"/>
            <ac:picMk id="105" creationId="{1F64CCBC-BEB4-415D-BEC5-47B97F66A686}"/>
          </ac:picMkLst>
        </pc:picChg>
        <pc:picChg chg="mod">
          <ac:chgData name="Tejada, Carmen" userId="4e46fa0d-51a0-4b7a-a6a6-e5b06c9f6d76" providerId="ADAL" clId="{0973AC2B-7113-47FA-8755-F7B35E778DA0}" dt="2023-02-20T16:15:29.284" v="5486" actId="1076"/>
          <ac:picMkLst>
            <pc:docMk/>
            <pc:sldMk cId="2317239546" sldId="2147468923"/>
            <ac:picMk id="106" creationId="{9C0E47EA-A7A6-451F-866D-0E06581450DE}"/>
          </ac:picMkLst>
        </pc:picChg>
        <pc:picChg chg="mod">
          <ac:chgData name="Tejada, Carmen" userId="4e46fa0d-51a0-4b7a-a6a6-e5b06c9f6d76" providerId="ADAL" clId="{0973AC2B-7113-47FA-8755-F7B35E778DA0}" dt="2023-02-20T16:13:17.945" v="5476" actId="1035"/>
          <ac:picMkLst>
            <pc:docMk/>
            <pc:sldMk cId="2317239546" sldId="2147468923"/>
            <ac:picMk id="107" creationId="{F44E491B-2905-4487-9855-2320C995C987}"/>
          </ac:picMkLst>
        </pc:picChg>
        <pc:picChg chg="mod">
          <ac:chgData name="Tejada, Carmen" userId="4e46fa0d-51a0-4b7a-a6a6-e5b06c9f6d76" providerId="ADAL" clId="{0973AC2B-7113-47FA-8755-F7B35E778DA0}" dt="2023-02-20T16:13:17.945" v="5476" actId="1035"/>
          <ac:picMkLst>
            <pc:docMk/>
            <pc:sldMk cId="2317239546" sldId="2147468923"/>
            <ac:picMk id="108" creationId="{292804A1-3BD2-41DA-992C-83EA3234154A}"/>
          </ac:picMkLst>
        </pc:picChg>
        <pc:picChg chg="mod">
          <ac:chgData name="Tejada, Carmen" userId="4e46fa0d-51a0-4b7a-a6a6-e5b06c9f6d76" providerId="ADAL" clId="{0973AC2B-7113-47FA-8755-F7B35E778DA0}" dt="2023-02-20T16:08:41.407" v="5400" actId="1076"/>
          <ac:picMkLst>
            <pc:docMk/>
            <pc:sldMk cId="2317239546" sldId="2147468923"/>
            <ac:picMk id="109" creationId="{613D7137-CE41-469B-8906-3E32386D6D36}"/>
          </ac:picMkLst>
        </pc:picChg>
        <pc:cxnChg chg="del mod">
          <ac:chgData name="Tejada, Carmen" userId="4e46fa0d-51a0-4b7a-a6a6-e5b06c9f6d76" providerId="ADAL" clId="{0973AC2B-7113-47FA-8755-F7B35E778DA0}" dt="2023-02-20T16:11:24.969" v="5444" actId="478"/>
          <ac:cxnSpMkLst>
            <pc:docMk/>
            <pc:sldMk cId="2317239546" sldId="2147468923"/>
            <ac:cxnSpMk id="8" creationId="{56E0B5C4-50F9-47BE-A9BE-41E10370C7CA}"/>
          </ac:cxnSpMkLst>
        </pc:cxnChg>
        <pc:cxnChg chg="del mod">
          <ac:chgData name="Tejada, Carmen" userId="4e46fa0d-51a0-4b7a-a6a6-e5b06c9f6d76" providerId="ADAL" clId="{0973AC2B-7113-47FA-8755-F7B35E778DA0}" dt="2023-02-20T16:11:23.936" v="5443" actId="478"/>
          <ac:cxnSpMkLst>
            <pc:docMk/>
            <pc:sldMk cId="2317239546" sldId="2147468923"/>
            <ac:cxnSpMk id="12" creationId="{7569472A-47D6-44DF-BBC6-40B3EE07BEB2}"/>
          </ac:cxnSpMkLst>
        </pc:cxnChg>
        <pc:cxnChg chg="add mod">
          <ac:chgData name="Tejada, Carmen" userId="4e46fa0d-51a0-4b7a-a6a6-e5b06c9f6d76" providerId="ADAL" clId="{0973AC2B-7113-47FA-8755-F7B35E778DA0}" dt="2023-02-20T16:13:17.945" v="5476" actId="1035"/>
          <ac:cxnSpMkLst>
            <pc:docMk/>
            <pc:sldMk cId="2317239546" sldId="2147468923"/>
            <ac:cxnSpMk id="44" creationId="{FCE2BB19-5BF6-4560-85D4-76839C7476D0}"/>
          </ac:cxnSpMkLst>
        </pc:cxnChg>
        <pc:cxnChg chg="mod">
          <ac:chgData name="Tejada, Carmen" userId="4e46fa0d-51a0-4b7a-a6a6-e5b06c9f6d76" providerId="ADAL" clId="{0973AC2B-7113-47FA-8755-F7B35E778DA0}" dt="2023-02-16T10:26:07.015" v="3009" actId="1076"/>
          <ac:cxnSpMkLst>
            <pc:docMk/>
            <pc:sldMk cId="2317239546" sldId="2147468923"/>
            <ac:cxnSpMk id="103" creationId="{8E47C368-5987-4738-A654-2A1295F58130}"/>
          </ac:cxnSpMkLst>
        </pc:cxnChg>
        <pc:cxnChg chg="mod">
          <ac:chgData name="Tejada, Carmen" userId="4e46fa0d-51a0-4b7a-a6a6-e5b06c9f6d76" providerId="ADAL" clId="{0973AC2B-7113-47FA-8755-F7B35E778DA0}" dt="2023-02-16T10:26:07.015" v="3009" actId="1076"/>
          <ac:cxnSpMkLst>
            <pc:docMk/>
            <pc:sldMk cId="2317239546" sldId="2147468923"/>
            <ac:cxnSpMk id="111" creationId="{CB7FFF87-3D87-4A3B-AA17-0C557FDF67D2}"/>
          </ac:cxnSpMkLst>
        </pc:cxnChg>
        <pc:cxnChg chg="mod">
          <ac:chgData name="Tejada, Carmen" userId="4e46fa0d-51a0-4b7a-a6a6-e5b06c9f6d76" providerId="ADAL" clId="{0973AC2B-7113-47FA-8755-F7B35E778DA0}" dt="2023-02-16T10:26:07.015" v="3009" actId="1076"/>
          <ac:cxnSpMkLst>
            <pc:docMk/>
            <pc:sldMk cId="2317239546" sldId="2147468923"/>
            <ac:cxnSpMk id="113" creationId="{D02A653B-6139-4BF6-ABB5-174A162AABC3}"/>
          </ac:cxnSpMkLst>
        </pc:cxnChg>
        <pc:cxnChg chg="mod">
          <ac:chgData name="Tejada, Carmen" userId="4e46fa0d-51a0-4b7a-a6a6-e5b06c9f6d76" providerId="ADAL" clId="{0973AC2B-7113-47FA-8755-F7B35E778DA0}" dt="2023-02-16T10:26:07.015" v="3009" actId="1076"/>
          <ac:cxnSpMkLst>
            <pc:docMk/>
            <pc:sldMk cId="2317239546" sldId="2147468923"/>
            <ac:cxnSpMk id="115" creationId="{53D9D581-2864-4A5E-88AB-226C0506FA86}"/>
          </ac:cxnSpMkLst>
        </pc:cxnChg>
      </pc:sldChg>
      <pc:sldChg chg="addSp delSp modSp mod">
        <pc:chgData name="Tejada, Carmen" userId="4e46fa0d-51a0-4b7a-a6a6-e5b06c9f6d76" providerId="ADAL" clId="{0973AC2B-7113-47FA-8755-F7B35E778DA0}" dt="2023-02-16T10:39:19.800" v="3628" actId="1036"/>
        <pc:sldMkLst>
          <pc:docMk/>
          <pc:sldMk cId="2746920633" sldId="2147468925"/>
        </pc:sldMkLst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46" creationId="{A8DAEF59-301C-4FA6-8610-7C8C08709984}"/>
          </ac:spMkLst>
        </pc:spChg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47" creationId="{1F1A6457-6CCA-47D6-88AF-9CE1CD1938CA}"/>
          </ac:spMkLst>
        </pc:spChg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48" creationId="{898C748B-C18F-4295-A0A0-5905A4D65025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49" creationId="{16CAFE46-A589-4E1B-A120-15C7CFFA182B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0" creationId="{A20EEDD4-66CD-4E34-90F1-E020A0C7D5C3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1" creationId="{9EF9EB69-4EB0-45A5-BE10-94708CA94569}"/>
          </ac:spMkLst>
        </pc:spChg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52" creationId="{EBD892AE-EC7A-4AEE-B2EB-F2C05D0CF1AC}"/>
          </ac:spMkLst>
        </pc:spChg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53" creationId="{9009FEBE-424A-443F-8C5C-E74B1FA4BCFC}"/>
          </ac:spMkLst>
        </pc:spChg>
        <pc:spChg chg="add del mod">
          <ac:chgData name="Tejada, Carmen" userId="4e46fa0d-51a0-4b7a-a6a6-e5b06c9f6d76" providerId="ADAL" clId="{0973AC2B-7113-47FA-8755-F7B35E778DA0}" dt="2023-02-14T12:47:03.592" v="875" actId="478"/>
          <ac:spMkLst>
            <pc:docMk/>
            <pc:sldMk cId="2746920633" sldId="2147468925"/>
            <ac:spMk id="54" creationId="{E64E3BED-2F10-4E10-8C2C-9C66B945B99D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5" creationId="{88700403-A337-452A-AD4A-3E517AA0A9F2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6" creationId="{ACD5C0FF-35E3-458E-A3EE-80B7E30331C2}"/>
          </ac:spMkLst>
        </pc:spChg>
        <pc:spChg chg="del">
          <ac:chgData name="Tejada, Carmen" userId="4e46fa0d-51a0-4b7a-a6a6-e5b06c9f6d76" providerId="ADAL" clId="{0973AC2B-7113-47FA-8755-F7B35E778DA0}" dt="2023-02-14T11:28:15.729" v="158" actId="478"/>
          <ac:spMkLst>
            <pc:docMk/>
            <pc:sldMk cId="2746920633" sldId="2147468925"/>
            <ac:spMk id="57" creationId="{0577616F-E105-487A-AC42-86B75F710917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8" creationId="{18D8841F-49CA-4DEA-AA4B-24C30C78813F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59" creationId="{210794E2-9511-40C0-A13F-367654B5F27F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0" creationId="{FC53664D-D431-426D-9430-B57479D74B58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1" creationId="{3DC1284B-A20C-4752-84AA-DA3E437BAAC0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2" creationId="{DA235B33-D01B-40E1-A94C-66D6F9CD4878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3" creationId="{E7D6A6A9-B79E-461C-97CD-999615C0DD92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4" creationId="{27C4FE30-6CF3-4B2E-AC99-291FD9BC3FCB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5" creationId="{2279D267-0FEA-4FF8-81B8-F5E19E3DAF81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6" creationId="{C6C02AD4-0E92-4723-9B46-F51ED7772023}"/>
          </ac:spMkLst>
        </pc:spChg>
        <pc:spChg chg="add 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67" creationId="{8BB66E75-C30F-48E7-BFAD-4B955B1AE095}"/>
          </ac:spMkLst>
        </pc:spChg>
        <pc:spChg chg="add del mod">
          <ac:chgData name="Tejada, Carmen" userId="4e46fa0d-51a0-4b7a-a6a6-e5b06c9f6d76" providerId="ADAL" clId="{0973AC2B-7113-47FA-8755-F7B35E778DA0}" dt="2023-02-14T12:52:26.917" v="1093" actId="478"/>
          <ac:spMkLst>
            <pc:docMk/>
            <pc:sldMk cId="2746920633" sldId="2147468925"/>
            <ac:spMk id="68" creationId="{C5256E3E-028D-41CC-BF4B-47D9A964F861}"/>
          </ac:spMkLst>
        </pc:spChg>
        <pc:spChg chg="add del mod">
          <ac:chgData name="Tejada, Carmen" userId="4e46fa0d-51a0-4b7a-a6a6-e5b06c9f6d76" providerId="ADAL" clId="{0973AC2B-7113-47FA-8755-F7B35E778DA0}" dt="2023-02-14T12:52:26.917" v="1093" actId="478"/>
          <ac:spMkLst>
            <pc:docMk/>
            <pc:sldMk cId="2746920633" sldId="2147468925"/>
            <ac:spMk id="69" creationId="{A06F7D43-6598-4A58-8383-E84815E70E3F}"/>
          </ac:spMkLst>
        </pc:spChg>
        <pc:spChg chg="add mod">
          <ac:chgData name="Tejada, Carmen" userId="4e46fa0d-51a0-4b7a-a6a6-e5b06c9f6d76" providerId="ADAL" clId="{0973AC2B-7113-47FA-8755-F7B35E778DA0}" dt="2023-02-16T10:39:19.800" v="3628" actId="1036"/>
          <ac:spMkLst>
            <pc:docMk/>
            <pc:sldMk cId="2746920633" sldId="2147468925"/>
            <ac:spMk id="70" creationId="{C9D8798E-6B69-4729-A09B-8CEA1993823C}"/>
          </ac:spMkLst>
        </pc:spChg>
        <pc:spChg chg="add mod">
          <ac:chgData name="Tejada, Carmen" userId="4e46fa0d-51a0-4b7a-a6a6-e5b06c9f6d76" providerId="ADAL" clId="{0973AC2B-7113-47FA-8755-F7B35E778DA0}" dt="2023-02-16T10:22:11.604" v="2927"/>
          <ac:spMkLst>
            <pc:docMk/>
            <pc:sldMk cId="2746920633" sldId="2147468925"/>
            <ac:spMk id="71" creationId="{34E3C0EF-0932-4170-B9DE-389FBE291F67}"/>
          </ac:spMkLst>
        </pc:spChg>
        <pc:spChg chg="add mod">
          <ac:chgData name="Tejada, Carmen" userId="4e46fa0d-51a0-4b7a-a6a6-e5b06c9f6d76" providerId="ADAL" clId="{0973AC2B-7113-47FA-8755-F7B35E778DA0}" dt="2023-02-16T10:33:48.710" v="3314" actId="114"/>
          <ac:spMkLst>
            <pc:docMk/>
            <pc:sldMk cId="2746920633" sldId="2147468925"/>
            <ac:spMk id="72" creationId="{5E7B853E-9300-4E91-86C0-B67EE74782CD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73" creationId="{CAF70200-153B-4F84-A0BB-50DB6C9F787C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74" creationId="{E0311394-54E5-478D-BFE1-EE26035E1D08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76" creationId="{26BE6C97-C4A3-47BE-A509-801E49DFC5F9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77" creationId="{50917C5A-D252-4337-86C1-D11832B1683E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78" creationId="{934BE921-D2D4-4598-9D2F-DE9505A04B86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89" creationId="{C8E595FC-6615-47B8-ADC4-700045A694FA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90" creationId="{E7262BF8-0759-4427-A2E8-79275EA8C6B2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93" creationId="{2D55BF33-5CFC-46F5-8CD2-5AB831B06011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95" creationId="{031D0A2E-509F-40D6-94B2-7AECB5196211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98" creationId="{D4E97A50-47B7-45D8-B162-6B621F7FCAAE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00" creationId="{63B81234-E00E-4EC0-8D80-C41436A174AD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06" creationId="{693E2A51-0B94-4BF3-84CD-56D4E6A6DD9D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07" creationId="{33CF1737-E665-45EC-8760-162CA5892489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10" creationId="{57BBEF79-F984-4B40-BBA9-D3A0D8E9029E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14" creationId="{8A7C9274-0F6D-4846-92E9-76BE09767A31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15" creationId="{E08772E0-B1DE-4CDD-B419-D702B041F296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16" creationId="{6865B330-E98F-4C88-AA84-6253DF5C74F6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18" creationId="{0624C68F-237B-45F3-8779-72D6035CE870}"/>
          </ac:spMkLst>
        </pc:spChg>
        <pc:spChg chg="del">
          <ac:chgData name="Tejada, Carmen" userId="4e46fa0d-51a0-4b7a-a6a6-e5b06c9f6d76" providerId="ADAL" clId="{0973AC2B-7113-47FA-8755-F7B35E778DA0}" dt="2023-02-16T10:22:10.327" v="2926" actId="478"/>
          <ac:spMkLst>
            <pc:docMk/>
            <pc:sldMk cId="2746920633" sldId="2147468925"/>
            <ac:spMk id="119" creationId="{01FF74B0-D75A-4646-8574-67A754037477}"/>
          </ac:spMkLst>
        </pc:spChg>
        <pc:spChg chg="del">
          <ac:chgData name="Tejada, Carmen" userId="4e46fa0d-51a0-4b7a-a6a6-e5b06c9f6d76" providerId="ADAL" clId="{0973AC2B-7113-47FA-8755-F7B35E778DA0}" dt="2023-02-16T10:22:09.564" v="2925" actId="478"/>
          <ac:spMkLst>
            <pc:docMk/>
            <pc:sldMk cId="2746920633" sldId="2147468925"/>
            <ac:spMk id="120" creationId="{FFBC52AD-2596-4887-8A69-57679036CD85}"/>
          </ac:spMkLst>
        </pc:spChg>
        <pc:spChg chg="del">
          <ac:chgData name="Tejada, Carmen" userId="4e46fa0d-51a0-4b7a-a6a6-e5b06c9f6d76" providerId="ADAL" clId="{0973AC2B-7113-47FA-8755-F7B35E778DA0}" dt="2023-02-16T10:22:08.520" v="2924" actId="478"/>
          <ac:spMkLst>
            <pc:docMk/>
            <pc:sldMk cId="2746920633" sldId="2147468925"/>
            <ac:spMk id="121" creationId="{176D52D0-5068-415F-956A-5E08A76848CD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22" creationId="{B166B73D-00CC-4E03-99CD-EDCAA515CD0E}"/>
          </ac:spMkLst>
        </pc:spChg>
        <pc:spChg chg="mod">
          <ac:chgData name="Tejada, Carmen" userId="4e46fa0d-51a0-4b7a-a6a6-e5b06c9f6d76" providerId="ADAL" clId="{0973AC2B-7113-47FA-8755-F7B35E778DA0}" dt="2023-02-16T10:33:37.300" v="3311" actId="1036"/>
          <ac:spMkLst>
            <pc:docMk/>
            <pc:sldMk cId="2746920633" sldId="2147468925"/>
            <ac:spMk id="123" creationId="{00D0E962-493C-4B4F-AEB8-E230EE65375D}"/>
          </ac:spMkLst>
        </pc:sp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79" creationId="{6A9EDEBF-33E0-4A60-9951-45DA6581AF82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80" creationId="{BFEDA719-B3FA-4755-93E6-A16871DE3192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92" creationId="{169BB649-B8AA-4E0E-AD8B-AD1C2496B555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94" creationId="{B8FAEB7B-E3CE-47C0-8FFB-2149494E47D3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96" creationId="{A6A90873-34CB-4CC1-8E50-1BBB0957FA6B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97" creationId="{CCF3143E-2E8E-4962-A72E-E9D36159629D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102" creationId="{CE1B84EE-CB11-46F2-A023-18FD26BE8233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109" creationId="{ACF2586E-E03D-4E15-8732-66616237E99F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113" creationId="{E328DF77-B463-4344-A7C9-62F4AAB9C32B}"/>
          </ac:picMkLst>
        </pc:picChg>
        <pc:picChg chg="mod">
          <ac:chgData name="Tejada, Carmen" userId="4e46fa0d-51a0-4b7a-a6a6-e5b06c9f6d76" providerId="ADAL" clId="{0973AC2B-7113-47FA-8755-F7B35E778DA0}" dt="2023-02-16T10:33:37.300" v="3311" actId="1036"/>
          <ac:picMkLst>
            <pc:docMk/>
            <pc:sldMk cId="2746920633" sldId="2147468925"/>
            <ac:picMk id="117" creationId="{58AA03ED-DF8A-41BE-9E62-20A2CE3716C4}"/>
          </ac:picMkLst>
        </pc:picChg>
        <pc:cxnChg chg="mod">
          <ac:chgData name="Tejada, Carmen" userId="4e46fa0d-51a0-4b7a-a6a6-e5b06c9f6d76" providerId="ADAL" clId="{0973AC2B-7113-47FA-8755-F7B35E778DA0}" dt="2023-02-16T10:33:37.300" v="3311" actId="1036"/>
          <ac:cxnSpMkLst>
            <pc:docMk/>
            <pc:sldMk cId="2746920633" sldId="2147468925"/>
            <ac:cxnSpMk id="21" creationId="{B2C98441-E5EF-4347-B6E9-49A6E13DA1C6}"/>
          </ac:cxnSpMkLst>
        </pc:cxnChg>
        <pc:cxnChg chg="mod">
          <ac:chgData name="Tejada, Carmen" userId="4e46fa0d-51a0-4b7a-a6a6-e5b06c9f6d76" providerId="ADAL" clId="{0973AC2B-7113-47FA-8755-F7B35E778DA0}" dt="2023-02-16T10:33:37.300" v="3311" actId="1036"/>
          <ac:cxnSpMkLst>
            <pc:docMk/>
            <pc:sldMk cId="2746920633" sldId="2147468925"/>
            <ac:cxnSpMk id="24" creationId="{28AE0AA7-FA97-4D3F-8DFF-6AF321589306}"/>
          </ac:cxnSpMkLst>
        </pc:cxnChg>
        <pc:cxnChg chg="mod">
          <ac:chgData name="Tejada, Carmen" userId="4e46fa0d-51a0-4b7a-a6a6-e5b06c9f6d76" providerId="ADAL" clId="{0973AC2B-7113-47FA-8755-F7B35E778DA0}" dt="2023-02-16T10:33:37.300" v="3311" actId="1036"/>
          <ac:cxnSpMkLst>
            <pc:docMk/>
            <pc:sldMk cId="2746920633" sldId="2147468925"/>
            <ac:cxnSpMk id="28" creationId="{80B7B48C-05D7-46D0-80F4-14B026159031}"/>
          </ac:cxnSpMkLst>
        </pc:cxnChg>
        <pc:cxnChg chg="mod">
          <ac:chgData name="Tejada, Carmen" userId="4e46fa0d-51a0-4b7a-a6a6-e5b06c9f6d76" providerId="ADAL" clId="{0973AC2B-7113-47FA-8755-F7B35E778DA0}" dt="2023-02-16T10:33:37.300" v="3311" actId="1036"/>
          <ac:cxnSpMkLst>
            <pc:docMk/>
            <pc:sldMk cId="2746920633" sldId="2147468925"/>
            <ac:cxnSpMk id="101" creationId="{00DBD799-ADB6-4964-9B5A-3B6A375644C5}"/>
          </ac:cxnSpMkLst>
        </pc:cxnChg>
      </pc:sldChg>
      <pc:sldChg chg="addSp delSp modSp mod">
        <pc:chgData name="Tejada, Carmen" userId="4e46fa0d-51a0-4b7a-a6a6-e5b06c9f6d76" providerId="ADAL" clId="{0973AC2B-7113-47FA-8755-F7B35E778DA0}" dt="2023-02-16T17:09:20.577" v="4975"/>
        <pc:sldMkLst>
          <pc:docMk/>
          <pc:sldMk cId="2567192912" sldId="2147468926"/>
        </pc:sldMkLst>
        <pc:spChg chg="add mod">
          <ac:chgData name="Tejada, Carmen" userId="4e46fa0d-51a0-4b7a-a6a6-e5b06c9f6d76" providerId="ADAL" clId="{0973AC2B-7113-47FA-8755-F7B35E778DA0}" dt="2023-02-16T10:23:57.234" v="2976"/>
          <ac:spMkLst>
            <pc:docMk/>
            <pc:sldMk cId="2567192912" sldId="2147468926"/>
            <ac:spMk id="18" creationId="{76C5E978-7C54-4BD3-9407-5F9789148EC9}"/>
          </ac:spMkLst>
        </pc:spChg>
        <pc:spChg chg="add mod">
          <ac:chgData name="Tejada, Carmen" userId="4e46fa0d-51a0-4b7a-a6a6-e5b06c9f6d76" providerId="ADAL" clId="{0973AC2B-7113-47FA-8755-F7B35E778DA0}" dt="2023-02-16T17:09:20.577" v="4975"/>
          <ac:spMkLst>
            <pc:docMk/>
            <pc:sldMk cId="2567192912" sldId="2147468926"/>
            <ac:spMk id="19" creationId="{2372B94B-9FF8-4CA6-8F40-CB74CEC81D9D}"/>
          </ac:spMkLst>
        </pc:spChg>
        <pc:spChg chg="del">
          <ac:chgData name="Tejada, Carmen" userId="4e46fa0d-51a0-4b7a-a6a6-e5b06c9f6d76" providerId="ADAL" clId="{0973AC2B-7113-47FA-8755-F7B35E778DA0}" dt="2023-02-16T10:22:52.636" v="2936" actId="478"/>
          <ac:spMkLst>
            <pc:docMk/>
            <pc:sldMk cId="2567192912" sldId="2147468926"/>
            <ac:spMk id="58" creationId="{1712146B-DC35-4C28-BC28-C0B6B10C0023}"/>
          </ac:spMkLst>
        </pc:spChg>
      </pc:sldChg>
      <pc:sldChg chg="addSp delSp modSp mod">
        <pc:chgData name="Tejada, Carmen" userId="4e46fa0d-51a0-4b7a-a6a6-e5b06c9f6d76" providerId="ADAL" clId="{0973AC2B-7113-47FA-8755-F7B35E778DA0}" dt="2023-02-16T12:59:49.749" v="4927"/>
        <pc:sldMkLst>
          <pc:docMk/>
          <pc:sldMk cId="2757120923" sldId="2147468929"/>
        </pc:sldMkLst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2" creationId="{0BAB47CA-6502-4141-9EF9-81C9261C39EF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8" creationId="{FCB7AB1A-0689-4793-8B55-8CCECE2348F9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10" creationId="{23BE239B-9EFA-4EF6-AAD8-D8341D9C4267}"/>
          </ac:spMkLst>
        </pc:spChg>
        <pc:spChg chg="mod">
          <ac:chgData name="Tejada, Carmen" userId="4e46fa0d-51a0-4b7a-a6a6-e5b06c9f6d76" providerId="ADAL" clId="{0973AC2B-7113-47FA-8755-F7B35E778DA0}" dt="2023-02-16T12:57:14.130" v="4844" actId="1035"/>
          <ac:spMkLst>
            <pc:docMk/>
            <pc:sldMk cId="2757120923" sldId="2147468929"/>
            <ac:spMk id="13" creationId="{FC9754E2-F0DF-4ACB-8FFE-6607F1D06DCC}"/>
          </ac:spMkLst>
        </pc:spChg>
        <pc:spChg chg="del">
          <ac:chgData name="Tejada, Carmen" userId="4e46fa0d-51a0-4b7a-a6a6-e5b06c9f6d76" providerId="ADAL" clId="{0973AC2B-7113-47FA-8755-F7B35E778DA0}" dt="2023-02-16T12:57:05.686" v="4823" actId="478"/>
          <ac:spMkLst>
            <pc:docMk/>
            <pc:sldMk cId="2757120923" sldId="2147468929"/>
            <ac:spMk id="16" creationId="{75D56E92-42AB-41BF-BE17-421F31F02DF6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1" creationId="{9957B1FD-542E-4953-BBB9-29CB3BDA1E05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2" creationId="{EDE66097-5F7C-4D6C-9EAE-89D148EB64BE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3" creationId="{EE2F8C84-CD6E-4090-ACAC-F05983E2FF67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5" creationId="{1346CC4B-EFB0-4114-8A18-C52172620088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6" creationId="{502DFB2B-4115-41CA-A31C-F1ED3A0648D9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37" creationId="{F9F3DB05-D207-46BB-972B-420BC6E0C9FF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41" creationId="{EBE82867-6B13-4C8E-8EA7-0268B59B58B8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44" creationId="{7EEB1677-B37B-4753-9D15-28588C6923E5}"/>
          </ac:spMkLst>
        </pc:spChg>
        <pc:spChg chg="add del mod">
          <ac:chgData name="Tejada, Carmen" userId="4e46fa0d-51a0-4b7a-a6a6-e5b06c9f6d76" providerId="ADAL" clId="{0973AC2B-7113-47FA-8755-F7B35E778DA0}" dt="2023-02-14T13:13:04.103" v="1897" actId="478"/>
          <ac:spMkLst>
            <pc:docMk/>
            <pc:sldMk cId="2757120923" sldId="2147468929"/>
            <ac:spMk id="45" creationId="{0574D32A-06BC-429F-867A-CD931E8A1F06}"/>
          </ac:spMkLst>
        </pc:spChg>
        <pc:spChg chg="add 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46" creationId="{CCE70161-D115-4726-BD2F-57113E3FBF6D}"/>
          </ac:spMkLst>
        </pc:spChg>
        <pc:spChg chg="add 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47" creationId="{B4751F82-0D2C-41BE-81B2-B0C12815427C}"/>
          </ac:spMkLst>
        </pc:spChg>
        <pc:spChg chg="add del mod">
          <ac:chgData name="Tejada, Carmen" userId="4e46fa0d-51a0-4b7a-a6a6-e5b06c9f6d76" providerId="ADAL" clId="{0973AC2B-7113-47FA-8755-F7B35E778DA0}" dt="2023-02-16T11:28:19.967" v="4549" actId="478"/>
          <ac:spMkLst>
            <pc:docMk/>
            <pc:sldMk cId="2757120923" sldId="2147468929"/>
            <ac:spMk id="48" creationId="{13449DCF-5DD9-435F-9156-94B3AA3FA7FF}"/>
          </ac:spMkLst>
        </pc:spChg>
        <pc:spChg chg="add del mod">
          <ac:chgData name="Tejada, Carmen" userId="4e46fa0d-51a0-4b7a-a6a6-e5b06c9f6d76" providerId="ADAL" clId="{0973AC2B-7113-47FA-8755-F7B35E778DA0}" dt="2023-02-16T12:58:06.634" v="4856" actId="478"/>
          <ac:spMkLst>
            <pc:docMk/>
            <pc:sldMk cId="2757120923" sldId="2147468929"/>
            <ac:spMk id="51" creationId="{E9CBBA68-AC36-4F70-81C0-CB06E1CB5C40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52" creationId="{D46CF565-7B62-4075-B568-3F402943E076}"/>
          </ac:spMkLst>
        </pc:spChg>
        <pc:spChg chg="add del mod">
          <ac:chgData name="Tejada, Carmen" userId="4e46fa0d-51a0-4b7a-a6a6-e5b06c9f6d76" providerId="ADAL" clId="{0973AC2B-7113-47FA-8755-F7B35E778DA0}" dt="2023-02-16T12:59:49.233" v="4926" actId="478"/>
          <ac:spMkLst>
            <pc:docMk/>
            <pc:sldMk cId="2757120923" sldId="2147468929"/>
            <ac:spMk id="53" creationId="{5926F3DD-EFAD-4217-BD24-B4DB2B971147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54" creationId="{DBE4E9F7-16FC-4882-A435-EF64BBEC7884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55" creationId="{8CB99C33-F120-42F0-8547-B3C66ECFEC77}"/>
          </ac:spMkLst>
        </pc:spChg>
        <pc:spChg chg="add mod">
          <ac:chgData name="Tejada, Carmen" userId="4e46fa0d-51a0-4b7a-a6a6-e5b06c9f6d76" providerId="ADAL" clId="{0973AC2B-7113-47FA-8755-F7B35E778DA0}" dt="2023-02-16T12:59:49.749" v="4927"/>
          <ac:spMkLst>
            <pc:docMk/>
            <pc:sldMk cId="2757120923" sldId="2147468929"/>
            <ac:spMk id="56" creationId="{12CD99AA-4D70-4EAC-84C6-1F28CE2D952F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58" creationId="{8B175991-4FDD-4605-8513-783EA38CBA9D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59" creationId="{462F2EA4-756C-4B8C-9F5C-ACDA8BBAF04B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0" creationId="{A4CE4A65-599C-404B-A76F-808C7E09D75D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1" creationId="{41DEDD24-27F0-4650-8818-8AC3D4D22E4A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2" creationId="{3D755988-E942-4C7C-B876-A3AD67E105EF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3" creationId="{E1CDF162-81BF-4819-B3AF-193C81C451B9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4" creationId="{5A0CAF75-CA30-40DB-8585-0C62F59864F1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5" creationId="{ECEC114D-E191-4446-A6C7-60F90C3A6E46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6" creationId="{A5F2044D-1B47-4153-A980-0AE09BCFC19C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67" creationId="{6B338AE8-A845-4244-A5F0-E7202690CA67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70" creationId="{B24752AE-C80A-47FB-B83E-78DB4B50D7E0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72" creationId="{26F0F6FC-2F8E-4568-9912-2F28173F0437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79" creationId="{5C86BDE6-C3DB-4C03-A036-C590FE2DA819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80" creationId="{A0E1B4AC-AE4B-45DE-86AF-2B14A54DA787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81" creationId="{B247000C-BD39-482C-9931-A3C8F50F570F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82" creationId="{84C3EA30-B5EB-409F-8993-C26A5D69F8EC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83" creationId="{99EAD2C6-81BD-4BAB-B8DE-B6F1E1D8655C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103" creationId="{3832A323-BF09-416A-B92B-2BF34546FFC6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104" creationId="{D5095088-36D4-4805-8B6B-42637FB4D786}"/>
          </ac:spMkLst>
        </pc:spChg>
        <pc:spChg chg="mod">
          <ac:chgData name="Tejada, Carmen" userId="4e46fa0d-51a0-4b7a-a6a6-e5b06c9f6d76" providerId="ADAL" clId="{0973AC2B-7113-47FA-8755-F7B35E778DA0}" dt="2023-02-16T12:57:23.709" v="4854" actId="1036"/>
          <ac:spMkLst>
            <pc:docMk/>
            <pc:sldMk cId="2757120923" sldId="2147468929"/>
            <ac:spMk id="112" creationId="{96EBF07F-42E2-4742-A17D-CE550EAF83BB}"/>
          </ac:spMkLst>
        </pc:spChg>
        <pc:grpChg chg="mod">
          <ac:chgData name="Tejada, Carmen" userId="4e46fa0d-51a0-4b7a-a6a6-e5b06c9f6d76" providerId="ADAL" clId="{0973AC2B-7113-47FA-8755-F7B35E778DA0}" dt="2023-02-16T12:57:23.709" v="4854" actId="1036"/>
          <ac:grpSpMkLst>
            <pc:docMk/>
            <pc:sldMk cId="2757120923" sldId="2147468929"/>
            <ac:grpSpMk id="105" creationId="{9E991AB8-3E84-443B-BD44-7978A2048F04}"/>
          </ac:grpSpMkLst>
        </pc:grpChg>
        <pc:picChg chg="mod">
          <ac:chgData name="Tejada, Carmen" userId="4e46fa0d-51a0-4b7a-a6a6-e5b06c9f6d76" providerId="ADAL" clId="{0973AC2B-7113-47FA-8755-F7B35E778DA0}" dt="2023-02-16T12:57:23.709" v="4854" actId="1036"/>
          <ac:picMkLst>
            <pc:docMk/>
            <pc:sldMk cId="2757120923" sldId="2147468929"/>
            <ac:picMk id="49" creationId="{96C17F74-9531-48DD-8C76-64D3297BDC94}"/>
          </ac:picMkLst>
        </pc:picChg>
        <pc:picChg chg="mod">
          <ac:chgData name="Tejada, Carmen" userId="4e46fa0d-51a0-4b7a-a6a6-e5b06c9f6d76" providerId="ADAL" clId="{0973AC2B-7113-47FA-8755-F7B35E778DA0}" dt="2023-02-16T12:57:23.709" v="4854" actId="1036"/>
          <ac:picMkLst>
            <pc:docMk/>
            <pc:sldMk cId="2757120923" sldId="2147468929"/>
            <ac:picMk id="50" creationId="{9356C71A-C0FD-488B-94BC-2E8C9A6CDB1F}"/>
          </ac:picMkLst>
        </pc:picChg>
        <pc:picChg chg="mod">
          <ac:chgData name="Tejada, Carmen" userId="4e46fa0d-51a0-4b7a-a6a6-e5b06c9f6d76" providerId="ADAL" clId="{0973AC2B-7113-47FA-8755-F7B35E778DA0}" dt="2023-02-16T12:57:23.709" v="4854" actId="1036"/>
          <ac:picMkLst>
            <pc:docMk/>
            <pc:sldMk cId="2757120923" sldId="2147468929"/>
            <ac:picMk id="69" creationId="{9AD23FFF-67F9-406B-A6E6-E144C51CBA89}"/>
          </ac:picMkLst>
        </pc:picChg>
      </pc:sldChg>
      <pc:sldChg chg="addSp delSp modSp mod">
        <pc:chgData name="Tejada, Carmen" userId="4e46fa0d-51a0-4b7a-a6a6-e5b06c9f6d76" providerId="ADAL" clId="{0973AC2B-7113-47FA-8755-F7B35E778DA0}" dt="2023-02-16T12:59:55.233" v="4929"/>
        <pc:sldMkLst>
          <pc:docMk/>
          <pc:sldMk cId="1827812938" sldId="2147468930"/>
        </pc:sldMkLst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34" creationId="{A52B7D01-0348-40E6-8805-6800E82CE27F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36" creationId="{D6364557-7C52-46BF-82BE-C3D5C191452B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37" creationId="{74B6E08A-5B40-4847-8DB3-9D49E89C459C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38" creationId="{02674BBD-BA6B-431F-918D-0543D2766A2C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39" creationId="{4C1BC828-DC48-4039-A5AA-D0402E4CF66A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0" creationId="{3AD89FAC-0060-40C2-8AE7-9A63C02C1461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1" creationId="{18ACA19A-3D0E-4C41-A795-1CA0F834D8AD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2" creationId="{91007C0C-D252-4ABA-A7CD-347B788389D1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3" creationId="{CC49E3B0-50D1-4330-A706-F81D1198CEB6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4" creationId="{5CF5D638-8E2B-4088-8E8F-BBDD556A41A2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5" creationId="{D0F6FEA8-C5E2-4D43-ABFA-ED242CC4799F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6" creationId="{50EC898B-8D50-44E3-BD19-C357D67408C6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47" creationId="{83350998-53D9-4E9F-8699-0F6F5A40DB72}"/>
          </ac:spMkLst>
        </pc:spChg>
        <pc:spChg chg="add del mod">
          <ac:chgData name="Tejada, Carmen" userId="4e46fa0d-51a0-4b7a-a6a6-e5b06c9f6d76" providerId="ADAL" clId="{0973AC2B-7113-47FA-8755-F7B35E778DA0}" dt="2023-02-14T13:45:27.568" v="1985" actId="478"/>
          <ac:spMkLst>
            <pc:docMk/>
            <pc:sldMk cId="1827812938" sldId="2147468930"/>
            <ac:spMk id="48" creationId="{BF259F49-59BD-4F9B-B06F-079BD6D7C56B}"/>
          </ac:spMkLst>
        </pc:spChg>
        <pc:spChg chg="add del mod">
          <ac:chgData name="Tejada, Carmen" userId="4e46fa0d-51a0-4b7a-a6a6-e5b06c9f6d76" providerId="ADAL" clId="{0973AC2B-7113-47FA-8755-F7B35E778DA0}" dt="2023-02-14T13:45:27.568" v="1985" actId="478"/>
          <ac:spMkLst>
            <pc:docMk/>
            <pc:sldMk cId="1827812938" sldId="2147468930"/>
            <ac:spMk id="49" creationId="{B5AFFC38-1421-4C8D-A458-EFDE8D5C8911}"/>
          </ac:spMkLst>
        </pc:spChg>
        <pc:spChg chg="add 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50" creationId="{A9FA1ACB-196D-41E6-89D7-ABCAB8782644}"/>
          </ac:spMkLst>
        </pc:spChg>
        <pc:spChg chg="add del mod">
          <ac:chgData name="Tejada, Carmen" userId="4e46fa0d-51a0-4b7a-a6a6-e5b06c9f6d76" providerId="ADAL" clId="{0973AC2B-7113-47FA-8755-F7B35E778DA0}" dt="2023-02-16T12:59:54.665" v="4928" actId="478"/>
          <ac:spMkLst>
            <pc:docMk/>
            <pc:sldMk cId="1827812938" sldId="2147468930"/>
            <ac:spMk id="51" creationId="{63399D1B-2DCA-40FC-AB8A-D08A7C08B810}"/>
          </ac:spMkLst>
        </pc:spChg>
        <pc:spChg chg="add mod">
          <ac:chgData name="Tejada, Carmen" userId="4e46fa0d-51a0-4b7a-a6a6-e5b06c9f6d76" providerId="ADAL" clId="{0973AC2B-7113-47FA-8755-F7B35E778DA0}" dt="2023-02-16T12:59:55.233" v="4929"/>
          <ac:spMkLst>
            <pc:docMk/>
            <pc:sldMk cId="1827812938" sldId="2147468930"/>
            <ac:spMk id="52" creationId="{B23021E3-9D4C-4FA8-9C08-15F9C278F6D2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54" creationId="{5F9187CC-3CD5-4486-859C-BC853C28F8D4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59" creationId="{F35FA2C2-AAE0-4CBD-B936-BFA2FFFD0894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60" creationId="{A9E7582D-5FCC-438D-B4BB-85AEC295BD75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73" creationId="{CAF70200-153B-4F84-A0BB-50DB6C9F787C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74" creationId="{E0311394-54E5-478D-BFE1-EE26035E1D08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77" creationId="{50917C5A-D252-4337-86C1-D11832B1683E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81" creationId="{1846BA9A-20AC-4FFE-90F3-5F9F99879130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98" creationId="{D4E97A50-47B7-45D8-B162-6B621F7FCAAE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04" creationId="{A958E530-B9F9-4937-9D21-62542AA8B4C4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05" creationId="{6C1451F9-2DD4-428E-8E89-4234A0FAD839}"/>
          </ac:spMkLst>
        </pc:spChg>
        <pc:spChg chg="del">
          <ac:chgData name="Tejada, Carmen" userId="4e46fa0d-51a0-4b7a-a6a6-e5b06c9f6d76" providerId="ADAL" clId="{0973AC2B-7113-47FA-8755-F7B35E778DA0}" dt="2023-02-14T13:43:55.400" v="1932" actId="478"/>
          <ac:spMkLst>
            <pc:docMk/>
            <pc:sldMk cId="1827812938" sldId="2147468930"/>
            <ac:spMk id="107" creationId="{33CF1737-E665-45EC-8760-162CA5892489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11" creationId="{115C22DC-FDF2-4E6A-8A7E-0CA325D3F5EB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18" creationId="{0624C68F-237B-45F3-8779-72D6035CE870}"/>
          </ac:spMkLst>
        </pc:spChg>
        <pc:spChg chg="mod">
          <ac:chgData name="Tejada, Carmen" userId="4e46fa0d-51a0-4b7a-a6a6-e5b06c9f6d76" providerId="ADAL" clId="{0973AC2B-7113-47FA-8755-F7B35E778DA0}" dt="2023-02-16T12:58:22.191" v="4880" actId="1035"/>
          <ac:spMkLst>
            <pc:docMk/>
            <pc:sldMk cId="1827812938" sldId="2147468930"/>
            <ac:spMk id="119" creationId="{01FF74B0-D75A-4646-8574-67A754037477}"/>
          </ac:spMkLst>
        </pc:spChg>
        <pc:spChg chg="del">
          <ac:chgData name="Tejada, Carmen" userId="4e46fa0d-51a0-4b7a-a6a6-e5b06c9f6d76" providerId="ADAL" clId="{0973AC2B-7113-47FA-8755-F7B35E778DA0}" dt="2023-02-16T12:58:24.451" v="4881" actId="478"/>
          <ac:spMkLst>
            <pc:docMk/>
            <pc:sldMk cId="1827812938" sldId="2147468930"/>
            <ac:spMk id="121" creationId="{176D52D0-5068-415F-956A-5E08A76848CD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22" creationId="{B166B73D-00CC-4E03-99CD-EDCAA515CD0E}"/>
          </ac:spMkLst>
        </pc:spChg>
        <pc:spChg chg="mod">
          <ac:chgData name="Tejada, Carmen" userId="4e46fa0d-51a0-4b7a-a6a6-e5b06c9f6d76" providerId="ADAL" clId="{0973AC2B-7113-47FA-8755-F7B35E778DA0}" dt="2023-02-16T12:58:46.883" v="4892" actId="1036"/>
          <ac:spMkLst>
            <pc:docMk/>
            <pc:sldMk cId="1827812938" sldId="2147468930"/>
            <ac:spMk id="123" creationId="{00D0E962-493C-4B4F-AEB8-E230EE65375D}"/>
          </ac:spMkLst>
        </pc:sp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55" creationId="{DB9CB8B8-A23B-4A23-98AB-FCDA2449AFD3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57" creationId="{2413F7EB-723C-4B61-AE08-8A25B29EE8F6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58" creationId="{0E0D3BE9-5696-4DB1-BEE4-595D3C026F94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75" creationId="{EAD5032F-0B5B-4504-B21A-12669F519C75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82" creationId="{6981F34E-7A40-40EC-ADA5-47E67C8144AC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84" creationId="{5DA81FB4-C6B8-41DE-940E-DD9CF9E3BFB8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99" creationId="{C6B4548D-A2AC-4FD5-91F3-3F82A6719ABE}"/>
          </ac:picMkLst>
        </pc:picChg>
        <pc:picChg chg="mod">
          <ac:chgData name="Tejada, Carmen" userId="4e46fa0d-51a0-4b7a-a6a6-e5b06c9f6d76" providerId="ADAL" clId="{0973AC2B-7113-47FA-8755-F7B35E778DA0}" dt="2023-02-16T12:58:46.883" v="4892" actId="1036"/>
          <ac:picMkLst>
            <pc:docMk/>
            <pc:sldMk cId="1827812938" sldId="2147468930"/>
            <ac:picMk id="108" creationId="{E7830B64-EA2E-4096-B3E9-99118DF1C4F3}"/>
          </ac:picMkLst>
        </pc:picChg>
        <pc:picChg chg="del">
          <ac:chgData name="Tejada, Carmen" userId="4e46fa0d-51a0-4b7a-a6a6-e5b06c9f6d76" providerId="ADAL" clId="{0973AC2B-7113-47FA-8755-F7B35E778DA0}" dt="2023-02-14T13:43:40.360" v="1930" actId="478"/>
          <ac:picMkLst>
            <pc:docMk/>
            <pc:sldMk cId="1827812938" sldId="2147468930"/>
            <ac:picMk id="112" creationId="{21485437-23EA-4462-A5DA-1D17DC38E68B}"/>
          </ac:picMkLst>
        </pc:picChg>
        <pc:picChg chg="del">
          <ac:chgData name="Tejada, Carmen" userId="4e46fa0d-51a0-4b7a-a6a6-e5b06c9f6d76" providerId="ADAL" clId="{0973AC2B-7113-47FA-8755-F7B35E778DA0}" dt="2023-02-14T13:43:41.046" v="1931" actId="478"/>
          <ac:picMkLst>
            <pc:docMk/>
            <pc:sldMk cId="1827812938" sldId="2147468930"/>
            <ac:picMk id="124" creationId="{D9673F34-0050-4F3C-AE22-8223A2194C0A}"/>
          </ac:picMkLst>
        </pc:picChg>
        <pc:cxnChg chg="mod">
          <ac:chgData name="Tejada, Carmen" userId="4e46fa0d-51a0-4b7a-a6a6-e5b06c9f6d76" providerId="ADAL" clId="{0973AC2B-7113-47FA-8755-F7B35E778DA0}" dt="2023-02-16T12:58:46.883" v="4892" actId="1036"/>
          <ac:cxnSpMkLst>
            <pc:docMk/>
            <pc:sldMk cId="1827812938" sldId="2147468930"/>
            <ac:cxnSpMk id="30" creationId="{1E237236-B7E0-402E-BC8D-F85A3DF8CD68}"/>
          </ac:cxnSpMkLst>
        </pc:cxnChg>
        <pc:cxnChg chg="mod">
          <ac:chgData name="Tejada, Carmen" userId="4e46fa0d-51a0-4b7a-a6a6-e5b06c9f6d76" providerId="ADAL" clId="{0973AC2B-7113-47FA-8755-F7B35E778DA0}" dt="2023-02-16T12:58:46.883" v="4892" actId="1036"/>
          <ac:cxnSpMkLst>
            <pc:docMk/>
            <pc:sldMk cId="1827812938" sldId="2147468930"/>
            <ac:cxnSpMk id="62" creationId="{C186FC7D-6460-48E0-893D-B9EDCACBFC65}"/>
          </ac:cxnSpMkLst>
        </pc:cxnChg>
        <pc:cxnChg chg="mod">
          <ac:chgData name="Tejada, Carmen" userId="4e46fa0d-51a0-4b7a-a6a6-e5b06c9f6d76" providerId="ADAL" clId="{0973AC2B-7113-47FA-8755-F7B35E778DA0}" dt="2023-02-16T12:58:46.883" v="4892" actId="1036"/>
          <ac:cxnSpMkLst>
            <pc:docMk/>
            <pc:sldMk cId="1827812938" sldId="2147468930"/>
            <ac:cxnSpMk id="63" creationId="{2224C098-CBB8-4EFA-BC33-81F0D230979D}"/>
          </ac:cxnSpMkLst>
        </pc:cxnChg>
        <pc:cxnChg chg="mod">
          <ac:chgData name="Tejada, Carmen" userId="4e46fa0d-51a0-4b7a-a6a6-e5b06c9f6d76" providerId="ADAL" clId="{0973AC2B-7113-47FA-8755-F7B35E778DA0}" dt="2023-02-16T12:58:46.883" v="4892" actId="1036"/>
          <ac:cxnSpMkLst>
            <pc:docMk/>
            <pc:sldMk cId="1827812938" sldId="2147468930"/>
            <ac:cxnSpMk id="91" creationId="{33AAC015-6519-43B8-91E5-C4AA9019B4AC}"/>
          </ac:cxnSpMkLst>
        </pc:cxnChg>
      </pc:sldChg>
      <pc:sldChg chg="addSp delSp modSp mod">
        <pc:chgData name="Tejada, Carmen" userId="4e46fa0d-51a0-4b7a-a6a6-e5b06c9f6d76" providerId="ADAL" clId="{0973AC2B-7113-47FA-8755-F7B35E778DA0}" dt="2023-02-21T13:35:15.795" v="5489"/>
        <pc:sldMkLst>
          <pc:docMk/>
          <pc:sldMk cId="1951436750" sldId="2147468931"/>
        </pc:sldMkLst>
        <pc:spChg chg="add 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16" creationId="{A9A61A3B-8F47-43E0-A46E-3FB5B3390DC5}"/>
          </ac:spMkLst>
        </pc:spChg>
        <pc:spChg chg="add 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18" creationId="{BAC234DD-E1FA-4A9E-9DA2-C3F2922878FC}"/>
          </ac:spMkLst>
        </pc:spChg>
        <pc:spChg chg="add del mod">
          <ac:chgData name="Tejada, Carmen" userId="4e46fa0d-51a0-4b7a-a6a6-e5b06c9f6d76" providerId="ADAL" clId="{0973AC2B-7113-47FA-8755-F7B35E778DA0}" dt="2023-02-16T13:00:10.667" v="4930" actId="478"/>
          <ac:spMkLst>
            <pc:docMk/>
            <pc:sldMk cId="1951436750" sldId="2147468931"/>
            <ac:spMk id="22" creationId="{09B7662D-08A0-42C9-A8D7-0F125E2FAE8E}"/>
          </ac:spMkLst>
        </pc:spChg>
        <pc:spChg chg="add mod">
          <ac:chgData name="Tejada, Carmen" userId="4e46fa0d-51a0-4b7a-a6a6-e5b06c9f6d76" providerId="ADAL" clId="{0973AC2B-7113-47FA-8755-F7B35E778DA0}" dt="2023-02-16T13:00:14.460" v="4931"/>
          <ac:spMkLst>
            <pc:docMk/>
            <pc:sldMk cId="1951436750" sldId="2147468931"/>
            <ac:spMk id="23" creationId="{26B8AE66-8F02-4E05-97FF-C7822138F362}"/>
          </ac:spMkLst>
        </pc:spChg>
        <pc:spChg chg="add mod">
          <ac:chgData name="Tejada, Carmen" userId="4e46fa0d-51a0-4b7a-a6a6-e5b06c9f6d76" providerId="ADAL" clId="{0973AC2B-7113-47FA-8755-F7B35E778DA0}" dt="2023-02-16T17:10:56.594" v="4976"/>
          <ac:spMkLst>
            <pc:docMk/>
            <pc:sldMk cId="1951436750" sldId="2147468931"/>
            <ac:spMk id="24" creationId="{8DC28E09-7587-4F05-B6A1-5093579142E8}"/>
          </ac:spMkLst>
        </pc:spChg>
        <pc:spChg chg="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52" creationId="{44423D4A-A538-4475-A58F-32415397B430}"/>
          </ac:spMkLst>
        </pc:spChg>
        <pc:spChg chg="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53" creationId="{9C2CC477-E9A3-4DEA-BF8B-28882C9B246A}"/>
          </ac:spMkLst>
        </pc:spChg>
        <pc:spChg chg="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54" creationId="{67770192-90BB-423B-9045-1D0C789BE434}"/>
          </ac:spMkLst>
        </pc:spChg>
        <pc:spChg chg="mod">
          <ac:chgData name="Tejada, Carmen" userId="4e46fa0d-51a0-4b7a-a6a6-e5b06c9f6d76" providerId="ADAL" clId="{0973AC2B-7113-47FA-8755-F7B35E778DA0}" dt="2023-02-16T12:59:19.165" v="4914" actId="1035"/>
          <ac:spMkLst>
            <pc:docMk/>
            <pc:sldMk cId="1951436750" sldId="2147468931"/>
            <ac:spMk id="55" creationId="{69C19082-B3DD-4DC2-B418-809B4149C090}"/>
          </ac:spMkLst>
        </pc:spChg>
        <pc:spChg chg="del">
          <ac:chgData name="Tejada, Carmen" userId="4e46fa0d-51a0-4b7a-a6a6-e5b06c9f6d76" providerId="ADAL" clId="{0973AC2B-7113-47FA-8755-F7B35E778DA0}" dt="2023-02-16T12:59:01.006" v="4913" actId="478"/>
          <ac:spMkLst>
            <pc:docMk/>
            <pc:sldMk cId="1951436750" sldId="2147468931"/>
            <ac:spMk id="58" creationId="{1712146B-DC35-4C28-BC28-C0B6B10C0023}"/>
          </ac:spMkLst>
        </pc:spChg>
        <pc:spChg chg="mod">
          <ac:chgData name="Tejada, Carmen" userId="4e46fa0d-51a0-4b7a-a6a6-e5b06c9f6d76" providerId="ADAL" clId="{0973AC2B-7113-47FA-8755-F7B35E778DA0}" dt="2023-02-16T12:59:27.946" v="4925" actId="1036"/>
          <ac:spMkLst>
            <pc:docMk/>
            <pc:sldMk cId="1951436750" sldId="2147468931"/>
            <ac:spMk id="107" creationId="{33CF1737-E665-45EC-8760-162CA5892489}"/>
          </ac:spMkLst>
        </pc:spChg>
        <pc:picChg chg="mod">
          <ac:chgData name="Tejada, Carmen" userId="4e46fa0d-51a0-4b7a-a6a6-e5b06c9f6d76" providerId="ADAL" clId="{0973AC2B-7113-47FA-8755-F7B35E778DA0}" dt="2023-02-16T12:59:27.946" v="4925" actId="1036"/>
          <ac:picMkLst>
            <pc:docMk/>
            <pc:sldMk cId="1951436750" sldId="2147468931"/>
            <ac:picMk id="14" creationId="{48E14B87-B830-4492-90E2-2C9E7E118601}"/>
          </ac:picMkLst>
        </pc:picChg>
        <pc:picChg chg="mod">
          <ac:chgData name="Tejada, Carmen" userId="4e46fa0d-51a0-4b7a-a6a6-e5b06c9f6d76" providerId="ADAL" clId="{0973AC2B-7113-47FA-8755-F7B35E778DA0}" dt="2023-02-16T12:59:27.946" v="4925" actId="1036"/>
          <ac:picMkLst>
            <pc:docMk/>
            <pc:sldMk cId="1951436750" sldId="2147468931"/>
            <ac:picMk id="15" creationId="{B2F869D4-A471-4D4A-BB03-F29789435872}"/>
          </ac:picMkLst>
        </pc:picChg>
        <pc:picChg chg="mod">
          <ac:chgData name="Tejada, Carmen" userId="4e46fa0d-51a0-4b7a-a6a6-e5b06c9f6d76" providerId="ADAL" clId="{0973AC2B-7113-47FA-8755-F7B35E778DA0}" dt="2023-02-16T12:59:27.946" v="4925" actId="1036"/>
          <ac:picMkLst>
            <pc:docMk/>
            <pc:sldMk cId="1951436750" sldId="2147468931"/>
            <ac:picMk id="19" creationId="{25E4DA59-2374-43E3-A754-21F5079BB69C}"/>
          </ac:picMkLst>
        </pc:picChg>
        <pc:picChg chg="mod">
          <ac:chgData name="Tejada, Carmen" userId="4e46fa0d-51a0-4b7a-a6a6-e5b06c9f6d76" providerId="ADAL" clId="{0973AC2B-7113-47FA-8755-F7B35E778DA0}" dt="2023-02-16T12:59:27.946" v="4925" actId="1036"/>
          <ac:picMkLst>
            <pc:docMk/>
            <pc:sldMk cId="1951436750" sldId="2147468931"/>
            <ac:picMk id="20" creationId="{CC363D68-C3C8-4F62-91F6-9A01D1FFDDFB}"/>
          </ac:picMkLst>
        </pc:picChg>
        <pc:picChg chg="add del mod">
          <ac:chgData name="Tejada, Carmen" userId="4e46fa0d-51a0-4b7a-a6a6-e5b06c9f6d76" providerId="ADAL" clId="{0973AC2B-7113-47FA-8755-F7B35E778DA0}" dt="2023-02-21T13:35:15.795" v="5489"/>
          <ac:picMkLst>
            <pc:docMk/>
            <pc:sldMk cId="1951436750" sldId="2147468931"/>
            <ac:picMk id="22" creationId="{3DED2666-6F53-4BA9-ABEB-17B1604B61AB}"/>
          </ac:picMkLst>
        </pc:picChg>
        <pc:picChg chg="add del mod">
          <ac:chgData name="Tejada, Carmen" userId="4e46fa0d-51a0-4b7a-a6a6-e5b06c9f6d76" providerId="ADAL" clId="{0973AC2B-7113-47FA-8755-F7B35E778DA0}" dt="2023-02-21T13:35:15.795" v="5489"/>
          <ac:picMkLst>
            <pc:docMk/>
            <pc:sldMk cId="1951436750" sldId="2147468931"/>
            <ac:picMk id="25" creationId="{D8736BB9-2F5A-4567-804E-E1AD5C54C30B}"/>
          </ac:picMkLst>
        </pc:picChg>
        <pc:cxnChg chg="add mod">
          <ac:chgData name="Tejada, Carmen" userId="4e46fa0d-51a0-4b7a-a6a6-e5b06c9f6d76" providerId="ADAL" clId="{0973AC2B-7113-47FA-8755-F7B35E778DA0}" dt="2023-02-16T12:59:27.946" v="4925" actId="1036"/>
          <ac:cxnSpMkLst>
            <pc:docMk/>
            <pc:sldMk cId="1951436750" sldId="2147468931"/>
            <ac:cxnSpMk id="17" creationId="{4D95297E-7FC0-4F1C-A18B-A06777F24CFB}"/>
          </ac:cxnSpMkLst>
        </pc:cxnChg>
        <pc:cxnChg chg="add mod">
          <ac:chgData name="Tejada, Carmen" userId="4e46fa0d-51a0-4b7a-a6a6-e5b06c9f6d76" providerId="ADAL" clId="{0973AC2B-7113-47FA-8755-F7B35E778DA0}" dt="2023-02-16T12:59:27.946" v="4925" actId="1036"/>
          <ac:cxnSpMkLst>
            <pc:docMk/>
            <pc:sldMk cId="1951436750" sldId="2147468931"/>
            <ac:cxnSpMk id="21" creationId="{CBF6A80E-1EF5-4164-9243-5CE5BABAF5CA}"/>
          </ac:cxnSpMkLst>
        </pc:cxnChg>
      </pc:sldChg>
      <pc:sldChg chg="del mod or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1490681093" sldId="2147468932"/>
        </pc:sldMkLst>
      </pc:sldChg>
      <pc:sldChg chg="del mod or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3812878244" sldId="2147468933"/>
        </pc:sldMkLst>
      </pc:sldChg>
      <pc:sldChg chg="addSp delSp modSp mod">
        <pc:chgData name="Tejada, Carmen" userId="4e46fa0d-51a0-4b7a-a6a6-e5b06c9f6d76" providerId="ADAL" clId="{0973AC2B-7113-47FA-8755-F7B35E778DA0}" dt="2023-02-16T11:20:35.939" v="4250" actId="108"/>
        <pc:sldMkLst>
          <pc:docMk/>
          <pc:sldMk cId="1125194592" sldId="2147468934"/>
        </pc:sldMkLst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3" creationId="{830D324D-2706-4228-8144-6CE028C2DF1D}"/>
          </ac:spMkLst>
        </pc:spChg>
        <pc:spChg chg="mod">
          <ac:chgData name="Tejada, Carmen" userId="4e46fa0d-51a0-4b7a-a6a6-e5b06c9f6d76" providerId="ADAL" clId="{0973AC2B-7113-47FA-8755-F7B35E778DA0}" dt="2023-02-16T11:20:35.939" v="4250" actId="108"/>
          <ac:spMkLst>
            <pc:docMk/>
            <pc:sldMk cId="1125194592" sldId="2147468934"/>
            <ac:spMk id="4" creationId="{F2756C86-9660-4710-B44C-45095A3EADEC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52" creationId="{9F407F65-85E9-41C0-9E91-9337618D32D9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57" creationId="{9764327B-0382-42B7-8C65-C222DE6E2326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58" creationId="{A707D47E-B1B5-45F6-81D7-2B146952DBAF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59" creationId="{B60C1F3D-0B60-4B53-B1A3-A84AE53E0008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63" creationId="{2693744E-88CD-44C1-8211-E07A056B9E3A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65" creationId="{753D5192-BEF6-4975-80BE-ADC21FBF8F98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67" creationId="{84EE57D6-739B-4C91-80B0-D5F779E60059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68" creationId="{2854DE08-B65C-437B-8DB4-7EA2C8A45004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69" creationId="{A55A4CB3-50F8-4811-8549-241FB732D8D4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72" creationId="{8B6C62E9-9A96-4175-B331-8FF6044D82FF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73" creationId="{491EE23C-78FB-4E82-9E72-40C8A1DE4E50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74" creationId="{6AD4D76B-2C0A-4A2E-99E2-8DD33A766BB7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75" creationId="{1B787DFA-FD49-4BF2-B543-A019CA7A6609}"/>
          </ac:spMkLst>
        </pc:spChg>
        <pc:spChg chg="mod">
          <ac:chgData name="Tejada, Carmen" userId="4e46fa0d-51a0-4b7a-a6a6-e5b06c9f6d76" providerId="ADAL" clId="{0973AC2B-7113-47FA-8755-F7B35E778DA0}" dt="2023-02-16T11:13:46.348" v="4100" actId="1035"/>
          <ac:spMkLst>
            <pc:docMk/>
            <pc:sldMk cId="1125194592" sldId="2147468934"/>
            <ac:spMk id="86" creationId="{654847C7-6569-41C0-B82F-BE4C6DEB1C34}"/>
          </ac:spMkLst>
        </pc:spChg>
        <pc:spChg chg="mod">
          <ac:chgData name="Tejada, Carmen" userId="4e46fa0d-51a0-4b7a-a6a6-e5b06c9f6d76" providerId="ADAL" clId="{0973AC2B-7113-47FA-8755-F7B35E778DA0}" dt="2023-02-16T11:14:03.211" v="4114" actId="1036"/>
          <ac:spMkLst>
            <pc:docMk/>
            <pc:sldMk cId="1125194592" sldId="2147468934"/>
            <ac:spMk id="87" creationId="{151FCDB8-6EA9-41E4-BC08-0EDE145C69A4}"/>
          </ac:spMkLst>
        </pc:spChg>
        <pc:spChg chg="del">
          <ac:chgData name="Tejada, Carmen" userId="4e46fa0d-51a0-4b7a-a6a6-e5b06c9f6d76" providerId="ADAL" clId="{0973AC2B-7113-47FA-8755-F7B35E778DA0}" dt="2023-02-16T11:13:48.917" v="4101" actId="478"/>
          <ac:spMkLst>
            <pc:docMk/>
            <pc:sldMk cId="1125194592" sldId="2147468934"/>
            <ac:spMk id="88" creationId="{F9A53178-2569-4307-B92E-A016298C9D4E}"/>
          </ac:spMkLst>
        </pc:spChg>
        <pc:spChg chg="mod">
          <ac:chgData name="Tejada, Carmen" userId="4e46fa0d-51a0-4b7a-a6a6-e5b06c9f6d76" providerId="ADAL" clId="{0973AC2B-7113-47FA-8755-F7B35E778DA0}" dt="2023-02-16T11:13:56.406" v="4113" actId="1035"/>
          <ac:spMkLst>
            <pc:docMk/>
            <pc:sldMk cId="1125194592" sldId="2147468934"/>
            <ac:spMk id="94" creationId="{7E814C6C-0191-4809-9645-C7FEC000D7CF}"/>
          </ac:spMkLst>
        </pc:spChg>
        <pc:picChg chg="add mod">
          <ac:chgData name="Tejada, Carmen" userId="4e46fa0d-51a0-4b7a-a6a6-e5b06c9f6d76" providerId="ADAL" clId="{0973AC2B-7113-47FA-8755-F7B35E778DA0}" dt="2023-02-16T11:17:01.499" v="4155" actId="1076"/>
          <ac:picMkLst>
            <pc:docMk/>
            <pc:sldMk cId="1125194592" sldId="2147468934"/>
            <ac:picMk id="2" creationId="{8E239D9A-A48D-463B-983A-EB50D5A5DB0C}"/>
          </ac:picMkLst>
        </pc:picChg>
        <pc:picChg chg="add mod">
          <ac:chgData name="Tejada, Carmen" userId="4e46fa0d-51a0-4b7a-a6a6-e5b06c9f6d76" providerId="ADAL" clId="{0973AC2B-7113-47FA-8755-F7B35E778DA0}" dt="2023-02-16T11:17:23.444" v="4166" actId="1076"/>
          <ac:picMkLst>
            <pc:docMk/>
            <pc:sldMk cId="1125194592" sldId="2147468934"/>
            <ac:picMk id="6" creationId="{9679740D-5EE5-4041-B378-F9475056E1FD}"/>
          </ac:picMkLst>
        </pc:picChg>
        <pc:picChg chg="del mod">
          <ac:chgData name="Tejada, Carmen" userId="4e46fa0d-51a0-4b7a-a6a6-e5b06c9f6d76" providerId="ADAL" clId="{0973AC2B-7113-47FA-8755-F7B35E778DA0}" dt="2023-02-16T11:14:58.701" v="4126" actId="478"/>
          <ac:picMkLst>
            <pc:docMk/>
            <pc:sldMk cId="1125194592" sldId="2147468934"/>
            <ac:picMk id="8" creationId="{0ADBF229-2D10-4CDE-ADC4-AAC163F2AE21}"/>
          </ac:picMkLst>
        </pc:picChg>
        <pc:picChg chg="del mod">
          <ac:chgData name="Tejada, Carmen" userId="4e46fa0d-51a0-4b7a-a6a6-e5b06c9f6d76" providerId="ADAL" clId="{0973AC2B-7113-47FA-8755-F7B35E778DA0}" dt="2023-02-16T11:15:31.234" v="4137" actId="478"/>
          <ac:picMkLst>
            <pc:docMk/>
            <pc:sldMk cId="1125194592" sldId="2147468934"/>
            <ac:picMk id="10" creationId="{21ED9C83-BEB1-4881-9489-0E7C6B0A47DA}"/>
          </ac:picMkLst>
        </pc:picChg>
        <pc:picChg chg="del mod">
          <ac:chgData name="Tejada, Carmen" userId="4e46fa0d-51a0-4b7a-a6a6-e5b06c9f6d76" providerId="ADAL" clId="{0973AC2B-7113-47FA-8755-F7B35E778DA0}" dt="2023-02-16T11:16:42.297" v="4147" actId="478"/>
          <ac:picMkLst>
            <pc:docMk/>
            <pc:sldMk cId="1125194592" sldId="2147468934"/>
            <ac:picMk id="11" creationId="{8C81CE49-A655-4873-BCB4-90B702E6AA9E}"/>
          </ac:picMkLst>
        </pc:picChg>
        <pc:picChg chg="del mod">
          <ac:chgData name="Tejada, Carmen" userId="4e46fa0d-51a0-4b7a-a6a6-e5b06c9f6d76" providerId="ADAL" clId="{0973AC2B-7113-47FA-8755-F7B35E778DA0}" dt="2023-02-16T11:17:02.815" v="4156" actId="478"/>
          <ac:picMkLst>
            <pc:docMk/>
            <pc:sldMk cId="1125194592" sldId="2147468934"/>
            <ac:picMk id="12" creationId="{EA0AEDAF-9B33-470A-A9B2-7192A1FDA01D}"/>
          </ac:picMkLst>
        </pc:picChg>
        <pc:picChg chg="add mod">
          <ac:chgData name="Tejada, Carmen" userId="4e46fa0d-51a0-4b7a-a6a6-e5b06c9f6d76" providerId="ADAL" clId="{0973AC2B-7113-47FA-8755-F7B35E778DA0}" dt="2023-02-16T11:13:51.334" v="4102" actId="1076"/>
          <ac:picMkLst>
            <pc:docMk/>
            <pc:sldMk cId="1125194592" sldId="2147468934"/>
            <ac:picMk id="28" creationId="{FF280E36-9B99-4D79-B7D1-EC869DB49529}"/>
          </ac:picMkLst>
        </pc:picChg>
        <pc:picChg chg="add mod">
          <ac:chgData name="Tejada, Carmen" userId="4e46fa0d-51a0-4b7a-a6a6-e5b06c9f6d76" providerId="ADAL" clId="{0973AC2B-7113-47FA-8755-F7B35E778DA0}" dt="2023-02-16T11:15:35.432" v="4138" actId="1076"/>
          <ac:picMkLst>
            <pc:docMk/>
            <pc:sldMk cId="1125194592" sldId="2147468934"/>
            <ac:picMk id="29" creationId="{DBB13E01-49A6-4B07-B6E7-E980E32BED02}"/>
          </ac:picMkLst>
        </pc:picChg>
        <pc:picChg chg="add mod">
          <ac:chgData name="Tejada, Carmen" userId="4e46fa0d-51a0-4b7a-a6a6-e5b06c9f6d76" providerId="ADAL" clId="{0973AC2B-7113-47FA-8755-F7B35E778DA0}" dt="2023-02-16T11:15:57.457" v="4146" actId="1076"/>
          <ac:picMkLst>
            <pc:docMk/>
            <pc:sldMk cId="1125194592" sldId="2147468934"/>
            <ac:picMk id="30" creationId="{58D22311-7B8E-445D-93B7-2321BBDC72EE}"/>
          </ac:picMkLst>
        </pc:picChg>
        <pc:picChg chg="del">
          <ac:chgData name="Tejada, Carmen" userId="4e46fa0d-51a0-4b7a-a6a6-e5b06c9f6d76" providerId="ADAL" clId="{0973AC2B-7113-47FA-8755-F7B35E778DA0}" dt="2023-02-16T11:13:26.955" v="4091" actId="478"/>
          <ac:picMkLst>
            <pc:docMk/>
            <pc:sldMk cId="1125194592" sldId="2147468934"/>
            <ac:picMk id="48" creationId="{9526BC44-E2B3-4B0D-9801-8C3A7685B593}"/>
          </ac:picMkLst>
        </pc:picChg>
      </pc:sldChg>
      <pc:sldChg chg="modSp 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1880501675" sldId="2147468935"/>
        </pc:sldMkLst>
        <pc:spChg chg="mod">
          <ac:chgData name="Tejada, Carmen" userId="4e46fa0d-51a0-4b7a-a6a6-e5b06c9f6d76" providerId="ADAL" clId="{0973AC2B-7113-47FA-8755-F7B35E778DA0}" dt="2023-02-16T10:50:17.170" v="3887" actId="1076"/>
          <ac:spMkLst>
            <pc:docMk/>
            <pc:sldMk cId="1880501675" sldId="2147468935"/>
            <ac:spMk id="5" creationId="{0DCB9081-8728-471D-BFB1-ECA2C8A277AB}"/>
          </ac:spMkLst>
        </pc:spChg>
        <pc:spChg chg="mod">
          <ac:chgData name="Tejada, Carmen" userId="4e46fa0d-51a0-4b7a-a6a6-e5b06c9f6d76" providerId="ADAL" clId="{0973AC2B-7113-47FA-8755-F7B35E778DA0}" dt="2023-02-16T10:50:20.707" v="3888" actId="1076"/>
          <ac:spMkLst>
            <pc:docMk/>
            <pc:sldMk cId="1880501675" sldId="2147468935"/>
            <ac:spMk id="6" creationId="{72960528-BEDA-4CF6-8B59-18D2730EF2E9}"/>
          </ac:spMkLst>
        </pc:spChg>
        <pc:spChg chg="mod">
          <ac:chgData name="Tejada, Carmen" userId="4e46fa0d-51a0-4b7a-a6a6-e5b06c9f6d76" providerId="ADAL" clId="{0973AC2B-7113-47FA-8755-F7B35E778DA0}" dt="2023-02-16T10:50:09.521" v="3885" actId="1076"/>
          <ac:spMkLst>
            <pc:docMk/>
            <pc:sldMk cId="1880501675" sldId="2147468935"/>
            <ac:spMk id="7" creationId="{76B8F7DE-F1D7-41CC-BF8B-D864E864F79B}"/>
          </ac:spMkLst>
        </pc:spChg>
        <pc:spChg chg="mod">
          <ac:chgData name="Tejada, Carmen" userId="4e46fa0d-51a0-4b7a-a6a6-e5b06c9f6d76" providerId="ADAL" clId="{0973AC2B-7113-47FA-8755-F7B35E778DA0}" dt="2023-02-16T10:50:31.556" v="3892" actId="1037"/>
          <ac:spMkLst>
            <pc:docMk/>
            <pc:sldMk cId="1880501675" sldId="2147468935"/>
            <ac:spMk id="8" creationId="{5E85A16A-5152-4E40-ACBD-1503C66ABBA3}"/>
          </ac:spMkLst>
        </pc:spChg>
        <pc:spChg chg="mod">
          <ac:chgData name="Tejada, Carmen" userId="4e46fa0d-51a0-4b7a-a6a6-e5b06c9f6d76" providerId="ADAL" clId="{0973AC2B-7113-47FA-8755-F7B35E778DA0}" dt="2023-02-16T10:50:12.517" v="3886" actId="1076"/>
          <ac:spMkLst>
            <pc:docMk/>
            <pc:sldMk cId="1880501675" sldId="2147468935"/>
            <ac:spMk id="9" creationId="{A3F404C5-CFC5-4CF1-AC5D-35C36688FACD}"/>
          </ac:spMkLst>
        </pc:spChg>
        <pc:graphicFrameChg chg="mod">
          <ac:chgData name="Tejada, Carmen" userId="4e46fa0d-51a0-4b7a-a6a6-e5b06c9f6d76" providerId="ADAL" clId="{0973AC2B-7113-47FA-8755-F7B35E778DA0}" dt="2023-02-16T10:52:41.310" v="3910" actId="207"/>
          <ac:graphicFrameMkLst>
            <pc:docMk/>
            <pc:sldMk cId="1880501675" sldId="2147468935"/>
            <ac:graphicFrameMk id="4" creationId="{15294AF4-2409-4632-96E9-072780C0CBBC}"/>
          </ac:graphicFrameMkLst>
        </pc:graphicFrameChg>
      </pc:sldChg>
      <pc:sldChg chg="addSp delSp modSp mod">
        <pc:chgData name="Tejada, Carmen" userId="4e46fa0d-51a0-4b7a-a6a6-e5b06c9f6d76" providerId="ADAL" clId="{0973AC2B-7113-47FA-8755-F7B35E778DA0}" dt="2023-02-16T11:20:06.002" v="4228" actId="20577"/>
        <pc:sldMkLst>
          <pc:docMk/>
          <pc:sldMk cId="3567439726" sldId="2147468936"/>
        </pc:sldMkLst>
        <pc:spChg chg="add mod">
          <ac:chgData name="Tejada, Carmen" userId="4e46fa0d-51a0-4b7a-a6a6-e5b06c9f6d76" providerId="ADAL" clId="{0973AC2B-7113-47FA-8755-F7B35E778DA0}" dt="2023-02-16T11:14:14.344" v="4116"/>
          <ac:spMkLst>
            <pc:docMk/>
            <pc:sldMk cId="3567439726" sldId="2147468936"/>
            <ac:spMk id="29" creationId="{6F408EEC-7B91-4BF1-906D-4A68C6D776AD}"/>
          </ac:spMkLst>
        </pc:spChg>
        <pc:spChg chg="add mod">
          <ac:chgData name="Tejada, Carmen" userId="4e46fa0d-51a0-4b7a-a6a6-e5b06c9f6d76" providerId="ADAL" clId="{0973AC2B-7113-47FA-8755-F7B35E778DA0}" dt="2023-02-16T11:14:14.344" v="4116"/>
          <ac:spMkLst>
            <pc:docMk/>
            <pc:sldMk cId="3567439726" sldId="2147468936"/>
            <ac:spMk id="30" creationId="{64F25416-61A1-417C-BD75-E58EFB24ECC0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45" creationId="{27861933-079E-425A-8B89-66ADD8829AD1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46" creationId="{FDE33737-6985-49E3-8388-A080A6E5109C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49" creationId="{D7D8D04D-95ED-4DF6-896B-2030E9CFE589}"/>
          </ac:spMkLst>
        </pc:spChg>
        <pc:spChg chg="mod">
          <ac:chgData name="Tejada, Carmen" userId="4e46fa0d-51a0-4b7a-a6a6-e5b06c9f6d76" providerId="ADAL" clId="{0973AC2B-7113-47FA-8755-F7B35E778DA0}" dt="2023-02-16T11:19:31.073" v="4209" actId="207"/>
          <ac:spMkLst>
            <pc:docMk/>
            <pc:sldMk cId="3567439726" sldId="2147468936"/>
            <ac:spMk id="50" creationId="{C9B30B91-9996-4372-A40D-6F0BB7AD08DF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51" creationId="{EFAE106F-FD1A-42D2-9F3D-0DD24C93A879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53" creationId="{3C9E37FF-81DA-464D-8072-B906527D3C7E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54" creationId="{667A0CC2-54D3-4893-8E17-03A1186C0F0D}"/>
          </ac:spMkLst>
        </pc:spChg>
        <pc:spChg chg="mod">
          <ac:chgData name="Tejada, Carmen" userId="4e46fa0d-51a0-4b7a-a6a6-e5b06c9f6d76" providerId="ADAL" clId="{0973AC2B-7113-47FA-8755-F7B35E778DA0}" dt="2023-02-16T11:19:34.819" v="4212" actId="207"/>
          <ac:spMkLst>
            <pc:docMk/>
            <pc:sldMk cId="3567439726" sldId="2147468936"/>
            <ac:spMk id="55" creationId="{BC02130B-CBEF-413A-9101-104E76F7D9AF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60" creationId="{720E8BAA-920C-4B2B-BACD-FA4C80A39E47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61" creationId="{0F92E6D9-531F-4BC4-8BFC-9F5926A4C225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62" creationId="{6AC197DE-C0A0-4181-8A9F-6DFEFF0F19B9}"/>
          </ac:spMkLst>
        </pc:spChg>
        <pc:spChg chg="mod">
          <ac:chgData name="Tejada, Carmen" userId="4e46fa0d-51a0-4b7a-a6a6-e5b06c9f6d76" providerId="ADAL" clId="{0973AC2B-7113-47FA-8755-F7B35E778DA0}" dt="2023-02-16T11:19:52.099" v="4215" actId="207"/>
          <ac:spMkLst>
            <pc:docMk/>
            <pc:sldMk cId="3567439726" sldId="2147468936"/>
            <ac:spMk id="64" creationId="{E3EAC619-FF84-43CB-9E31-2D92FE427FD8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70" creationId="{AA31CAEA-32E5-46CB-90F0-C5EE3359F590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71" creationId="{DF533B2E-9FBE-47B9-8A03-74570D167EE2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76" creationId="{B099D403-E64F-4877-BC5B-94C03E74EAE0}"/>
          </ac:spMkLst>
        </pc:spChg>
        <pc:spChg chg="mod">
          <ac:chgData name="Tejada, Carmen" userId="4e46fa0d-51a0-4b7a-a6a6-e5b06c9f6d76" providerId="ADAL" clId="{0973AC2B-7113-47FA-8755-F7B35E778DA0}" dt="2023-02-16T11:20:06.002" v="4228" actId="20577"/>
          <ac:spMkLst>
            <pc:docMk/>
            <pc:sldMk cId="3567439726" sldId="2147468936"/>
            <ac:spMk id="77" creationId="{9575554E-384D-4491-969B-550FD87BF228}"/>
          </ac:spMkLst>
        </pc:spChg>
        <pc:spChg chg="mod">
          <ac:chgData name="Tejada, Carmen" userId="4e46fa0d-51a0-4b7a-a6a6-e5b06c9f6d76" providerId="ADAL" clId="{0973AC2B-7113-47FA-8755-F7B35E778DA0}" dt="2023-02-16T11:14:24.258" v="4125" actId="1035"/>
          <ac:spMkLst>
            <pc:docMk/>
            <pc:sldMk cId="3567439726" sldId="2147468936"/>
            <ac:spMk id="79" creationId="{CA922524-6C5E-4356-8280-244FED61E5C3}"/>
          </ac:spMkLst>
        </pc:spChg>
        <pc:spChg chg="del">
          <ac:chgData name="Tejada, Carmen" userId="4e46fa0d-51a0-4b7a-a6a6-e5b06c9f6d76" providerId="ADAL" clId="{0973AC2B-7113-47FA-8755-F7B35E778DA0}" dt="2023-02-16T11:14:12.959" v="4115" actId="478"/>
          <ac:spMkLst>
            <pc:docMk/>
            <pc:sldMk cId="3567439726" sldId="2147468936"/>
            <ac:spMk id="86" creationId="{654847C7-6569-41C0-B82F-BE4C6DEB1C34}"/>
          </ac:spMkLst>
        </pc:spChg>
        <pc:spChg chg="del">
          <ac:chgData name="Tejada, Carmen" userId="4e46fa0d-51a0-4b7a-a6a6-e5b06c9f6d76" providerId="ADAL" clId="{0973AC2B-7113-47FA-8755-F7B35E778DA0}" dt="2023-02-16T11:14:12.959" v="4115" actId="478"/>
          <ac:spMkLst>
            <pc:docMk/>
            <pc:sldMk cId="3567439726" sldId="2147468936"/>
            <ac:spMk id="87" creationId="{151FCDB8-6EA9-41E4-BC08-0EDE145C69A4}"/>
          </ac:spMkLst>
        </pc:spChg>
        <pc:spChg chg="del">
          <ac:chgData name="Tejada, Carmen" userId="4e46fa0d-51a0-4b7a-a6a6-e5b06c9f6d76" providerId="ADAL" clId="{0973AC2B-7113-47FA-8755-F7B35E778DA0}" dt="2023-02-16T11:14:12.959" v="4115" actId="478"/>
          <ac:spMkLst>
            <pc:docMk/>
            <pc:sldMk cId="3567439726" sldId="2147468936"/>
            <ac:spMk id="88" creationId="{F9A53178-2569-4307-B92E-A016298C9D4E}"/>
          </ac:spMkLst>
        </pc:spChg>
        <pc:picChg chg="add mod">
          <ac:chgData name="Tejada, Carmen" userId="4e46fa0d-51a0-4b7a-a6a6-e5b06c9f6d76" providerId="ADAL" clId="{0973AC2B-7113-47FA-8755-F7B35E778DA0}" dt="2023-02-16T11:14:14.344" v="4116"/>
          <ac:picMkLst>
            <pc:docMk/>
            <pc:sldMk cId="3567439726" sldId="2147468936"/>
            <ac:picMk id="31" creationId="{35D07BBF-FF65-47ED-8A02-C3D5CF25792E}"/>
          </ac:picMkLst>
        </pc:picChg>
        <pc:picChg chg="add mod">
          <ac:chgData name="Tejada, Carmen" userId="4e46fa0d-51a0-4b7a-a6a6-e5b06c9f6d76" providerId="ADAL" clId="{0973AC2B-7113-47FA-8755-F7B35E778DA0}" dt="2023-02-16T11:17:54.672" v="4177" actId="1076"/>
          <ac:picMkLst>
            <pc:docMk/>
            <pc:sldMk cId="3567439726" sldId="2147468936"/>
            <ac:picMk id="32" creationId="{F8097992-5C0B-447E-BF9F-03EE52099BB1}"/>
          </ac:picMkLst>
        </pc:picChg>
        <pc:picChg chg="add mod">
          <ac:chgData name="Tejada, Carmen" userId="4e46fa0d-51a0-4b7a-a6a6-e5b06c9f6d76" providerId="ADAL" clId="{0973AC2B-7113-47FA-8755-F7B35E778DA0}" dt="2023-02-16T11:18:12.712" v="4186" actId="1076"/>
          <ac:picMkLst>
            <pc:docMk/>
            <pc:sldMk cId="3567439726" sldId="2147468936"/>
            <ac:picMk id="33" creationId="{08B6108F-546B-4A13-ABE8-861E113A98D0}"/>
          </ac:picMkLst>
        </pc:picChg>
        <pc:picChg chg="add mod">
          <ac:chgData name="Tejada, Carmen" userId="4e46fa0d-51a0-4b7a-a6a6-e5b06c9f6d76" providerId="ADAL" clId="{0973AC2B-7113-47FA-8755-F7B35E778DA0}" dt="2023-02-16T11:18:33.064" v="4195" actId="1076"/>
          <ac:picMkLst>
            <pc:docMk/>
            <pc:sldMk cId="3567439726" sldId="2147468936"/>
            <ac:picMk id="34" creationId="{6497896D-8853-4476-A542-89ACA4ADFF09}"/>
          </ac:picMkLst>
        </pc:picChg>
        <pc:picChg chg="add mod">
          <ac:chgData name="Tejada, Carmen" userId="4e46fa0d-51a0-4b7a-a6a6-e5b06c9f6d76" providerId="ADAL" clId="{0973AC2B-7113-47FA-8755-F7B35E778DA0}" dt="2023-02-16T11:18:53.293" v="4205" actId="1076"/>
          <ac:picMkLst>
            <pc:docMk/>
            <pc:sldMk cId="3567439726" sldId="2147468936"/>
            <ac:picMk id="35" creationId="{2F031F74-6A56-4A26-B25A-16909BB94F58}"/>
          </ac:picMkLst>
        </pc:picChg>
        <pc:picChg chg="del">
          <ac:chgData name="Tejada, Carmen" userId="4e46fa0d-51a0-4b7a-a6a6-e5b06c9f6d76" providerId="ADAL" clId="{0973AC2B-7113-47FA-8755-F7B35E778DA0}" dt="2023-02-16T11:14:12.959" v="4115" actId="478"/>
          <ac:picMkLst>
            <pc:docMk/>
            <pc:sldMk cId="3567439726" sldId="2147468936"/>
            <ac:picMk id="48" creationId="{9526BC44-E2B3-4B0D-9801-8C3A7685B593}"/>
          </ac:picMkLst>
        </pc:picChg>
        <pc:picChg chg="del mod">
          <ac:chgData name="Tejada, Carmen" userId="4e46fa0d-51a0-4b7a-a6a6-e5b06c9f6d76" providerId="ADAL" clId="{0973AC2B-7113-47FA-8755-F7B35E778DA0}" dt="2023-02-16T11:17:29.294" v="4167" actId="478"/>
          <ac:picMkLst>
            <pc:docMk/>
            <pc:sldMk cId="3567439726" sldId="2147468936"/>
            <ac:picMk id="80" creationId="{A9537B0D-ECFD-422E-9EE2-0BE69B136A03}"/>
          </ac:picMkLst>
        </pc:picChg>
        <pc:picChg chg="del mod">
          <ac:chgData name="Tejada, Carmen" userId="4e46fa0d-51a0-4b7a-a6a6-e5b06c9f6d76" providerId="ADAL" clId="{0973AC2B-7113-47FA-8755-F7B35E778DA0}" dt="2023-02-16T11:17:55.888" v="4178" actId="478"/>
          <ac:picMkLst>
            <pc:docMk/>
            <pc:sldMk cId="3567439726" sldId="2147468936"/>
            <ac:picMk id="82" creationId="{A42FD555-EAB8-4338-A391-BF830588CECA}"/>
          </ac:picMkLst>
        </pc:picChg>
        <pc:picChg chg="del mod">
          <ac:chgData name="Tejada, Carmen" userId="4e46fa0d-51a0-4b7a-a6a6-e5b06c9f6d76" providerId="ADAL" clId="{0973AC2B-7113-47FA-8755-F7B35E778DA0}" dt="2023-02-16T11:18:14.092" v="4187" actId="478"/>
          <ac:picMkLst>
            <pc:docMk/>
            <pc:sldMk cId="3567439726" sldId="2147468936"/>
            <ac:picMk id="83" creationId="{B842CD5A-3522-418B-BA09-E7F46BE6A0CA}"/>
          </ac:picMkLst>
        </pc:picChg>
        <pc:picChg chg="del mod">
          <ac:chgData name="Tejada, Carmen" userId="4e46fa0d-51a0-4b7a-a6a6-e5b06c9f6d76" providerId="ADAL" clId="{0973AC2B-7113-47FA-8755-F7B35E778DA0}" dt="2023-02-16T11:18:34.667" v="4196" actId="478"/>
          <ac:picMkLst>
            <pc:docMk/>
            <pc:sldMk cId="3567439726" sldId="2147468936"/>
            <ac:picMk id="85" creationId="{BBDDC7C1-AA2A-437F-9E02-872FFD725F58}"/>
          </ac:picMkLst>
        </pc:picChg>
      </pc:sldChg>
      <pc:sldChg chg="addSp delSp modSp del mod">
        <pc:chgData name="Tejada, Carmen" userId="4e46fa0d-51a0-4b7a-a6a6-e5b06c9f6d76" providerId="ADAL" clId="{0973AC2B-7113-47FA-8755-F7B35E778DA0}" dt="2023-02-16T10:35:55.157" v="3562" actId="47"/>
        <pc:sldMkLst>
          <pc:docMk/>
          <pc:sldMk cId="533112466" sldId="2147470265"/>
        </pc:sldMkLst>
        <pc:spChg chg="del">
          <ac:chgData name="Tejada, Carmen" userId="4e46fa0d-51a0-4b7a-a6a6-e5b06c9f6d76" providerId="ADAL" clId="{0973AC2B-7113-47FA-8755-F7B35E778DA0}" dt="2023-02-16T10:27:28.149" v="3160" actId="478"/>
          <ac:spMkLst>
            <pc:docMk/>
            <pc:sldMk cId="533112466" sldId="2147470265"/>
            <ac:spMk id="4" creationId="{2649D6BD-604C-4F7D-9E86-E08A9B4DA94D}"/>
          </ac:spMkLst>
        </pc:spChg>
        <pc:spChg chg="del">
          <ac:chgData name="Tejada, Carmen" userId="4e46fa0d-51a0-4b7a-a6a6-e5b06c9f6d76" providerId="ADAL" clId="{0973AC2B-7113-47FA-8755-F7B35E778DA0}" dt="2023-02-16T10:27:52.945" v="3196" actId="478"/>
          <ac:spMkLst>
            <pc:docMk/>
            <pc:sldMk cId="533112466" sldId="2147470265"/>
            <ac:spMk id="14" creationId="{F9824757-ACC3-4663-AFA0-1CF593315736}"/>
          </ac:spMkLst>
        </pc:spChg>
        <pc:spChg chg="del">
          <ac:chgData name="Tejada, Carmen" userId="4e46fa0d-51a0-4b7a-a6a6-e5b06c9f6d76" providerId="ADAL" clId="{0973AC2B-7113-47FA-8755-F7B35E778DA0}" dt="2023-02-16T10:27:54.803" v="3197" actId="478"/>
          <ac:spMkLst>
            <pc:docMk/>
            <pc:sldMk cId="533112466" sldId="2147470265"/>
            <ac:spMk id="15" creationId="{046D7B8D-1152-4119-89F3-1FE8B11D718E}"/>
          </ac:spMkLst>
        </pc:spChg>
        <pc:spChg chg="del">
          <ac:chgData name="Tejada, Carmen" userId="4e46fa0d-51a0-4b7a-a6a6-e5b06c9f6d76" providerId="ADAL" clId="{0973AC2B-7113-47FA-8755-F7B35E778DA0}" dt="2023-02-16T10:27:56.491" v="3198" actId="478"/>
          <ac:spMkLst>
            <pc:docMk/>
            <pc:sldMk cId="533112466" sldId="2147470265"/>
            <ac:spMk id="16" creationId="{3A3460F6-5E3D-4E4C-8D30-4111C84FF52E}"/>
          </ac:spMkLst>
        </pc:spChg>
        <pc:spChg chg="del">
          <ac:chgData name="Tejada, Carmen" userId="4e46fa0d-51a0-4b7a-a6a6-e5b06c9f6d76" providerId="ADAL" clId="{0973AC2B-7113-47FA-8755-F7B35E778DA0}" dt="2023-02-16T10:27:57.810" v="3199" actId="478"/>
          <ac:spMkLst>
            <pc:docMk/>
            <pc:sldMk cId="533112466" sldId="2147470265"/>
            <ac:spMk id="17" creationId="{5BC30CE0-D633-4848-9127-DD1AF0804B8D}"/>
          </ac:spMkLst>
        </pc:spChg>
        <pc:spChg chg="mod">
          <ac:chgData name="Tejada, Carmen" userId="4e46fa0d-51a0-4b7a-a6a6-e5b06c9f6d76" providerId="ADAL" clId="{0973AC2B-7113-47FA-8755-F7B35E778DA0}" dt="2023-02-16T10:28:14.049" v="3202" actId="14100"/>
          <ac:spMkLst>
            <pc:docMk/>
            <pc:sldMk cId="533112466" sldId="2147470265"/>
            <ac:spMk id="18" creationId="{2EFCBE25-83AA-4B8A-BE58-5FEA0271333D}"/>
          </ac:spMkLst>
        </pc:spChg>
        <pc:spChg chg="add del mod">
          <ac:chgData name="Tejada, Carmen" userId="4e46fa0d-51a0-4b7a-a6a6-e5b06c9f6d76" providerId="ADAL" clId="{0973AC2B-7113-47FA-8755-F7B35E778DA0}" dt="2023-02-16T10:27:30.278" v="3164" actId="478"/>
          <ac:spMkLst>
            <pc:docMk/>
            <pc:sldMk cId="533112466" sldId="2147470265"/>
            <ac:spMk id="19" creationId="{E4CE6528-9D6A-40BA-B0CD-8968C016B9CE}"/>
          </ac:spMkLst>
        </pc:spChg>
        <pc:spChg chg="mod">
          <ac:chgData name="Tejada, Carmen" userId="4e46fa0d-51a0-4b7a-a6a6-e5b06c9f6d76" providerId="ADAL" clId="{0973AC2B-7113-47FA-8755-F7B35E778DA0}" dt="2023-02-16T10:28:47.439" v="3206" actId="1076"/>
          <ac:spMkLst>
            <pc:docMk/>
            <pc:sldMk cId="533112466" sldId="2147470265"/>
            <ac:spMk id="23" creationId="{F2E40CD1-16F7-4218-8EAF-011600A0B277}"/>
          </ac:spMkLst>
        </pc:spChg>
        <pc:spChg chg="del">
          <ac:chgData name="Tejada, Carmen" userId="4e46fa0d-51a0-4b7a-a6a6-e5b06c9f6d76" providerId="ADAL" clId="{0973AC2B-7113-47FA-8755-F7B35E778DA0}" dt="2023-02-16T10:27:49.427" v="3194" actId="478"/>
          <ac:spMkLst>
            <pc:docMk/>
            <pc:sldMk cId="533112466" sldId="2147470265"/>
            <ac:spMk id="24" creationId="{08689CC9-BF91-462B-B24B-3C198BB0A642}"/>
          </ac:spMkLst>
        </pc:spChg>
        <pc:spChg chg="del">
          <ac:chgData name="Tejada, Carmen" userId="4e46fa0d-51a0-4b7a-a6a6-e5b06c9f6d76" providerId="ADAL" clId="{0973AC2B-7113-47FA-8755-F7B35E778DA0}" dt="2023-02-16T10:27:50.978" v="3195" actId="478"/>
          <ac:spMkLst>
            <pc:docMk/>
            <pc:sldMk cId="533112466" sldId="2147470265"/>
            <ac:spMk id="25" creationId="{4152D843-DA10-4DED-8780-9E22A9D719EE}"/>
          </ac:spMkLst>
        </pc:spChg>
        <pc:spChg chg="mod">
          <ac:chgData name="Tejada, Carmen" userId="4e46fa0d-51a0-4b7a-a6a6-e5b06c9f6d76" providerId="ADAL" clId="{0973AC2B-7113-47FA-8755-F7B35E778DA0}" dt="2023-02-14T10:32:40.899" v="45" actId="1076"/>
          <ac:spMkLst>
            <pc:docMk/>
            <pc:sldMk cId="533112466" sldId="2147470265"/>
            <ac:spMk id="41" creationId="{5D46BD6C-96C0-4F2D-AE10-AD5865B871E0}"/>
          </ac:spMkLst>
        </pc:spChg>
        <pc:spChg chg="mod">
          <ac:chgData name="Tejada, Carmen" userId="4e46fa0d-51a0-4b7a-a6a6-e5b06c9f6d76" providerId="ADAL" clId="{0973AC2B-7113-47FA-8755-F7B35E778DA0}" dt="2023-02-14T10:32:44.956" v="46" actId="1076"/>
          <ac:spMkLst>
            <pc:docMk/>
            <pc:sldMk cId="533112466" sldId="2147470265"/>
            <ac:spMk id="47" creationId="{1F11478E-48F7-4A79-96D0-CB5466D90AFA}"/>
          </ac:spMkLst>
        </pc:spChg>
        <pc:spChg chg="mod">
          <ac:chgData name="Tejada, Carmen" userId="4e46fa0d-51a0-4b7a-a6a6-e5b06c9f6d76" providerId="ADAL" clId="{0973AC2B-7113-47FA-8755-F7B35E778DA0}" dt="2023-02-16T10:28:38.030" v="3204" actId="1076"/>
          <ac:spMkLst>
            <pc:docMk/>
            <pc:sldMk cId="533112466" sldId="2147470265"/>
            <ac:spMk id="49" creationId="{024089FD-AC3B-49A2-B982-81F1FBD9A5B7}"/>
          </ac:spMkLst>
        </pc:spChg>
        <pc:spChg chg="mod">
          <ac:chgData name="Tejada, Carmen" userId="4e46fa0d-51a0-4b7a-a6a6-e5b06c9f6d76" providerId="ADAL" clId="{0973AC2B-7113-47FA-8755-F7B35E778DA0}" dt="2023-02-16T10:28:38.030" v="3204" actId="1076"/>
          <ac:spMkLst>
            <pc:docMk/>
            <pc:sldMk cId="533112466" sldId="2147470265"/>
            <ac:spMk id="50" creationId="{7A2158D1-0904-4EF2-8B22-E07ECDA182B0}"/>
          </ac:spMkLst>
        </pc:spChg>
        <pc:spChg chg="add mod">
          <ac:chgData name="Tejada, Carmen" userId="4e46fa0d-51a0-4b7a-a6a6-e5b06c9f6d76" providerId="ADAL" clId="{0973AC2B-7113-47FA-8755-F7B35E778DA0}" dt="2023-02-16T10:27:38.483" v="3192" actId="20577"/>
          <ac:spMkLst>
            <pc:docMk/>
            <pc:sldMk cId="533112466" sldId="2147470265"/>
            <ac:spMk id="67" creationId="{DAAFAD23-0762-4EA1-ACBB-71AD09EE87BD}"/>
          </ac:spMkLst>
        </pc:spChg>
        <pc:spChg chg="add mod">
          <ac:chgData name="Tejada, Carmen" userId="4e46fa0d-51a0-4b7a-a6a6-e5b06c9f6d76" providerId="ADAL" clId="{0973AC2B-7113-47FA-8755-F7B35E778DA0}" dt="2023-02-16T10:27:25.291" v="3159"/>
          <ac:spMkLst>
            <pc:docMk/>
            <pc:sldMk cId="533112466" sldId="2147470265"/>
            <ac:spMk id="70" creationId="{0E77A0E7-FB8C-4529-B10F-E8F1CA428D80}"/>
          </ac:spMkLst>
        </pc:spChg>
        <pc:grpChg chg="mod">
          <ac:chgData name="Tejada, Carmen" userId="4e46fa0d-51a0-4b7a-a6a6-e5b06c9f6d76" providerId="ADAL" clId="{0973AC2B-7113-47FA-8755-F7B35E778DA0}" dt="2023-02-16T10:28:38.030" v="3204" actId="1076"/>
          <ac:grpSpMkLst>
            <pc:docMk/>
            <pc:sldMk cId="533112466" sldId="2147470265"/>
            <ac:grpSpMk id="9" creationId="{98641B23-409C-41BB-AB2E-39E5D9E862B0}"/>
          </ac:grpSpMkLst>
        </pc:grpChg>
        <pc:graphicFrameChg chg="mod">
          <ac:chgData name="Tejada, Carmen" userId="4e46fa0d-51a0-4b7a-a6a6-e5b06c9f6d76" providerId="ADAL" clId="{0973AC2B-7113-47FA-8755-F7B35E778DA0}" dt="2023-02-16T10:27:30.842" v="3167"/>
          <ac:graphicFrameMkLst>
            <pc:docMk/>
            <pc:sldMk cId="533112466" sldId="2147470265"/>
            <ac:graphicFrameMk id="6" creationId="{45B249BA-954E-43DA-94E9-E6B2DCB3EB76}"/>
          </ac:graphicFrameMkLst>
        </pc:graphicFrameChg>
      </pc:sldChg>
      <pc:sldChg chg="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2134811329" sldId="2147470266"/>
        </pc:sldMkLst>
      </pc:sldChg>
      <pc:sldChg chg="addSp delSp modSp mod">
        <pc:chgData name="Tejada, Carmen" userId="4e46fa0d-51a0-4b7a-a6a6-e5b06c9f6d76" providerId="ADAL" clId="{0973AC2B-7113-47FA-8755-F7B35E778DA0}" dt="2023-02-16T15:43:33.916" v="4968" actId="20577"/>
        <pc:sldMkLst>
          <pc:docMk/>
          <pc:sldMk cId="340147455" sldId="2147470268"/>
        </pc:sldMkLst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2" creationId="{0BAB47CA-6502-4141-9EF9-81C9261C39EF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8" creationId="{FCB7AB1A-0689-4793-8B55-8CCECE2348F9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10" creationId="{23BE239B-9EFA-4EF6-AAD8-D8341D9C4267}"/>
          </ac:spMkLst>
        </pc:spChg>
        <pc:spChg chg="mod">
          <ac:chgData name="Tejada, Carmen" userId="4e46fa0d-51a0-4b7a-a6a6-e5b06c9f6d76" providerId="ADAL" clId="{0973AC2B-7113-47FA-8755-F7B35E778DA0}" dt="2023-02-16T10:39:12.675" v="3627" actId="1036"/>
          <ac:spMkLst>
            <pc:docMk/>
            <pc:sldMk cId="340147455" sldId="2147470268"/>
            <ac:spMk id="14" creationId="{47F2A5D4-0B7C-4B84-9FD0-2BB5CF482F31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1" creationId="{9957B1FD-542E-4953-BBB9-29CB3BDA1E05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2" creationId="{EDE66097-5F7C-4D6C-9EAE-89D148EB64BE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3" creationId="{EE2F8C84-CD6E-4090-ACAC-F05983E2FF67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5" creationId="{1346CC4B-EFB0-4114-8A18-C52172620088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6" creationId="{502DFB2B-4115-41CA-A31C-F1ED3A0648D9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37" creationId="{F9F3DB05-D207-46BB-972B-420BC6E0C9FF}"/>
          </ac:spMkLst>
        </pc:spChg>
        <pc:spChg chg="mod">
          <ac:chgData name="Tejada, Carmen" userId="4e46fa0d-51a0-4b7a-a6a6-e5b06c9f6d76" providerId="ADAL" clId="{0973AC2B-7113-47FA-8755-F7B35E778DA0}" dt="2023-02-16T15:43:33.916" v="4968" actId="20577"/>
          <ac:spMkLst>
            <pc:docMk/>
            <pc:sldMk cId="340147455" sldId="2147470268"/>
            <ac:spMk id="41" creationId="{EBE82867-6B13-4C8E-8EA7-0268B59B58B8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44" creationId="{7EEB1677-B37B-4753-9D15-28588C6923E5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45" creationId="{5C9B9164-A9E4-45E2-8BD8-2313B468A063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46" creationId="{E690606D-4ECD-4115-88DD-14D4635F22E9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47" creationId="{6E1C4236-5034-4FFE-98E7-A7B8EC9DEAC7}"/>
          </ac:spMkLst>
        </pc:spChg>
        <pc:spChg chg="del mod">
          <ac:chgData name="Tejada, Carmen" userId="4e46fa0d-51a0-4b7a-a6a6-e5b06c9f6d76" providerId="ADAL" clId="{0973AC2B-7113-47FA-8755-F7B35E778DA0}" dt="2023-02-16T11:26:56.833" v="4426" actId="478"/>
          <ac:spMkLst>
            <pc:docMk/>
            <pc:sldMk cId="340147455" sldId="2147470268"/>
            <ac:spMk id="48" creationId="{13449DCF-5DD9-435F-9156-94B3AA3FA7FF}"/>
          </ac:spMkLst>
        </pc:spChg>
        <pc:spChg chg="add mod">
          <ac:chgData name="Tejada, Carmen" userId="4e46fa0d-51a0-4b7a-a6a6-e5b06c9f6d76" providerId="ADAL" clId="{0973AC2B-7113-47FA-8755-F7B35E778DA0}" dt="2023-02-16T10:37:22.003" v="3577" actId="2711"/>
          <ac:spMkLst>
            <pc:docMk/>
            <pc:sldMk cId="340147455" sldId="2147470268"/>
            <ac:spMk id="50" creationId="{09216FA4-EF9E-4616-97E5-AEA066CFC26F}"/>
          </ac:spMkLst>
        </pc:spChg>
        <pc:spChg chg="add mod">
          <ac:chgData name="Tejada, Carmen" userId="4e46fa0d-51a0-4b7a-a6a6-e5b06c9f6d76" providerId="ADAL" clId="{0973AC2B-7113-47FA-8755-F7B35E778DA0}" dt="2023-02-16T11:27:31.614" v="4472" actId="20577"/>
          <ac:spMkLst>
            <pc:docMk/>
            <pc:sldMk cId="340147455" sldId="2147470268"/>
            <ac:spMk id="51" creationId="{E0074F4D-B18D-4853-BE74-2B9385B5DF68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52" creationId="{D46CF565-7B62-4075-B568-3F402943E076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54" creationId="{DBE4E9F7-16FC-4882-A435-EF64BBEC7884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55" creationId="{8CB99C33-F120-42F0-8547-B3C66ECFEC77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59" creationId="{462F2EA4-756C-4B8C-9F5C-ACDA8BBAF04B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0" creationId="{A4CE4A65-599C-404B-A76F-808C7E09D75D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2" creationId="{3D755988-E942-4C7C-B876-A3AD67E105EF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3" creationId="{E1CDF162-81BF-4819-B3AF-193C81C451B9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4" creationId="{5A0CAF75-CA30-40DB-8585-0C62F59864F1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5" creationId="{ECEC114D-E191-4446-A6C7-60F90C3A6E46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6" creationId="{A5F2044D-1B47-4153-A980-0AE09BCFC19C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67" creationId="{6B338AE8-A845-4244-A5F0-E7202690CA67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70" creationId="{B24752AE-C80A-47FB-B83E-78DB4B50D7E0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72" creationId="{26F0F6FC-2F8E-4568-9912-2F28173F0437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79" creationId="{5C86BDE6-C3DB-4C03-A036-C590FE2DA819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80" creationId="{A0E1B4AC-AE4B-45DE-86AF-2B14A54DA787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81" creationId="{B247000C-BD39-482C-9931-A3C8F50F570F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82" creationId="{84C3EA30-B5EB-409F-8993-C26A5D69F8EC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83" creationId="{99EAD2C6-81BD-4BAB-B8DE-B6F1E1D8655C}"/>
          </ac:spMkLst>
        </pc:spChg>
        <pc:spChg chg="mod">
          <ac:chgData name="Tejada, Carmen" userId="4e46fa0d-51a0-4b7a-a6a6-e5b06c9f6d76" providerId="ADAL" clId="{0973AC2B-7113-47FA-8755-F7B35E778DA0}" dt="2023-02-16T10:37:07.620" v="3573" actId="1036"/>
          <ac:spMkLst>
            <pc:docMk/>
            <pc:sldMk cId="340147455" sldId="2147470268"/>
            <ac:spMk id="112" creationId="{96EBF07F-42E2-4742-A17D-CE550EAF83BB}"/>
          </ac:spMkLst>
        </pc:spChg>
        <pc:grpChg chg="mod">
          <ac:chgData name="Tejada, Carmen" userId="4e46fa0d-51a0-4b7a-a6a6-e5b06c9f6d76" providerId="ADAL" clId="{0973AC2B-7113-47FA-8755-F7B35E778DA0}" dt="2023-02-16T10:37:07.620" v="3573" actId="1036"/>
          <ac:grpSpMkLst>
            <pc:docMk/>
            <pc:sldMk cId="340147455" sldId="2147470268"/>
            <ac:grpSpMk id="105" creationId="{9E991AB8-3E84-443B-BD44-7978A2048F04}"/>
          </ac:grpSpMkLst>
        </pc:grpChg>
        <pc:picChg chg="mod">
          <ac:chgData name="Tejada, Carmen" userId="4e46fa0d-51a0-4b7a-a6a6-e5b06c9f6d76" providerId="ADAL" clId="{0973AC2B-7113-47FA-8755-F7B35E778DA0}" dt="2023-02-16T10:37:07.620" v="3573" actId="1036"/>
          <ac:picMkLst>
            <pc:docMk/>
            <pc:sldMk cId="340147455" sldId="2147470268"/>
            <ac:picMk id="49" creationId="{96C17F74-9531-48DD-8C76-64D3297BDC94}"/>
          </ac:picMkLst>
        </pc:picChg>
      </pc:sldChg>
      <pc:sldChg chg="addSp delSp modSp mod">
        <pc:chgData name="Tejada, Carmen" userId="4e46fa0d-51a0-4b7a-a6a6-e5b06c9f6d76" providerId="ADAL" clId="{0973AC2B-7113-47FA-8755-F7B35E778DA0}" dt="2023-02-16T10:39:05.078" v="3626" actId="1036"/>
        <pc:sldMkLst>
          <pc:docMk/>
          <pc:sldMk cId="37465176" sldId="2147470269"/>
        </pc:sldMkLst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25" creationId="{254F0174-A3F4-4065-A447-FB6D73DA1DFF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28" creationId="{09E4417A-86B4-4670-B3CF-B793A3AA963C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29" creationId="{A07071F2-107E-41ED-B77D-BECDF5B86781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1" creationId="{3ABCFA2B-4310-449D-BCBE-B5226E0E4121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2" creationId="{00BB787F-339C-4147-A57F-B3C41E3E785A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3" creationId="{95D91D59-1C7A-4223-8665-1F4AD422E8D0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4" creationId="{987937CF-4D22-42C3-AD64-CFF29235A339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5" creationId="{024EFE99-0051-489E-944E-7F35ED2D9976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6" creationId="{50771D77-3370-46E7-8EBA-4ED334B74F7C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7" creationId="{BE8E9C20-2417-473E-ABDA-B878B787FA43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8" creationId="{8D232F44-4285-4BC3-B233-36045106F457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39" creationId="{CC105EB9-D593-46BA-84EB-10156442E467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40" creationId="{53767902-A86C-4B7C-9F25-5437D37B243D}"/>
          </ac:spMkLst>
        </pc:spChg>
        <pc:spChg chg="add del mod">
          <ac:chgData name="Tejada, Carmen" userId="4e46fa0d-51a0-4b7a-a6a6-e5b06c9f6d76" providerId="ADAL" clId="{0973AC2B-7113-47FA-8755-F7B35E778DA0}" dt="2023-02-16T10:37:28.889" v="3578" actId="478"/>
          <ac:spMkLst>
            <pc:docMk/>
            <pc:sldMk cId="37465176" sldId="2147470269"/>
            <ac:spMk id="41" creationId="{EEC3769B-B8C7-413E-8F44-F10080ED3805}"/>
          </ac:spMkLst>
        </pc:spChg>
        <pc:spChg chg="add mod">
          <ac:chgData name="Tejada, Carmen" userId="4e46fa0d-51a0-4b7a-a6a6-e5b06c9f6d76" providerId="ADAL" clId="{0973AC2B-7113-47FA-8755-F7B35E778DA0}" dt="2023-02-16T10:37:29.330" v="3579"/>
          <ac:spMkLst>
            <pc:docMk/>
            <pc:sldMk cId="37465176" sldId="2147470269"/>
            <ac:spMk id="42" creationId="{4163F251-EA2A-4DDC-9F64-443204FB7B00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54" creationId="{5F9187CC-3CD5-4486-859C-BC853C28F8D4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73" creationId="{CAF70200-153B-4F84-A0BB-50DB6C9F787C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74" creationId="{E0311394-54E5-478D-BFE1-EE26035E1D08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77" creationId="{50917C5A-D252-4337-86C1-D11832B1683E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81" creationId="{1846BA9A-20AC-4FFE-90F3-5F9F99879130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98" creationId="{D4E97A50-47B7-45D8-B162-6B621F7FCAAE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105" creationId="{6C1451F9-2DD4-428E-8E89-4234A0FAD839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107" creationId="{33CF1737-E665-45EC-8760-162CA5892489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118" creationId="{0624C68F-237B-45F3-8779-72D6035CE870}"/>
          </ac:spMkLst>
        </pc:spChg>
        <pc:spChg chg="mod">
          <ac:chgData name="Tejada, Carmen" userId="4e46fa0d-51a0-4b7a-a6a6-e5b06c9f6d76" providerId="ADAL" clId="{0973AC2B-7113-47FA-8755-F7B35E778DA0}" dt="2023-02-16T10:39:05.078" v="3626" actId="1036"/>
          <ac:spMkLst>
            <pc:docMk/>
            <pc:sldMk cId="37465176" sldId="2147470269"/>
            <ac:spMk id="120" creationId="{FFBC52AD-2596-4887-8A69-57679036CD85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122" creationId="{B166B73D-00CC-4E03-99CD-EDCAA515CD0E}"/>
          </ac:spMkLst>
        </pc:spChg>
        <pc:spChg chg="mod">
          <ac:chgData name="Tejada, Carmen" userId="4e46fa0d-51a0-4b7a-a6a6-e5b06c9f6d76" providerId="ADAL" clId="{0973AC2B-7113-47FA-8755-F7B35E778DA0}" dt="2023-02-16T10:37:39.828" v="3589" actId="1036"/>
          <ac:spMkLst>
            <pc:docMk/>
            <pc:sldMk cId="37465176" sldId="2147470269"/>
            <ac:spMk id="123" creationId="{00D0E962-493C-4B4F-AEB8-E230EE65375D}"/>
          </ac:spMkLst>
        </pc:spChg>
        <pc:picChg chg="mod">
          <ac:chgData name="Tejada, Carmen" userId="4e46fa0d-51a0-4b7a-a6a6-e5b06c9f6d76" providerId="ADAL" clId="{0973AC2B-7113-47FA-8755-F7B35E778DA0}" dt="2023-02-16T10:37:39.828" v="3589" actId="1036"/>
          <ac:picMkLst>
            <pc:docMk/>
            <pc:sldMk cId="37465176" sldId="2147470269"/>
            <ac:picMk id="55" creationId="{DB9CB8B8-A23B-4A23-98AB-FCDA2449AFD3}"/>
          </ac:picMkLst>
        </pc:picChg>
        <pc:picChg chg="mod">
          <ac:chgData name="Tejada, Carmen" userId="4e46fa0d-51a0-4b7a-a6a6-e5b06c9f6d76" providerId="ADAL" clId="{0973AC2B-7113-47FA-8755-F7B35E778DA0}" dt="2023-02-16T10:37:39.828" v="3589" actId="1036"/>
          <ac:picMkLst>
            <pc:docMk/>
            <pc:sldMk cId="37465176" sldId="2147470269"/>
            <ac:picMk id="82" creationId="{6981F34E-7A40-40EC-ADA5-47E67C8144AC}"/>
          </ac:picMkLst>
        </pc:picChg>
        <pc:picChg chg="mod">
          <ac:chgData name="Tejada, Carmen" userId="4e46fa0d-51a0-4b7a-a6a6-e5b06c9f6d76" providerId="ADAL" clId="{0973AC2B-7113-47FA-8755-F7B35E778DA0}" dt="2023-02-16T10:37:39.828" v="3589" actId="1036"/>
          <ac:picMkLst>
            <pc:docMk/>
            <pc:sldMk cId="37465176" sldId="2147470269"/>
            <ac:picMk id="84" creationId="{5DA81FB4-C6B8-41DE-940E-DD9CF9E3BFB8}"/>
          </ac:picMkLst>
        </pc:picChg>
        <pc:picChg chg="mod">
          <ac:chgData name="Tejada, Carmen" userId="4e46fa0d-51a0-4b7a-a6a6-e5b06c9f6d76" providerId="ADAL" clId="{0973AC2B-7113-47FA-8755-F7B35E778DA0}" dt="2023-02-16T10:37:39.828" v="3589" actId="1036"/>
          <ac:picMkLst>
            <pc:docMk/>
            <pc:sldMk cId="37465176" sldId="2147470269"/>
            <ac:picMk id="99" creationId="{C6B4548D-A2AC-4FD5-91F3-3F82A6719ABE}"/>
          </ac:picMkLst>
        </pc:picChg>
        <pc:cxnChg chg="mod">
          <ac:chgData name="Tejada, Carmen" userId="4e46fa0d-51a0-4b7a-a6a6-e5b06c9f6d76" providerId="ADAL" clId="{0973AC2B-7113-47FA-8755-F7B35E778DA0}" dt="2023-02-16T10:37:39.828" v="3589" actId="1036"/>
          <ac:cxnSpMkLst>
            <pc:docMk/>
            <pc:sldMk cId="37465176" sldId="2147470269"/>
            <ac:cxnSpMk id="30" creationId="{1E237236-B7E0-402E-BC8D-F85A3DF8CD68}"/>
          </ac:cxnSpMkLst>
        </pc:cxnChg>
        <pc:cxnChg chg="mod">
          <ac:chgData name="Tejada, Carmen" userId="4e46fa0d-51a0-4b7a-a6a6-e5b06c9f6d76" providerId="ADAL" clId="{0973AC2B-7113-47FA-8755-F7B35E778DA0}" dt="2023-02-16T10:37:39.828" v="3589" actId="1036"/>
          <ac:cxnSpMkLst>
            <pc:docMk/>
            <pc:sldMk cId="37465176" sldId="2147470269"/>
            <ac:cxnSpMk id="91" creationId="{33AAC015-6519-43B8-91E5-C4AA9019B4AC}"/>
          </ac:cxnSpMkLst>
        </pc:cxnChg>
      </pc:sldChg>
      <pc:sldChg chg="addSp delSp modSp mod">
        <pc:chgData name="Tejada, Carmen" userId="4e46fa0d-51a0-4b7a-a6a6-e5b06c9f6d76" providerId="ADAL" clId="{0973AC2B-7113-47FA-8755-F7B35E778DA0}" dt="2023-03-01T22:57:23.340" v="5648" actId="14100"/>
        <pc:sldMkLst>
          <pc:docMk/>
          <pc:sldMk cId="3404248183" sldId="2147470270"/>
        </pc:sldMkLst>
        <pc:spChg chg="add del mod">
          <ac:chgData name="Tejada, Carmen" userId="4e46fa0d-51a0-4b7a-a6a6-e5b06c9f6d76" providerId="ADAL" clId="{0973AC2B-7113-47FA-8755-F7B35E778DA0}" dt="2023-02-16T10:37:53.875" v="3590" actId="478"/>
          <ac:spMkLst>
            <pc:docMk/>
            <pc:sldMk cId="3404248183" sldId="2147470270"/>
            <ac:spMk id="14" creationId="{58A85FA1-23E5-41A3-BAD7-A621D13E984A}"/>
          </ac:spMkLst>
        </pc:spChg>
        <pc:spChg chg="add mod">
          <ac:chgData name="Tejada, Carmen" userId="4e46fa0d-51a0-4b7a-a6a6-e5b06c9f6d76" providerId="ADAL" clId="{0973AC2B-7113-47FA-8755-F7B35E778DA0}" dt="2023-02-16T10:37:55.156" v="3591"/>
          <ac:spMkLst>
            <pc:docMk/>
            <pc:sldMk cId="3404248183" sldId="2147470270"/>
            <ac:spMk id="15" creationId="{08FF1974-DABA-4764-A1F0-1A71D58273C3}"/>
          </ac:spMkLst>
        </pc:spChg>
        <pc:spChg chg="mod">
          <ac:chgData name="Tejada, Carmen" userId="4e46fa0d-51a0-4b7a-a6a6-e5b06c9f6d76" providerId="ADAL" clId="{0973AC2B-7113-47FA-8755-F7B35E778DA0}" dt="2023-02-16T10:38:02.284" v="3601" actId="1036"/>
          <ac:spMkLst>
            <pc:docMk/>
            <pc:sldMk cId="3404248183" sldId="2147470270"/>
            <ac:spMk id="52" creationId="{44423D4A-A538-4475-A58F-32415397B430}"/>
          </ac:spMkLst>
        </pc:spChg>
        <pc:spChg chg="mod">
          <ac:chgData name="Tejada, Carmen" userId="4e46fa0d-51a0-4b7a-a6a6-e5b06c9f6d76" providerId="ADAL" clId="{0973AC2B-7113-47FA-8755-F7B35E778DA0}" dt="2023-02-16T10:38:02.284" v="3601" actId="1036"/>
          <ac:spMkLst>
            <pc:docMk/>
            <pc:sldMk cId="3404248183" sldId="2147470270"/>
            <ac:spMk id="53" creationId="{9C2CC477-E9A3-4DEA-BF8B-28882C9B246A}"/>
          </ac:spMkLst>
        </pc:spChg>
        <pc:spChg chg="mod">
          <ac:chgData name="Tejada, Carmen" userId="4e46fa0d-51a0-4b7a-a6a6-e5b06c9f6d76" providerId="ADAL" clId="{0973AC2B-7113-47FA-8755-F7B35E778DA0}" dt="2023-02-16T10:38:02.284" v="3601" actId="1036"/>
          <ac:spMkLst>
            <pc:docMk/>
            <pc:sldMk cId="3404248183" sldId="2147470270"/>
            <ac:spMk id="54" creationId="{67770192-90BB-423B-9045-1D0C789BE434}"/>
          </ac:spMkLst>
        </pc:spChg>
        <pc:spChg chg="mod">
          <ac:chgData name="Tejada, Carmen" userId="4e46fa0d-51a0-4b7a-a6a6-e5b06c9f6d76" providerId="ADAL" clId="{0973AC2B-7113-47FA-8755-F7B35E778DA0}" dt="2023-02-16T10:38:02.284" v="3601" actId="1036"/>
          <ac:spMkLst>
            <pc:docMk/>
            <pc:sldMk cId="3404248183" sldId="2147470270"/>
            <ac:spMk id="107" creationId="{33CF1737-E665-45EC-8760-162CA5892489}"/>
          </ac:spMkLst>
        </pc:spChg>
        <pc:picChg chg="mod">
          <ac:chgData name="Tejada, Carmen" userId="4e46fa0d-51a0-4b7a-a6a6-e5b06c9f6d76" providerId="ADAL" clId="{0973AC2B-7113-47FA-8755-F7B35E778DA0}" dt="2023-02-16T10:38:02.284" v="3601" actId="1036"/>
          <ac:picMkLst>
            <pc:docMk/>
            <pc:sldMk cId="3404248183" sldId="2147470270"/>
            <ac:picMk id="16" creationId="{42869A38-E652-4544-A42B-7F9028702857}"/>
          </ac:picMkLst>
        </pc:picChg>
        <pc:picChg chg="mod">
          <ac:chgData name="Tejada, Carmen" userId="4e46fa0d-51a0-4b7a-a6a6-e5b06c9f6d76" providerId="ADAL" clId="{0973AC2B-7113-47FA-8755-F7B35E778DA0}" dt="2023-02-16T10:38:02.284" v="3601" actId="1036"/>
          <ac:picMkLst>
            <pc:docMk/>
            <pc:sldMk cId="3404248183" sldId="2147470270"/>
            <ac:picMk id="17" creationId="{BCDC0F38-5FB2-41C2-8650-23F1E62C8E75}"/>
          </ac:picMkLst>
        </pc:picChg>
        <pc:picChg chg="mod">
          <ac:chgData name="Tejada, Carmen" userId="4e46fa0d-51a0-4b7a-a6a6-e5b06c9f6d76" providerId="ADAL" clId="{0973AC2B-7113-47FA-8755-F7B35E778DA0}" dt="2023-03-01T22:57:15.620" v="5646" actId="14100"/>
          <ac:picMkLst>
            <pc:docMk/>
            <pc:sldMk cId="3404248183" sldId="2147470270"/>
            <ac:picMk id="18" creationId="{24088071-0E85-4C19-9D99-DF2D3D8C262D}"/>
          </ac:picMkLst>
        </pc:picChg>
        <pc:picChg chg="mod">
          <ac:chgData name="Tejada, Carmen" userId="4e46fa0d-51a0-4b7a-a6a6-e5b06c9f6d76" providerId="ADAL" clId="{0973AC2B-7113-47FA-8755-F7B35E778DA0}" dt="2023-03-01T22:57:23.340" v="5648" actId="14100"/>
          <ac:picMkLst>
            <pc:docMk/>
            <pc:sldMk cId="3404248183" sldId="2147470270"/>
            <ac:picMk id="21" creationId="{BD73FA6E-5790-40B3-921B-B14389543FDF}"/>
          </ac:picMkLst>
        </pc:picChg>
      </pc:sldChg>
      <pc:sldChg chg="ord">
        <pc:chgData name="Tejada, Carmen" userId="4e46fa0d-51a0-4b7a-a6a6-e5b06c9f6d76" providerId="ADAL" clId="{0973AC2B-7113-47FA-8755-F7B35E778DA0}" dt="2023-02-14T10:33:14.900" v="48"/>
        <pc:sldMkLst>
          <pc:docMk/>
          <pc:sldMk cId="1272278480" sldId="2147470271"/>
        </pc:sldMkLst>
      </pc:sldChg>
      <pc:sldChg chg="del mod or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2603693855" sldId="2147470272"/>
        </pc:sldMkLst>
      </pc:sldChg>
      <pc:sldChg chg="addSp delSp modSp mod ord">
        <pc:chgData name="Tejada, Carmen" userId="4e46fa0d-51a0-4b7a-a6a6-e5b06c9f6d76" providerId="ADAL" clId="{0973AC2B-7113-47FA-8755-F7B35E778DA0}" dt="2023-02-28T19:26:28.925" v="5627" actId="478"/>
        <pc:sldMkLst>
          <pc:docMk/>
          <pc:sldMk cId="556816909" sldId="2147470274"/>
        </pc:sldMkLst>
        <pc:spChg chg="mod">
          <ac:chgData name="Tejada, Carmen" userId="4e46fa0d-51a0-4b7a-a6a6-e5b06c9f6d76" providerId="ADAL" clId="{0973AC2B-7113-47FA-8755-F7B35E778DA0}" dt="2023-02-16T10:32:39.170" v="3285" actId="403"/>
          <ac:spMkLst>
            <pc:docMk/>
            <pc:sldMk cId="556816909" sldId="2147470274"/>
            <ac:spMk id="2" creationId="{E71EB903-8BDE-49F6-97EA-A73F696D2B25}"/>
          </ac:spMkLst>
        </pc:spChg>
        <pc:spChg chg="add mod">
          <ac:chgData name="Tejada, Carmen" userId="4e46fa0d-51a0-4b7a-a6a6-e5b06c9f6d76" providerId="ADAL" clId="{0973AC2B-7113-47FA-8755-F7B35E778DA0}" dt="2023-02-17T08:45:42.061" v="5336" actId="1076"/>
          <ac:spMkLst>
            <pc:docMk/>
            <pc:sldMk cId="556816909" sldId="2147470274"/>
            <ac:spMk id="3" creationId="{B7EC3CD5-CA19-43F7-AE28-45891730E92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45" creationId="{B2EFEAC7-94B9-40EE-B0F7-A95B8E048F1C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47" creationId="{E2F3163A-21F5-4221-8CA6-A93A32223A2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49" creationId="{C37343B8-24E2-48D2-BE77-5E9626F23D4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0" creationId="{76899B09-544B-40F3-ACCB-E7CBE68CFF1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1" creationId="{5910E7FE-412F-496C-8DAD-D55E2A5CD075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2" creationId="{E59B06E0-AB3F-473F-8E67-BD21EEC083E3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3" creationId="{AE0BE256-D30B-4006-A430-800E452B4F9B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4" creationId="{A70A39CB-AF79-4B78-B4C9-0362B442072F}"/>
          </ac:spMkLst>
        </pc:spChg>
        <pc:spChg chg="del">
          <ac:chgData name="Tejada, Carmen" userId="4e46fa0d-51a0-4b7a-a6a6-e5b06c9f6d76" providerId="ADAL" clId="{0973AC2B-7113-47FA-8755-F7B35E778DA0}" dt="2023-02-14T09:59:59.452" v="29" actId="478"/>
          <ac:spMkLst>
            <pc:docMk/>
            <pc:sldMk cId="556816909" sldId="2147470274"/>
            <ac:spMk id="55" creationId="{B549CC13-C619-435A-B617-EBB202D2F995}"/>
          </ac:spMkLst>
        </pc:spChg>
        <pc:spChg chg="del">
          <ac:chgData name="Tejada, Carmen" userId="4e46fa0d-51a0-4b7a-a6a6-e5b06c9f6d76" providerId="ADAL" clId="{0973AC2B-7113-47FA-8755-F7B35E778DA0}" dt="2023-02-14T09:59:59.452" v="29" actId="478"/>
          <ac:spMkLst>
            <pc:docMk/>
            <pc:sldMk cId="556816909" sldId="2147470274"/>
            <ac:spMk id="56" creationId="{E8EC48A7-1EA7-4B14-9157-6A023D99FB05}"/>
          </ac:spMkLst>
        </pc:spChg>
        <pc:spChg chg="add 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7" creationId="{5FA5BCF3-E00E-40DB-B093-2F16EAFB6CC1}"/>
          </ac:spMkLst>
        </pc:spChg>
        <pc:spChg chg="add 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8" creationId="{B779CDAC-A950-4CE7-A92B-C4CE60160E8F}"/>
          </ac:spMkLst>
        </pc:spChg>
        <pc:spChg chg="add 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59" creationId="{0A7754A2-5949-4B81-A627-129FCC42AAF4}"/>
          </ac:spMkLst>
        </pc:spChg>
        <pc:spChg chg="add mod">
          <ac:chgData name="Tejada, Carmen" userId="4e46fa0d-51a0-4b7a-a6a6-e5b06c9f6d76" providerId="ADAL" clId="{0973AC2B-7113-47FA-8755-F7B35E778DA0}" dt="2023-02-16T12:56:28.424" v="4822" actId="20577"/>
          <ac:spMkLst>
            <pc:docMk/>
            <pc:sldMk cId="556816909" sldId="2147470274"/>
            <ac:spMk id="60" creationId="{43787028-B8F1-4980-8F89-E87E7BAA3EA1}"/>
          </ac:spMkLst>
        </pc:spChg>
        <pc:spChg chg="add mod">
          <ac:chgData name="Tejada, Carmen" userId="4e46fa0d-51a0-4b7a-a6a6-e5b06c9f6d76" providerId="ADAL" clId="{0973AC2B-7113-47FA-8755-F7B35E778DA0}" dt="2023-02-14T11:07:55.248" v="97" actId="20577"/>
          <ac:spMkLst>
            <pc:docMk/>
            <pc:sldMk cId="556816909" sldId="2147470274"/>
            <ac:spMk id="61" creationId="{C5EC1815-446C-4DCB-8693-F7201AF368BA}"/>
          </ac:spMkLst>
        </pc:spChg>
        <pc:spChg chg="del mod">
          <ac:chgData name="Tejada, Carmen" userId="4e46fa0d-51a0-4b7a-a6a6-e5b06c9f6d76" providerId="ADAL" clId="{0973AC2B-7113-47FA-8755-F7B35E778DA0}" dt="2023-02-14T09:59:59.452" v="29" actId="478"/>
          <ac:spMkLst>
            <pc:docMk/>
            <pc:sldMk cId="556816909" sldId="2147470274"/>
            <ac:spMk id="62" creationId="{3A6D241F-B800-4946-9397-153EDD7758B7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63" creationId="{48E800C1-60D5-4507-96B1-997EE484C8B8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64" creationId="{34F30005-1E10-48C8-B4AA-31D8C6484F5C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72" creationId="{9D250473-4CF8-41BF-B2EC-8100E9BED813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73" creationId="{EEA648C0-4875-4956-8534-FC7F02BFFBC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77" creationId="{CCE07229-CC37-43B5-8DF8-0C3D6788F3EC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97" creationId="{CBE4CB9B-CDE8-48C4-A756-B6415B866B3E}"/>
          </ac:spMkLst>
        </pc:spChg>
        <pc:spChg chg="mod">
          <ac:chgData name="Tejada, Carmen" userId="4e46fa0d-51a0-4b7a-a6a6-e5b06c9f6d76" providerId="ADAL" clId="{0973AC2B-7113-47FA-8755-F7B35E778DA0}" dt="2023-02-16T11:24:45.552" v="4319" actId="20577"/>
          <ac:spMkLst>
            <pc:docMk/>
            <pc:sldMk cId="556816909" sldId="2147470274"/>
            <ac:spMk id="98" creationId="{4FD850A8-4EFA-45FF-998F-6B591FE74262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99" creationId="{310A14A4-F6CB-45DE-B6E1-A3DA7E36F837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00" creationId="{5092F700-CF47-48CD-96B9-E8BBC27D95BA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02" creationId="{60B3D97A-8D2B-4066-B50B-1E5ED83F30D8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03" creationId="{6EAEE653-EDA3-463F-B3F4-7CDF0134037C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04" creationId="{2E76E050-2422-4DC7-903B-5E405C53FAA8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07" creationId="{0D548263-2095-40C2-99A6-C65E56F8E021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0" creationId="{8CD59763-5A6D-4CFC-ABFF-D575511AF534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1" creationId="{41A0F59D-6751-4324-942C-A595A0D85D3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5" creationId="{529D8EAB-61DA-44E4-8101-331AF0824E77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6" creationId="{77EF360B-53A1-4241-A2EB-A3D56BFBFD94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7" creationId="{2450BD17-656A-4299-AC34-F2F2260281D0}"/>
          </ac:spMkLst>
        </pc:spChg>
        <pc:spChg chg="mod">
          <ac:chgData name="Tejada, Carmen" userId="4e46fa0d-51a0-4b7a-a6a6-e5b06c9f6d76" providerId="ADAL" clId="{0973AC2B-7113-47FA-8755-F7B35E778DA0}" dt="2023-02-16T12:38:40.906" v="4797" actId="20577"/>
          <ac:spMkLst>
            <pc:docMk/>
            <pc:sldMk cId="556816909" sldId="2147470274"/>
            <ac:spMk id="118" creationId="{2EEA2CE5-2FDA-4874-BC99-E651463B6471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19" creationId="{CCF8BCC5-B32B-4F4D-A5A8-4D9E6E7441B8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20" creationId="{04EADD87-D2A2-4C9B-AB9F-28A609B3CD6C}"/>
          </ac:spMkLst>
        </pc:spChg>
        <pc:spChg chg="del mod">
          <ac:chgData name="Tejada, Carmen" userId="4e46fa0d-51a0-4b7a-a6a6-e5b06c9f6d76" providerId="ADAL" clId="{0973AC2B-7113-47FA-8755-F7B35E778DA0}" dt="2023-02-14T09:57:57.994" v="13" actId="478"/>
          <ac:spMkLst>
            <pc:docMk/>
            <pc:sldMk cId="556816909" sldId="2147470274"/>
            <ac:spMk id="123" creationId="{91BC08AE-CEA8-4B3D-A074-60C352CD2C0E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24" creationId="{B5F0A8F3-376E-4155-A743-00D43BBE51AC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31" creationId="{C3C63079-B501-4E9D-8CA6-0305D6776C60}"/>
          </ac:spMkLst>
        </pc:spChg>
        <pc:spChg chg="mod">
          <ac:chgData name="Tejada, Carmen" userId="4e46fa0d-51a0-4b7a-a6a6-e5b06c9f6d76" providerId="ADAL" clId="{0973AC2B-7113-47FA-8755-F7B35E778DA0}" dt="2023-02-16T10:31:19.807" v="3277" actId="1036"/>
          <ac:spMkLst>
            <pc:docMk/>
            <pc:sldMk cId="556816909" sldId="2147470274"/>
            <ac:spMk id="134" creationId="{C6AED27B-BBEE-4016-818F-9FDE158118A2}"/>
          </ac:spMkLst>
        </pc:spChg>
        <pc:grpChg chg="mod">
          <ac:chgData name="Tejada, Carmen" userId="4e46fa0d-51a0-4b7a-a6a6-e5b06c9f6d76" providerId="ADAL" clId="{0973AC2B-7113-47FA-8755-F7B35E778DA0}" dt="2023-02-16T10:31:19.807" v="3277" actId="1036"/>
          <ac:grpSpMkLst>
            <pc:docMk/>
            <pc:sldMk cId="556816909" sldId="2147470274"/>
            <ac:grpSpMk id="101" creationId="{70A2EAC0-10DD-4C33-9401-33636E60C0F1}"/>
          </ac:grpSpMkLst>
        </pc:grpChg>
        <pc:graphicFrameChg chg="mod">
          <ac:chgData name="Tejada, Carmen" userId="4e46fa0d-51a0-4b7a-a6a6-e5b06c9f6d76" providerId="ADAL" clId="{0973AC2B-7113-47FA-8755-F7B35E778DA0}" dt="2023-02-16T12:32:00.975" v="4746"/>
          <ac:graphicFrameMkLst>
            <pc:docMk/>
            <pc:sldMk cId="556816909" sldId="2147470274"/>
            <ac:graphicFrameMk id="4" creationId="{7569AC24-D204-49E9-88C7-8DCC12F09696}"/>
          </ac:graphicFrameMkLst>
        </pc:graphicFrameChg>
        <pc:picChg chg="add del mod">
          <ac:chgData name="Tejada, Carmen" userId="4e46fa0d-51a0-4b7a-a6a6-e5b06c9f6d76" providerId="ADAL" clId="{0973AC2B-7113-47FA-8755-F7B35E778DA0}" dt="2023-02-28T19:26:26.444" v="5625"/>
          <ac:picMkLst>
            <pc:docMk/>
            <pc:sldMk cId="556816909" sldId="2147470274"/>
            <ac:picMk id="61" creationId="{169F29E5-74C0-4171-98D3-8313167396EC}"/>
          </ac:picMkLst>
        </pc:picChg>
        <pc:picChg chg="add del mod">
          <ac:chgData name="Tejada, Carmen" userId="4e46fa0d-51a0-4b7a-a6a6-e5b06c9f6d76" providerId="ADAL" clId="{0973AC2B-7113-47FA-8755-F7B35E778DA0}" dt="2023-02-28T19:26:28.925" v="5627" actId="478"/>
          <ac:picMkLst>
            <pc:docMk/>
            <pc:sldMk cId="556816909" sldId="2147470274"/>
            <ac:picMk id="105" creationId="{ED30FFA0-AB99-4219-B8AD-9BD79D1E94C5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06" creationId="{20C699C7-85AD-4FC9-8033-BDEBF20F82E8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12" creationId="{461616C2-6BAA-4B8B-A215-9B0EC1FFD5B2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13" creationId="{E832BD43-6E09-4E4A-A4DF-A5D62A1A066D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14" creationId="{5BDF3EC0-E1A0-4DA3-9837-DD3DB98EF9BA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22" creationId="{B6CB8315-D433-4E33-B91A-3419311F3D88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30" creationId="{A7969F12-3A5C-43AA-A20A-3800B33A52CB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33" creationId="{1974947D-3620-4AD1-B224-5DAFECC15D86}"/>
          </ac:picMkLst>
        </pc:picChg>
        <pc:picChg chg="mod">
          <ac:chgData name="Tejada, Carmen" userId="4e46fa0d-51a0-4b7a-a6a6-e5b06c9f6d76" providerId="ADAL" clId="{0973AC2B-7113-47FA-8755-F7B35E778DA0}" dt="2023-02-16T10:31:19.807" v="3277" actId="1036"/>
          <ac:picMkLst>
            <pc:docMk/>
            <pc:sldMk cId="556816909" sldId="2147470274"/>
            <ac:picMk id="135" creationId="{FA2DEE95-CB78-4E13-9229-3C0FC6EE1876}"/>
          </ac:picMkLst>
        </pc:picChg>
        <pc:cxnChg chg="mod">
          <ac:chgData name="Tejada, Carmen" userId="4e46fa0d-51a0-4b7a-a6a6-e5b06c9f6d76" providerId="ADAL" clId="{0973AC2B-7113-47FA-8755-F7B35E778DA0}" dt="2023-02-16T10:31:19.807" v="3277" actId="1036"/>
          <ac:cxnSpMkLst>
            <pc:docMk/>
            <pc:sldMk cId="556816909" sldId="2147470274"/>
            <ac:cxnSpMk id="125" creationId="{BAC2D1DA-B563-43BA-97A5-F0DC8EE10663}"/>
          </ac:cxnSpMkLst>
        </pc:cxnChg>
        <pc:cxnChg chg="mod">
          <ac:chgData name="Tejada, Carmen" userId="4e46fa0d-51a0-4b7a-a6a6-e5b06c9f6d76" providerId="ADAL" clId="{0973AC2B-7113-47FA-8755-F7B35E778DA0}" dt="2023-02-16T10:31:19.807" v="3277" actId="1036"/>
          <ac:cxnSpMkLst>
            <pc:docMk/>
            <pc:sldMk cId="556816909" sldId="2147470274"/>
            <ac:cxnSpMk id="126" creationId="{3E3DC23C-956C-46BE-80FF-0DB819DF4D06}"/>
          </ac:cxnSpMkLst>
        </pc:cxnChg>
        <pc:cxnChg chg="mod">
          <ac:chgData name="Tejada, Carmen" userId="4e46fa0d-51a0-4b7a-a6a6-e5b06c9f6d76" providerId="ADAL" clId="{0973AC2B-7113-47FA-8755-F7B35E778DA0}" dt="2023-02-16T10:31:19.807" v="3277" actId="1036"/>
          <ac:cxnSpMkLst>
            <pc:docMk/>
            <pc:sldMk cId="556816909" sldId="2147470274"/>
            <ac:cxnSpMk id="127" creationId="{800AF2D3-9460-44C2-9591-60994EA6C7DA}"/>
          </ac:cxnSpMkLst>
        </pc:cxnChg>
        <pc:cxnChg chg="mod">
          <ac:chgData name="Tejada, Carmen" userId="4e46fa0d-51a0-4b7a-a6a6-e5b06c9f6d76" providerId="ADAL" clId="{0973AC2B-7113-47FA-8755-F7B35E778DA0}" dt="2023-02-16T10:31:19.807" v="3277" actId="1036"/>
          <ac:cxnSpMkLst>
            <pc:docMk/>
            <pc:sldMk cId="556816909" sldId="2147470274"/>
            <ac:cxnSpMk id="129" creationId="{22A87617-CD5A-4721-8D80-03E847295574}"/>
          </ac:cxnSpMkLst>
        </pc:cxnChg>
        <pc:cxnChg chg="mod">
          <ac:chgData name="Tejada, Carmen" userId="4e46fa0d-51a0-4b7a-a6a6-e5b06c9f6d76" providerId="ADAL" clId="{0973AC2B-7113-47FA-8755-F7B35E778DA0}" dt="2023-02-16T10:31:19.807" v="3277" actId="1036"/>
          <ac:cxnSpMkLst>
            <pc:docMk/>
            <pc:sldMk cId="556816909" sldId="2147470274"/>
            <ac:cxnSpMk id="132" creationId="{6EC4F9BE-4216-4E19-BF86-DFD8361CAFCA}"/>
          </ac:cxnSpMkLst>
        </pc:cxnChg>
      </pc:sldChg>
      <pc:sldChg chg="addSp delSp modSp mod ord">
        <pc:chgData name="Tejada, Carmen" userId="4e46fa0d-51a0-4b7a-a6a6-e5b06c9f6d76" providerId="ADAL" clId="{0973AC2B-7113-47FA-8755-F7B35E778DA0}" dt="2023-02-16T11:30:21.480" v="4648" actId="1076"/>
        <pc:sldMkLst>
          <pc:docMk/>
          <pc:sldMk cId="1046099991" sldId="2147470275"/>
        </pc:sldMkLst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49" creationId="{C37343B8-24E2-48D2-BE77-5E9626F23D4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50" creationId="{76899B09-544B-40F3-ACCB-E7CBE68CFF1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51" creationId="{5910E7FE-412F-496C-8DAD-D55E2A5CD075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52" creationId="{E59B06E0-AB3F-473F-8E67-BD21EEC083E3}"/>
          </ac:spMkLst>
        </pc:spChg>
        <pc:spChg chg="del">
          <ac:chgData name="Tejada, Carmen" userId="4e46fa0d-51a0-4b7a-a6a6-e5b06c9f6d76" providerId="ADAL" clId="{0973AC2B-7113-47FA-8755-F7B35E778DA0}" dt="2023-02-16T11:29:54.163" v="4634" actId="478"/>
          <ac:spMkLst>
            <pc:docMk/>
            <pc:sldMk cId="1046099991" sldId="2147470275"/>
            <ac:spMk id="53" creationId="{549ABFC5-C179-40E7-BBFE-8F387AD22EB6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55" creationId="{B549CC13-C619-435A-B617-EBB202D2F995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56" creationId="{E8EC48A7-1EA7-4B14-9157-6A023D99FB05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62" creationId="{3A6D241F-B800-4946-9397-153EDD7758B7}"/>
          </ac:spMkLst>
        </pc:spChg>
        <pc:spChg chg="add 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65" creationId="{768C8DC5-4F3E-43F4-92EF-2C0645524106}"/>
          </ac:spMkLst>
        </pc:spChg>
        <pc:spChg chg="add del mod">
          <ac:chgData name="Tejada, Carmen" userId="4e46fa0d-51a0-4b7a-a6a6-e5b06c9f6d76" providerId="ADAL" clId="{0973AC2B-7113-47FA-8755-F7B35E778DA0}" dt="2023-02-16T11:29:57.761" v="4636" actId="478"/>
          <ac:spMkLst>
            <pc:docMk/>
            <pc:sldMk cId="1046099991" sldId="2147470275"/>
            <ac:spMk id="66" creationId="{25C135C9-2AD8-4135-BD1E-58BC7E6161EE}"/>
          </ac:spMkLst>
        </pc:spChg>
        <pc:spChg chg="add mod">
          <ac:chgData name="Tejada, Carmen" userId="4e46fa0d-51a0-4b7a-a6a6-e5b06c9f6d76" providerId="ADAL" clId="{0973AC2B-7113-47FA-8755-F7B35E778DA0}" dt="2023-02-16T11:30:21.480" v="4648" actId="1076"/>
          <ac:spMkLst>
            <pc:docMk/>
            <pc:sldMk cId="1046099991" sldId="2147470275"/>
            <ac:spMk id="67" creationId="{0134AD76-DCD5-4996-97D8-94768B1BC5A2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72" creationId="{9D250473-4CF8-41BF-B2EC-8100E9BED813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73" creationId="{EEA648C0-4875-4956-8534-FC7F02BFFBC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77" creationId="{CCE07229-CC37-43B5-8DF8-0C3D6788F3EC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83" creationId="{F71569A0-0F73-42F9-90BF-31C45BC75A16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87" creationId="{F604E8B6-E5E3-440D-9FC3-E3BB2B16F79F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88" creationId="{553715DF-43AB-49A9-874A-EF3457492CF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89" creationId="{F9A918F6-8C9C-47AD-BED8-B6690858EB0E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0" creationId="{B939DFD7-46CC-4F0C-BFDB-3470CBA8165F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1" creationId="{457D6F4E-6C04-45EA-979B-88CB1D1E6F5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2" creationId="{B8A03C6F-E3F1-4501-BF2D-13C7A8BEBF48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4" creationId="{5BFBD028-80BF-4F82-B6BD-E2FA71A8EF43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7" creationId="{CBE4CB9B-CDE8-48C4-A756-B6415B866B3E}"/>
          </ac:spMkLst>
        </pc:spChg>
        <pc:spChg chg="del mod">
          <ac:chgData name="Tejada, Carmen" userId="4e46fa0d-51a0-4b7a-a6a6-e5b06c9f6d76" providerId="ADAL" clId="{0973AC2B-7113-47FA-8755-F7B35E778DA0}" dt="2023-02-16T11:28:57.068" v="4582" actId="478"/>
          <ac:spMkLst>
            <pc:docMk/>
            <pc:sldMk cId="1046099991" sldId="2147470275"/>
            <ac:spMk id="98" creationId="{4FD850A8-4EFA-45FF-998F-6B591FE74262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99" creationId="{310A14A4-F6CB-45DE-B6E1-A3DA7E36F837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0" creationId="{5092F700-CF47-48CD-96B9-E8BBC27D95BA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2" creationId="{60B3D97A-8D2B-4066-B50B-1E5ED83F30D8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3" creationId="{6EAEE653-EDA3-463F-B3F4-7CDF0134037C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4" creationId="{2E76E050-2422-4DC7-903B-5E405C53FAA8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7" creationId="{0D548263-2095-40C2-99A6-C65E56F8E021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8" creationId="{70471963-36C0-4BAB-B6EE-2B923037CE2C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09" creationId="{AA0625FE-40EF-4920-A00B-C2EC5E583777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10" creationId="{8CD59763-5A6D-4CFC-ABFF-D575511AF534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11" creationId="{41A0F59D-6751-4324-942C-A595A0D85D30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15" creationId="{529D8EAB-61DA-44E4-8101-331AF0824E77}"/>
          </ac:spMkLst>
        </pc:spChg>
        <pc:spChg chg="mod">
          <ac:chgData name="Tejada, Carmen" userId="4e46fa0d-51a0-4b7a-a6a6-e5b06c9f6d76" providerId="ADAL" clId="{0973AC2B-7113-47FA-8755-F7B35E778DA0}" dt="2023-02-16T11:30:17.342" v="4647" actId="1036"/>
          <ac:spMkLst>
            <pc:docMk/>
            <pc:sldMk cId="1046099991" sldId="2147470275"/>
            <ac:spMk id="116" creationId="{77EF360B-53A1-4241-A2EB-A3D56BFBFD94}"/>
          </ac:spMkLst>
        </pc:spChg>
        <pc:grpChg chg="mod">
          <ac:chgData name="Tejada, Carmen" userId="4e46fa0d-51a0-4b7a-a6a6-e5b06c9f6d76" providerId="ADAL" clId="{0973AC2B-7113-47FA-8755-F7B35E778DA0}" dt="2023-02-16T11:30:17.342" v="4647" actId="1036"/>
          <ac:grpSpMkLst>
            <pc:docMk/>
            <pc:sldMk cId="1046099991" sldId="2147470275"/>
            <ac:grpSpMk id="101" creationId="{70A2EAC0-10DD-4C33-9401-33636E60C0F1}"/>
          </ac:grpSpMkLst>
        </pc:grp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57" creationId="{A359DA72-9D6A-4B53-AED7-C7B526F35CB8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76" creationId="{F890C61E-1156-45E7-966E-7148FBB0A4FF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78" creationId="{26D080CE-01A2-4FA9-83B3-31D3F60E66EB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82" creationId="{E4A2B5D8-DB61-4F85-9BF0-6669D694D552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84" creationId="{D80F5A64-5205-4C8E-B054-8CD115B68F3D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86" creationId="{447596B8-E131-407B-B542-5016D112F6C2}"/>
          </ac:picMkLst>
        </pc:picChg>
        <pc:picChg chg="mod">
          <ac:chgData name="Tejada, Carmen" userId="4e46fa0d-51a0-4b7a-a6a6-e5b06c9f6d76" providerId="ADAL" clId="{0973AC2B-7113-47FA-8755-F7B35E778DA0}" dt="2023-02-16T11:30:17.342" v="4647" actId="1036"/>
          <ac:picMkLst>
            <pc:docMk/>
            <pc:sldMk cId="1046099991" sldId="2147470275"/>
            <ac:picMk id="106" creationId="{20C699C7-85AD-4FC9-8033-BDEBF20F82E8}"/>
          </ac:picMkLst>
        </pc:picChg>
        <pc:cxnChg chg="mod">
          <ac:chgData name="Tejada, Carmen" userId="4e46fa0d-51a0-4b7a-a6a6-e5b06c9f6d76" providerId="ADAL" clId="{0973AC2B-7113-47FA-8755-F7B35E778DA0}" dt="2023-02-16T11:30:17.342" v="4647" actId="1036"/>
          <ac:cxnSpMkLst>
            <pc:docMk/>
            <pc:sldMk cId="1046099991" sldId="2147470275"/>
            <ac:cxnSpMk id="79" creationId="{31F3149A-C920-43B9-9F72-1F6C128C7268}"/>
          </ac:cxnSpMkLst>
        </pc:cxnChg>
        <pc:cxnChg chg="mod">
          <ac:chgData name="Tejada, Carmen" userId="4e46fa0d-51a0-4b7a-a6a6-e5b06c9f6d76" providerId="ADAL" clId="{0973AC2B-7113-47FA-8755-F7B35E778DA0}" dt="2023-02-16T11:30:17.342" v="4647" actId="1036"/>
          <ac:cxnSpMkLst>
            <pc:docMk/>
            <pc:sldMk cId="1046099991" sldId="2147470275"/>
            <ac:cxnSpMk id="80" creationId="{08214B39-C80C-42C7-A811-A1B78B32F056}"/>
          </ac:cxnSpMkLst>
        </pc:cxnChg>
        <pc:cxnChg chg="mod">
          <ac:chgData name="Tejada, Carmen" userId="4e46fa0d-51a0-4b7a-a6a6-e5b06c9f6d76" providerId="ADAL" clId="{0973AC2B-7113-47FA-8755-F7B35E778DA0}" dt="2023-02-16T11:30:17.342" v="4647" actId="1036"/>
          <ac:cxnSpMkLst>
            <pc:docMk/>
            <pc:sldMk cId="1046099991" sldId="2147470275"/>
            <ac:cxnSpMk id="81" creationId="{285D5FF9-018E-4A3E-B388-953055D42DB7}"/>
          </ac:cxnSpMkLst>
        </pc:cxnChg>
        <pc:cxnChg chg="mod">
          <ac:chgData name="Tejada, Carmen" userId="4e46fa0d-51a0-4b7a-a6a6-e5b06c9f6d76" providerId="ADAL" clId="{0973AC2B-7113-47FA-8755-F7B35E778DA0}" dt="2023-02-16T11:30:17.342" v="4647" actId="1036"/>
          <ac:cxnSpMkLst>
            <pc:docMk/>
            <pc:sldMk cId="1046099991" sldId="2147470275"/>
            <ac:cxnSpMk id="85" creationId="{5D922C9F-CD86-4242-AA36-A1F852854AD9}"/>
          </ac:cxnSpMkLst>
        </pc:cxnChg>
      </pc:sldChg>
      <pc:sldChg chg="add del">
        <pc:chgData name="Tejada, Carmen" userId="4e46fa0d-51a0-4b7a-a6a6-e5b06c9f6d76" providerId="ADAL" clId="{0973AC2B-7113-47FA-8755-F7B35E778DA0}" dt="2023-02-14T13:06:22.867" v="1844" actId="47"/>
        <pc:sldMkLst>
          <pc:docMk/>
          <pc:sldMk cId="2677438747" sldId="2147470276"/>
        </pc:sldMkLst>
      </pc:sldChg>
      <pc:sldChg chg="add del mod modTransition modShow">
        <pc:chgData name="Tejada, Carmen" userId="4e46fa0d-51a0-4b7a-a6a6-e5b06c9f6d76" providerId="ADAL" clId="{0973AC2B-7113-47FA-8755-F7B35E778DA0}" dt="2023-02-16T13:11:23.990" v="4932" actId="2696"/>
        <pc:sldMkLst>
          <pc:docMk/>
          <pc:sldMk cId="2762207376" sldId="2147470276"/>
        </pc:sldMkLst>
      </pc:sldChg>
      <pc:sldChg chg="addSp delSp modSp add del mod">
        <pc:chgData name="Tejada, Carmen" userId="4e46fa0d-51a0-4b7a-a6a6-e5b06c9f6d76" providerId="ADAL" clId="{0973AC2B-7113-47FA-8755-F7B35E778DA0}" dt="2023-02-16T13:11:23.990" v="4932" actId="2696"/>
        <pc:sldMkLst>
          <pc:docMk/>
          <pc:sldMk cId="3962665222" sldId="2147470277"/>
        </pc:sldMkLst>
        <pc:spChg chg="mod">
          <ac:chgData name="Tejada, Carmen" userId="4e46fa0d-51a0-4b7a-a6a6-e5b06c9f6d76" providerId="ADAL" clId="{0973AC2B-7113-47FA-8755-F7B35E778DA0}" dt="2023-02-14T15:31:40.577" v="2720" actId="948"/>
          <ac:spMkLst>
            <pc:docMk/>
            <pc:sldMk cId="3962665222" sldId="2147470277"/>
            <ac:spMk id="3" creationId="{CB5D5DA1-DACE-4236-B2A5-D674B23E4F3E}"/>
          </ac:spMkLst>
        </pc:spChg>
        <pc:spChg chg="add del mod modVis">
          <ac:chgData name="Tejada, Carmen" userId="4e46fa0d-51a0-4b7a-a6a6-e5b06c9f6d76" providerId="ADAL" clId="{0973AC2B-7113-47FA-8755-F7B35E778DA0}" dt="2023-02-14T15:31:40.658" v="2760"/>
          <ac:spMkLst>
            <pc:docMk/>
            <pc:sldMk cId="3962665222" sldId="2147470277"/>
            <ac:spMk id="4" creationId="{302F4588-1785-4F37-87A3-CDD04D5A1922}"/>
          </ac:spMkLst>
        </pc:spChg>
        <pc:spChg chg="add mod">
          <ac:chgData name="Tejada, Carmen" userId="4e46fa0d-51a0-4b7a-a6a6-e5b06c9f6d76" providerId="ADAL" clId="{0973AC2B-7113-47FA-8755-F7B35E778DA0}" dt="2023-02-14T15:31:50.282" v="2792" actId="478"/>
          <ac:spMkLst>
            <pc:docMk/>
            <pc:sldMk cId="3962665222" sldId="2147470277"/>
            <ac:spMk id="6" creationId="{CD3829C4-94C0-4BB5-9A1D-5F87F5246085}"/>
          </ac:spMkLst>
        </pc:spChg>
        <pc:spChg chg="del">
          <ac:chgData name="Tejada, Carmen" userId="4e46fa0d-51a0-4b7a-a6a6-e5b06c9f6d76" providerId="ADAL" clId="{0973AC2B-7113-47FA-8755-F7B35E778DA0}" dt="2023-02-14T15:31:50.282" v="2792" actId="478"/>
          <ac:spMkLst>
            <pc:docMk/>
            <pc:sldMk cId="3962665222" sldId="2147470277"/>
            <ac:spMk id="7" creationId="{9BCBC527-C297-40F2-9FF9-708EEFB8FD75}"/>
          </ac:spMkLst>
        </pc:spChg>
        <pc:spChg chg="mod">
          <ac:chgData name="Tejada, Carmen" userId="4e46fa0d-51a0-4b7a-a6a6-e5b06c9f6d76" providerId="ADAL" clId="{0973AC2B-7113-47FA-8755-F7B35E778DA0}" dt="2023-02-14T15:31:47.324" v="2791" actId="20577"/>
          <ac:spMkLst>
            <pc:docMk/>
            <pc:sldMk cId="3962665222" sldId="2147470277"/>
            <ac:spMk id="8" creationId="{862D3331-0F5A-4344-9277-E609CEE8AAEF}"/>
          </ac:spMkLst>
        </pc:spChg>
        <pc:graphicFrameChg chg="mod">
          <ac:chgData name="Tejada, Carmen" userId="4e46fa0d-51a0-4b7a-a6a6-e5b06c9f6d76" providerId="ADAL" clId="{0973AC2B-7113-47FA-8755-F7B35E778DA0}" dt="2023-02-14T15:31:40.663" v="2762"/>
          <ac:graphicFrameMkLst>
            <pc:docMk/>
            <pc:sldMk cId="3962665222" sldId="2147470277"/>
            <ac:graphicFrameMk id="2" creationId="{FF35952B-7D58-4000-B955-05395328737C}"/>
          </ac:graphicFrameMkLst>
        </pc:graphicFrameChg>
      </pc:sldChg>
      <pc:sldChg chg="addSp delSp modSp mod">
        <pc:chgData name="Tejada, Carmen" userId="4e46fa0d-51a0-4b7a-a6a6-e5b06c9f6d76" providerId="ADAL" clId="{0973AC2B-7113-47FA-8755-F7B35E778DA0}" dt="2023-02-16T08:45:12.332" v="2923" actId="207"/>
        <pc:sldMkLst>
          <pc:docMk/>
          <pc:sldMk cId="2750657832" sldId="2147470278"/>
        </pc:sldMkLst>
        <pc:spChg chg="mod">
          <ac:chgData name="Tejada, Carmen" userId="4e46fa0d-51a0-4b7a-a6a6-e5b06c9f6d76" providerId="ADAL" clId="{0973AC2B-7113-47FA-8755-F7B35E778DA0}" dt="2023-02-16T08:45:05.311" v="2908" actId="948"/>
          <ac:spMkLst>
            <pc:docMk/>
            <pc:sldMk cId="2750657832" sldId="2147470278"/>
            <ac:spMk id="3" creationId="{CB5D5DA1-DACE-4236-B2A5-D674B23E4F3E}"/>
          </ac:spMkLst>
        </pc:spChg>
        <pc:spChg chg="add del mod modVis">
          <ac:chgData name="Tejada, Carmen" userId="4e46fa0d-51a0-4b7a-a6a6-e5b06c9f6d76" providerId="ADAL" clId="{0973AC2B-7113-47FA-8755-F7B35E778DA0}" dt="2023-02-15T15:32:40.684" v="2855"/>
          <ac:spMkLst>
            <pc:docMk/>
            <pc:sldMk cId="2750657832" sldId="2147470278"/>
            <ac:spMk id="4" creationId="{8637DA76-3A91-4FA1-BD00-59689D94EDE6}"/>
          </ac:spMkLst>
        </pc:spChg>
        <pc:spChg chg="add mod">
          <ac:chgData name="Tejada, Carmen" userId="4e46fa0d-51a0-4b7a-a6a6-e5b06c9f6d76" providerId="ADAL" clId="{0973AC2B-7113-47FA-8755-F7B35E778DA0}" dt="2023-02-15T15:32:53.616" v="2858"/>
          <ac:spMkLst>
            <pc:docMk/>
            <pc:sldMk cId="2750657832" sldId="2147470278"/>
            <ac:spMk id="7" creationId="{38B849EC-15CF-4C0A-8979-2C9F48437EC5}"/>
          </ac:spMkLst>
        </pc:spChg>
        <pc:spChg chg="mod">
          <ac:chgData name="Tejada, Carmen" userId="4e46fa0d-51a0-4b7a-a6a6-e5b06c9f6d76" providerId="ADAL" clId="{0973AC2B-7113-47FA-8755-F7B35E778DA0}" dt="2023-02-16T08:45:12.332" v="2923" actId="207"/>
          <ac:spMkLst>
            <pc:docMk/>
            <pc:sldMk cId="2750657832" sldId="2147470278"/>
            <ac:spMk id="9" creationId="{6E939B1C-B629-486C-A94D-A6F4822083C0}"/>
          </ac:spMkLst>
        </pc:spChg>
        <pc:spChg chg="del">
          <ac:chgData name="Tejada, Carmen" userId="4e46fa0d-51a0-4b7a-a6a6-e5b06c9f6d76" providerId="ADAL" clId="{0973AC2B-7113-47FA-8755-F7B35E778DA0}" dt="2023-02-15T15:32:53.616" v="2858"/>
          <ac:spMkLst>
            <pc:docMk/>
            <pc:sldMk cId="2750657832" sldId="2147470278"/>
            <ac:spMk id="11" creationId="{403B63A5-57B6-4F60-B691-C693DF72AF23}"/>
          </ac:spMkLst>
        </pc:spChg>
        <pc:graphicFrameChg chg="mod">
          <ac:chgData name="Tejada, Carmen" userId="4e46fa0d-51a0-4b7a-a6a6-e5b06c9f6d76" providerId="ADAL" clId="{0973AC2B-7113-47FA-8755-F7B35E778DA0}" dt="2023-02-16T08:45:05.329" v="2911"/>
          <ac:graphicFrameMkLst>
            <pc:docMk/>
            <pc:sldMk cId="2750657832" sldId="2147470278"/>
            <ac:graphicFrameMk id="2" creationId="{FF35952B-7D58-4000-B955-05395328737C}"/>
          </ac:graphicFrameMkLst>
        </pc:graphicFrameChg>
      </pc:sldChg>
      <pc:sldChg chg="addSp delSp modSp mod ord">
        <pc:chgData name="Tejada, Carmen" userId="4e46fa0d-51a0-4b7a-a6a6-e5b06c9f6d76" providerId="ADAL" clId="{0973AC2B-7113-47FA-8755-F7B35E778DA0}" dt="2023-02-16T15:33:33.390" v="4959"/>
        <pc:sldMkLst>
          <pc:docMk/>
          <pc:sldMk cId="3917067351" sldId="2147471512"/>
        </pc:sldMkLst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" creationId="{471620A7-8101-433F-B946-1E105662E261}"/>
          </ac:spMkLst>
        </pc:spChg>
        <pc:spChg chg="add del mod modVis">
          <ac:chgData name="Tejada, Carmen" userId="4e46fa0d-51a0-4b7a-a6a6-e5b06c9f6d76" providerId="ADAL" clId="{0973AC2B-7113-47FA-8755-F7B35E778DA0}" dt="2023-02-16T10:26:21.371" v="3052"/>
          <ac:spMkLst>
            <pc:docMk/>
            <pc:sldMk cId="3917067351" sldId="2147471512"/>
            <ac:spMk id="3" creationId="{5F6BCB7D-C19C-407E-9ED5-E944F846CE18}"/>
          </ac:spMkLst>
        </pc:spChg>
        <pc:spChg chg="del mod">
          <ac:chgData name="Tejada, Carmen" userId="4e46fa0d-51a0-4b7a-a6a6-e5b06c9f6d76" providerId="ADAL" clId="{0973AC2B-7113-47FA-8755-F7B35E778DA0}" dt="2023-02-16T10:26:43.510" v="3150" actId="478"/>
          <ac:spMkLst>
            <pc:docMk/>
            <pc:sldMk cId="3917067351" sldId="2147471512"/>
            <ac:spMk id="4" creationId="{246D7B04-E171-4842-BCE1-614DD2FC7AEC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6" creationId="{FF52715E-2354-4827-8181-9026D62232C6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7" creationId="{9F5F1614-DECE-42C2-9C0C-C4A40C1A4AE8}"/>
          </ac:spMkLst>
        </pc:spChg>
        <pc:spChg chg="del mod">
          <ac:chgData name="Tejada, Carmen" userId="4e46fa0d-51a0-4b7a-a6a6-e5b06c9f6d76" providerId="ADAL" clId="{0973AC2B-7113-47FA-8755-F7B35E778DA0}" dt="2023-02-16T10:29:33.679" v="3213" actId="478"/>
          <ac:spMkLst>
            <pc:docMk/>
            <pc:sldMk cId="3917067351" sldId="2147471512"/>
            <ac:spMk id="8" creationId="{7CC86B94-665A-4862-83DD-098564CC5F3A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11" creationId="{587AE47C-7D58-4012-961A-709BC4D2B8D4}"/>
          </ac:spMkLst>
        </pc:spChg>
        <pc:spChg chg="add del mod modVis">
          <ac:chgData name="Tejada, Carmen" userId="4e46fa0d-51a0-4b7a-a6a6-e5b06c9f6d76" providerId="ADAL" clId="{0973AC2B-7113-47FA-8755-F7B35E778DA0}" dt="2023-02-16T10:26:30.247" v="3110"/>
          <ac:spMkLst>
            <pc:docMk/>
            <pc:sldMk cId="3917067351" sldId="2147471512"/>
            <ac:spMk id="12" creationId="{4EF0D726-002C-4E86-B3BB-4F3F3DB29594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13" creationId="{0B29BF13-03BD-46E8-94BD-E4DDF0316E6E}"/>
          </ac:spMkLst>
        </pc:spChg>
        <pc:spChg chg="add del mod">
          <ac:chgData name="Tejada, Carmen" userId="4e46fa0d-51a0-4b7a-a6a6-e5b06c9f6d76" providerId="ADAL" clId="{0973AC2B-7113-47FA-8755-F7B35E778DA0}" dt="2023-02-16T10:26:46.702" v="3154" actId="478"/>
          <ac:spMkLst>
            <pc:docMk/>
            <pc:sldMk cId="3917067351" sldId="2147471512"/>
            <ac:spMk id="15" creationId="{47F5E6D7-FE8B-4F14-9FED-A40E9BDC458B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17" creationId="{7DFF93C2-6829-4949-A627-762D0A00699C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18" creationId="{779EC091-1581-47B0-BBEE-35F13CC5ACB3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19" creationId="{58644518-530A-451A-9DE8-36A983DF817F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1" creationId="{8F5EC102-D04F-4182-9A63-DED20F7171C4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2" creationId="{D2AA7ABC-CDDE-456D-9B3A-E2EC87F2DEC5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3" creationId="{0CCF3B9D-FAE0-4E0D-BF33-8841A7835573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5" creationId="{33E77F76-0E3B-41B3-B6DC-8D040882FA8B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6" creationId="{F8A97B15-9CB5-4E70-9DEC-FA08C3538364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7" creationId="{B562010E-51B0-47C2-9268-BFF0B63AA438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28" creationId="{C8568320-1F04-4096-9186-9FBBBEE61F52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31" creationId="{3FB0FF2A-9258-450A-949D-AB7FF6B7F1F3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32" creationId="{7363E5B3-DE6A-4EA7-9905-D14BAD0D25CF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33" creationId="{DB5CF41D-2805-4F96-AD0B-27D889881A2E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34" creationId="{78EE4EBE-7490-4F62-96CA-EB096277AF77}"/>
          </ac:spMkLst>
        </pc:spChg>
        <pc:spChg chg="add mod">
          <ac:chgData name="Tejada, Carmen" userId="4e46fa0d-51a0-4b7a-a6a6-e5b06c9f6d76" providerId="ADAL" clId="{0973AC2B-7113-47FA-8755-F7B35E778DA0}" dt="2023-02-16T10:26:40.882" v="3149" actId="20577"/>
          <ac:spMkLst>
            <pc:docMk/>
            <pc:sldMk cId="3917067351" sldId="2147471512"/>
            <ac:spMk id="35" creationId="{9D6D934B-A5F6-4BBB-8FBF-5AF55C73EEEC}"/>
          </ac:spMkLst>
        </pc:spChg>
        <pc:spChg chg="add mod">
          <ac:chgData name="Tejada, Carmen" userId="4e46fa0d-51a0-4b7a-a6a6-e5b06c9f6d76" providerId="ADAL" clId="{0973AC2B-7113-47FA-8755-F7B35E778DA0}" dt="2023-02-16T10:26:21.010" v="3011"/>
          <ac:spMkLst>
            <pc:docMk/>
            <pc:sldMk cId="3917067351" sldId="2147471512"/>
            <ac:spMk id="36" creationId="{62159B7B-3F26-40F1-BAAC-007576F62972}"/>
          </ac:spMkLst>
        </pc:spChg>
        <pc:spChg chg="mod">
          <ac:chgData name="Tejada, Carmen" userId="4e46fa0d-51a0-4b7a-a6a6-e5b06c9f6d76" providerId="ADAL" clId="{0973AC2B-7113-47FA-8755-F7B35E778DA0}" dt="2023-02-16T10:29:52.090" v="3219" actId="1076"/>
          <ac:spMkLst>
            <pc:docMk/>
            <pc:sldMk cId="3917067351" sldId="2147471512"/>
            <ac:spMk id="38" creationId="{B08ECDCA-F327-4304-89F1-8238FE2F7272}"/>
          </ac:spMkLst>
        </pc:spChg>
        <pc:spChg chg="add mod">
          <ac:chgData name="Tejada, Carmen" userId="4e46fa0d-51a0-4b7a-a6a6-e5b06c9f6d76" providerId="ADAL" clId="{0973AC2B-7113-47FA-8755-F7B35E778DA0}" dt="2023-02-16T10:29:40.904" v="3218"/>
          <ac:spMkLst>
            <pc:docMk/>
            <pc:sldMk cId="3917067351" sldId="2147471512"/>
            <ac:spMk id="39" creationId="{4C5F2B41-1E71-40EF-A6CC-11689FA5E4B1}"/>
          </ac:spMkLst>
        </pc:spChg>
        <pc:graphicFrameChg chg="add mod ord modVis replST">
          <ac:chgData name="Tejada, Carmen" userId="4e46fa0d-51a0-4b7a-a6a6-e5b06c9f6d76" providerId="ADAL" clId="{0973AC2B-7113-47FA-8755-F7B35E778DA0}" dt="2023-02-16T10:26:47.249" v="3157"/>
          <ac:graphicFrameMkLst>
            <pc:docMk/>
            <pc:sldMk cId="3917067351" sldId="2147471512"/>
            <ac:graphicFrameMk id="9" creationId="{72F13EE4-802A-4560-ABB1-541731A00CEE}"/>
          </ac:graphicFrameMkLst>
        </pc:graphicFrameChg>
        <pc:graphicFrameChg chg="mod">
          <ac:chgData name="Tejada, Carmen" userId="4e46fa0d-51a0-4b7a-a6a6-e5b06c9f6d76" providerId="ADAL" clId="{0973AC2B-7113-47FA-8755-F7B35E778DA0}" dt="2023-02-16T10:29:52.090" v="3219" actId="1076"/>
          <ac:graphicFrameMkLst>
            <pc:docMk/>
            <pc:sldMk cId="3917067351" sldId="2147471512"/>
            <ac:graphicFrameMk id="30" creationId="{8E34C5D7-B708-41C3-9560-E54882E0F231}"/>
          </ac:graphicFrameMkLst>
        </pc:graphicFrameChg>
        <pc:cxnChg chg="mod">
          <ac:chgData name="Tejada, Carmen" userId="4e46fa0d-51a0-4b7a-a6a6-e5b06c9f6d76" providerId="ADAL" clId="{0973AC2B-7113-47FA-8755-F7B35E778DA0}" dt="2023-02-16T10:29:52.090" v="3219" actId="1076"/>
          <ac:cxnSpMkLst>
            <pc:docMk/>
            <pc:sldMk cId="3917067351" sldId="2147471512"/>
            <ac:cxnSpMk id="5" creationId="{F6535ADA-C1F4-4716-91EC-028E1190EF68}"/>
          </ac:cxnSpMkLst>
        </pc:cxnChg>
        <pc:cxnChg chg="mod">
          <ac:chgData name="Tejada, Carmen" userId="4e46fa0d-51a0-4b7a-a6a6-e5b06c9f6d76" providerId="ADAL" clId="{0973AC2B-7113-47FA-8755-F7B35E778DA0}" dt="2023-02-16T10:29:52.090" v="3219" actId="1076"/>
          <ac:cxnSpMkLst>
            <pc:docMk/>
            <pc:sldMk cId="3917067351" sldId="2147471512"/>
            <ac:cxnSpMk id="10" creationId="{3CFC0F59-1EB2-4786-9096-5E5D591FD4C6}"/>
          </ac:cxnSpMkLst>
        </pc:cxnChg>
        <pc:cxnChg chg="mod">
          <ac:chgData name="Tejada, Carmen" userId="4e46fa0d-51a0-4b7a-a6a6-e5b06c9f6d76" providerId="ADAL" clId="{0973AC2B-7113-47FA-8755-F7B35E778DA0}" dt="2023-02-16T10:29:52.090" v="3219" actId="1076"/>
          <ac:cxnSpMkLst>
            <pc:docMk/>
            <pc:sldMk cId="3917067351" sldId="2147471512"/>
            <ac:cxnSpMk id="24" creationId="{40F7500F-6F12-4A1A-9D03-B685594C4882}"/>
          </ac:cxnSpMkLst>
        </pc:cxnChg>
        <pc:cxnChg chg="mod">
          <ac:chgData name="Tejada, Carmen" userId="4e46fa0d-51a0-4b7a-a6a6-e5b06c9f6d76" providerId="ADAL" clId="{0973AC2B-7113-47FA-8755-F7B35E778DA0}" dt="2023-02-16T10:29:52.090" v="3219" actId="1076"/>
          <ac:cxnSpMkLst>
            <pc:docMk/>
            <pc:sldMk cId="3917067351" sldId="2147471512"/>
            <ac:cxnSpMk id="29" creationId="{7E6491EE-65FB-4003-9806-669CA831867B}"/>
          </ac:cxnSpMkLst>
        </pc:cxnChg>
      </pc:sldChg>
      <pc:sldChg chg="addSp delSp modSp mod ord">
        <pc:chgData name="Tejada, Carmen" userId="4e46fa0d-51a0-4b7a-a6a6-e5b06c9f6d76" providerId="ADAL" clId="{0973AC2B-7113-47FA-8755-F7B35E778DA0}" dt="2023-02-16T15:33:33.390" v="4959"/>
        <pc:sldMkLst>
          <pc:docMk/>
          <pc:sldMk cId="3103130812" sldId="2147471531"/>
        </pc:sldMkLst>
        <pc:spChg chg="del">
          <ac:chgData name="Tejada, Carmen" userId="4e46fa0d-51a0-4b7a-a6a6-e5b06c9f6d76" providerId="ADAL" clId="{0973AC2B-7113-47FA-8755-F7B35E778DA0}" dt="2023-02-16T10:30:04.661" v="3220" actId="478"/>
          <ac:spMkLst>
            <pc:docMk/>
            <pc:sldMk cId="3103130812" sldId="2147471531"/>
            <ac:spMk id="379" creationId="{2E07898D-A699-49C2-B7AC-69E339CBCBD3}"/>
          </ac:spMkLst>
        </pc:spChg>
        <pc:spChg chg="del">
          <ac:chgData name="Tejada, Carmen" userId="4e46fa0d-51a0-4b7a-a6a6-e5b06c9f6d76" providerId="ADAL" clId="{0973AC2B-7113-47FA-8755-F7B35E778DA0}" dt="2023-02-16T10:30:30.609" v="3239" actId="478"/>
          <ac:spMkLst>
            <pc:docMk/>
            <pc:sldMk cId="3103130812" sldId="2147471531"/>
            <ac:spMk id="382" creationId="{20049A6F-881A-4F7E-87B8-A1A25303A1BC}"/>
          </ac:spMkLst>
        </pc:spChg>
        <pc:spChg chg="add mod">
          <ac:chgData name="Tejada, Carmen" userId="4e46fa0d-51a0-4b7a-a6a6-e5b06c9f6d76" providerId="ADAL" clId="{0973AC2B-7113-47FA-8755-F7B35E778DA0}" dt="2023-02-16T10:30:24.958" v="3238" actId="404"/>
          <ac:spMkLst>
            <pc:docMk/>
            <pc:sldMk cId="3103130812" sldId="2147471531"/>
            <ac:spMk id="383" creationId="{ACB0A5FB-59D8-4873-A039-DC2794F3BB9F}"/>
          </ac:spMkLst>
        </pc:spChg>
        <pc:spChg chg="add mod">
          <ac:chgData name="Tejada, Carmen" userId="4e46fa0d-51a0-4b7a-a6a6-e5b06c9f6d76" providerId="ADAL" clId="{0973AC2B-7113-47FA-8755-F7B35E778DA0}" dt="2023-02-16T10:30:05.325" v="3221"/>
          <ac:spMkLst>
            <pc:docMk/>
            <pc:sldMk cId="3103130812" sldId="2147471531"/>
            <ac:spMk id="384" creationId="{35FEB20C-2156-4DAC-BC2C-E5A62D2C6986}"/>
          </ac:spMkLst>
        </pc:spChg>
        <pc:spChg chg="add mod">
          <ac:chgData name="Tejada, Carmen" userId="4e46fa0d-51a0-4b7a-a6a6-e5b06c9f6d76" providerId="ADAL" clId="{0973AC2B-7113-47FA-8755-F7B35E778DA0}" dt="2023-02-16T10:31:09.304" v="3267" actId="20577"/>
          <ac:spMkLst>
            <pc:docMk/>
            <pc:sldMk cId="3103130812" sldId="2147471531"/>
            <ac:spMk id="385" creationId="{8C1F1E42-6B3D-46E6-B43B-D884BE8DF94C}"/>
          </ac:spMkLst>
        </pc:spChg>
      </pc:sldChg>
      <pc:sldChg chg="modSp add mod">
        <pc:chgData name="Tejada, Carmen" userId="4e46fa0d-51a0-4b7a-a6a6-e5b06c9f6d76" providerId="ADAL" clId="{0973AC2B-7113-47FA-8755-F7B35E778DA0}" dt="2023-02-16T08:44:28.699" v="2890" actId="207"/>
        <pc:sldMkLst>
          <pc:docMk/>
          <pc:sldMk cId="2129618377" sldId="2147471532"/>
        </pc:sldMkLst>
        <pc:spChg chg="mod">
          <ac:chgData name="Tejada, Carmen" userId="4e46fa0d-51a0-4b7a-a6a6-e5b06c9f6d76" providerId="ADAL" clId="{0973AC2B-7113-47FA-8755-F7B35E778DA0}" dt="2023-02-16T08:44:18.268" v="2882" actId="948"/>
          <ac:spMkLst>
            <pc:docMk/>
            <pc:sldMk cId="2129618377" sldId="2147471532"/>
            <ac:spMk id="3" creationId="{CB5D5DA1-DACE-4236-B2A5-D674B23E4F3E}"/>
          </ac:spMkLst>
        </pc:spChg>
        <pc:spChg chg="mod">
          <ac:chgData name="Tejada, Carmen" userId="4e46fa0d-51a0-4b7a-a6a6-e5b06c9f6d76" providerId="ADAL" clId="{0973AC2B-7113-47FA-8755-F7B35E778DA0}" dt="2023-02-16T08:44:28.699" v="2890" actId="207"/>
          <ac:spMkLst>
            <pc:docMk/>
            <pc:sldMk cId="2129618377" sldId="2147471532"/>
            <ac:spMk id="9" creationId="{6E939B1C-B629-486C-A94D-A6F4822083C0}"/>
          </ac:spMkLst>
        </pc:spChg>
        <pc:graphicFrameChg chg="mod">
          <ac:chgData name="Tejada, Carmen" userId="4e46fa0d-51a0-4b7a-a6a6-e5b06c9f6d76" providerId="ADAL" clId="{0973AC2B-7113-47FA-8755-F7B35E778DA0}" dt="2023-02-16T08:44:18.312" v="2885"/>
          <ac:graphicFrameMkLst>
            <pc:docMk/>
            <pc:sldMk cId="2129618377" sldId="2147471532"/>
            <ac:graphicFrameMk id="2" creationId="{FF35952B-7D58-4000-B955-05395328737C}"/>
          </ac:graphicFrameMkLst>
        </pc:graphicFrameChg>
      </pc:sldChg>
      <pc:sldChg chg="modSp add mod">
        <pc:chgData name="Tejada, Carmen" userId="4e46fa0d-51a0-4b7a-a6a6-e5b06c9f6d76" providerId="ADAL" clId="{0973AC2B-7113-47FA-8755-F7B35E778DA0}" dt="2023-02-16T08:44:51.218" v="2899" actId="20577"/>
        <pc:sldMkLst>
          <pc:docMk/>
          <pc:sldMk cId="2099711459" sldId="2147471533"/>
        </pc:sldMkLst>
        <pc:spChg chg="mod">
          <ac:chgData name="Tejada, Carmen" userId="4e46fa0d-51a0-4b7a-a6a6-e5b06c9f6d76" providerId="ADAL" clId="{0973AC2B-7113-47FA-8755-F7B35E778DA0}" dt="2023-02-16T08:44:51.218" v="2899" actId="20577"/>
          <ac:spMkLst>
            <pc:docMk/>
            <pc:sldMk cId="2099711459" sldId="2147471533"/>
            <ac:spMk id="9" creationId="{6E939B1C-B629-486C-A94D-A6F4822083C0}"/>
          </ac:spMkLst>
        </pc:spChg>
      </pc:sldChg>
      <pc:sldChg chg="addSp delSp modSp add mod ord">
        <pc:chgData name="Tejada, Carmen" userId="4e46fa0d-51a0-4b7a-a6a6-e5b06c9f6d76" providerId="ADAL" clId="{0973AC2B-7113-47FA-8755-F7B35E778DA0}" dt="2023-02-23T09:29:31.927" v="5615" actId="14100"/>
        <pc:sldMkLst>
          <pc:docMk/>
          <pc:sldMk cId="2642771562" sldId="2147471534"/>
        </pc:sldMkLst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3" creationId="{70E5FD42-0776-4C89-BCA4-60BEBD028CFD}"/>
          </ac:spMkLst>
        </pc:spChg>
        <pc:spChg chg="mod">
          <ac:chgData name="Tejada, Carmen" userId="4e46fa0d-51a0-4b7a-a6a6-e5b06c9f6d76" providerId="ADAL" clId="{0973AC2B-7113-47FA-8755-F7B35E778DA0}" dt="2023-02-16T10:55:34.155" v="3947" actId="1076"/>
          <ac:spMkLst>
            <pc:docMk/>
            <pc:sldMk cId="2642771562" sldId="2147471534"/>
            <ac:spMk id="5" creationId="{793B441E-A7FA-49AD-BB3F-DE529D18ECD5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7" creationId="{97AF4AAC-0660-4130-88A5-E1CA15F0531B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10" creationId="{17DCF780-8536-46B9-9F31-FC94D0701C58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11" creationId="{41A24CCF-5846-418C-BA20-8D417AF4520C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12" creationId="{07685A7A-DDA0-42EC-9035-C7FF3785C4C5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13" creationId="{1FC6C925-3E14-44CF-B998-F3EA257AEE54}"/>
          </ac:spMkLst>
        </pc:spChg>
        <pc:spChg chg="add del mod">
          <ac:chgData name="Tejada, Carmen" userId="4e46fa0d-51a0-4b7a-a6a6-e5b06c9f6d76" providerId="ADAL" clId="{0973AC2B-7113-47FA-8755-F7B35E778DA0}" dt="2023-02-16T10:49:37.928" v="3882" actId="478"/>
          <ac:spMkLst>
            <pc:docMk/>
            <pc:sldMk cId="2642771562" sldId="2147471534"/>
            <ac:spMk id="14" creationId="{36CA5F10-0015-492A-AB6C-E59704C882C6}"/>
          </ac:spMkLst>
        </pc:spChg>
        <pc:spChg chg="add mod">
          <ac:chgData name="Tejada, Carmen" userId="4e46fa0d-51a0-4b7a-a6a6-e5b06c9f6d76" providerId="ADAL" clId="{0973AC2B-7113-47FA-8755-F7B35E778DA0}" dt="2023-02-22T13:00:20.330" v="5610" actId="114"/>
          <ac:spMkLst>
            <pc:docMk/>
            <pc:sldMk cId="2642771562" sldId="2147471534"/>
            <ac:spMk id="14" creationId="{B8E3580F-00BB-463F-B449-8DDE39D99CC7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18" creationId="{2EFCBE25-83AA-4B8A-BE58-5FEA0271333D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21" creationId="{0BA1B85E-11BC-4688-8CAB-3B4FA4CAACB9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23" creationId="{F2E40CD1-16F7-4218-8EAF-011600A0B277}"/>
          </ac:spMkLst>
        </pc:spChg>
        <pc:spChg chg="del mod">
          <ac:chgData name="Tejada, Carmen" userId="4e46fa0d-51a0-4b7a-a6a6-e5b06c9f6d76" providerId="ADAL" clId="{0973AC2B-7113-47FA-8755-F7B35E778DA0}" dt="2023-02-16T10:34:05.101" v="3319" actId="478"/>
          <ac:spMkLst>
            <pc:docMk/>
            <pc:sldMk cId="2642771562" sldId="2147471534"/>
            <ac:spMk id="26" creationId="{931BA5BC-AEAB-4D4C-AC84-3A7115FEA025}"/>
          </ac:spMkLst>
        </pc:spChg>
        <pc:spChg chg="mod">
          <ac:chgData name="Tejada, Carmen" userId="4e46fa0d-51a0-4b7a-a6a6-e5b06c9f6d76" providerId="ADAL" clId="{0973AC2B-7113-47FA-8755-F7B35E778DA0}" dt="2023-02-16T10:55:25.449" v="3944" actId="1076"/>
          <ac:spMkLst>
            <pc:docMk/>
            <pc:sldMk cId="2642771562" sldId="2147471534"/>
            <ac:spMk id="27" creationId="{92EF9D24-DE8B-421D-AB1E-2502C940C044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28" creationId="{28E8B7FD-2C13-4CAE-B7BB-220395E59A4E}"/>
          </ac:spMkLst>
        </pc:spChg>
        <pc:spChg chg="mod">
          <ac:chgData name="Tejada, Carmen" userId="4e46fa0d-51a0-4b7a-a6a6-e5b06c9f6d76" providerId="ADAL" clId="{0973AC2B-7113-47FA-8755-F7B35E778DA0}" dt="2023-02-16T10:54:57.128" v="3941" actId="14100"/>
          <ac:spMkLst>
            <pc:docMk/>
            <pc:sldMk cId="2642771562" sldId="2147471534"/>
            <ac:spMk id="29" creationId="{6052333B-8C71-49A0-8405-FECD1793CD2D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31" creationId="{C60BE094-E73E-4D96-BC41-31C9C150220E}"/>
          </ac:spMkLst>
        </pc:spChg>
        <pc:spChg chg="del mod">
          <ac:chgData name="Tejada, Carmen" userId="4e46fa0d-51a0-4b7a-a6a6-e5b06c9f6d76" providerId="ADAL" clId="{0973AC2B-7113-47FA-8755-F7B35E778DA0}" dt="2023-02-16T10:34:06.278" v="3320" actId="478"/>
          <ac:spMkLst>
            <pc:docMk/>
            <pc:sldMk cId="2642771562" sldId="2147471534"/>
            <ac:spMk id="33" creationId="{27DF60ED-50FB-413F-84EE-AC33E36F9D41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36" creationId="{54D15F65-8064-4FEB-8C25-B163D3BF6FE5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37" creationId="{5F481878-00E0-4902-A101-A4B716807EB4}"/>
          </ac:spMkLst>
        </pc:spChg>
        <pc:spChg chg="mod">
          <ac:chgData name="Tejada, Carmen" userId="4e46fa0d-51a0-4b7a-a6a6-e5b06c9f6d76" providerId="ADAL" clId="{0973AC2B-7113-47FA-8755-F7B35E778DA0}" dt="2023-02-16T10:54:55.029" v="3938" actId="1076"/>
          <ac:spMkLst>
            <pc:docMk/>
            <pc:sldMk cId="2642771562" sldId="2147471534"/>
            <ac:spMk id="38" creationId="{49ED8644-E487-4060-8707-80620298C4A1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39" creationId="{9B278E25-DDD0-428B-A9DF-B5B224A3A796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40" creationId="{225AE903-0496-40E9-B86B-F940CFAB3923}"/>
          </ac:spMkLst>
        </pc:spChg>
        <pc:spChg chg="mod">
          <ac:chgData name="Tejada, Carmen" userId="4e46fa0d-51a0-4b7a-a6a6-e5b06c9f6d76" providerId="ADAL" clId="{0973AC2B-7113-47FA-8755-F7B35E778DA0}" dt="2023-02-16T10:34:35.263" v="3450" actId="1036"/>
          <ac:spMkLst>
            <pc:docMk/>
            <pc:sldMk cId="2642771562" sldId="2147471534"/>
            <ac:spMk id="41" creationId="{5D46BD6C-96C0-4F2D-AE10-AD5865B871E0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42" creationId="{E16742D3-415E-4EB0-AB72-4B95FB3BCF41}"/>
          </ac:spMkLst>
        </pc:spChg>
        <pc:spChg chg="mod">
          <ac:chgData name="Tejada, Carmen" userId="4e46fa0d-51a0-4b7a-a6a6-e5b06c9f6d76" providerId="ADAL" clId="{0973AC2B-7113-47FA-8755-F7B35E778DA0}" dt="2023-02-23T09:29:31.927" v="5615" actId="14100"/>
          <ac:spMkLst>
            <pc:docMk/>
            <pc:sldMk cId="2642771562" sldId="2147471534"/>
            <ac:spMk id="43" creationId="{00D14504-182C-4836-ACDC-42B346D5EF0B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44" creationId="{520BBBEB-C59A-4EEE-B691-70F18C1E464B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45" creationId="{B4C665C6-E3FC-4EF8-9EBE-50FB12B64DEB}"/>
          </ac:spMkLst>
        </pc:spChg>
        <pc:spChg chg="mod">
          <ac:chgData name="Tejada, Carmen" userId="4e46fa0d-51a0-4b7a-a6a6-e5b06c9f6d76" providerId="ADAL" clId="{0973AC2B-7113-47FA-8755-F7B35E778DA0}" dt="2023-02-16T10:36:17.242" v="3563" actId="14100"/>
          <ac:spMkLst>
            <pc:docMk/>
            <pc:sldMk cId="2642771562" sldId="2147471534"/>
            <ac:spMk id="46" creationId="{1A82FE8E-4DC3-420E-95EB-150FF21502DF}"/>
          </ac:spMkLst>
        </pc:spChg>
        <pc:spChg chg="mod">
          <ac:chgData name="Tejada, Carmen" userId="4e46fa0d-51a0-4b7a-a6a6-e5b06c9f6d76" providerId="ADAL" clId="{0973AC2B-7113-47FA-8755-F7B35E778DA0}" dt="2023-02-16T10:34:35.263" v="3450" actId="1036"/>
          <ac:spMkLst>
            <pc:docMk/>
            <pc:sldMk cId="2642771562" sldId="2147471534"/>
            <ac:spMk id="47" creationId="{1F11478E-48F7-4A79-96D0-CB5466D90AFA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48" creationId="{19A339F4-EF1A-4B45-9E07-42B0CD7FDF0B}"/>
          </ac:spMkLst>
        </pc:spChg>
        <pc:spChg chg="mod">
          <ac:chgData name="Tejada, Carmen" userId="4e46fa0d-51a0-4b7a-a6a6-e5b06c9f6d76" providerId="ADAL" clId="{0973AC2B-7113-47FA-8755-F7B35E778DA0}" dt="2023-02-16T10:49:51.363" v="3883" actId="1076"/>
          <ac:spMkLst>
            <pc:docMk/>
            <pc:sldMk cId="2642771562" sldId="2147471534"/>
            <ac:spMk id="49" creationId="{024089FD-AC3B-49A2-B982-81F1FBD9A5B7}"/>
          </ac:spMkLst>
        </pc:spChg>
        <pc:spChg chg="mod">
          <ac:chgData name="Tejada, Carmen" userId="4e46fa0d-51a0-4b7a-a6a6-e5b06c9f6d76" providerId="ADAL" clId="{0973AC2B-7113-47FA-8755-F7B35E778DA0}" dt="2023-02-16T10:49:51.363" v="3883" actId="1076"/>
          <ac:spMkLst>
            <pc:docMk/>
            <pc:sldMk cId="2642771562" sldId="2147471534"/>
            <ac:spMk id="50" creationId="{7A2158D1-0904-4EF2-8B22-E07ECDA182B0}"/>
          </ac:spMkLst>
        </pc:spChg>
        <pc:spChg chg="mod">
          <ac:chgData name="Tejada, Carmen" userId="4e46fa0d-51a0-4b7a-a6a6-e5b06c9f6d76" providerId="ADAL" clId="{0973AC2B-7113-47FA-8755-F7B35E778DA0}" dt="2023-02-16T10:55:04.510" v="3942" actId="20577"/>
          <ac:spMkLst>
            <pc:docMk/>
            <pc:sldMk cId="2642771562" sldId="2147471534"/>
            <ac:spMk id="51" creationId="{D04B3D25-495A-4FBF-A497-63A1C8782F53}"/>
          </ac:spMkLst>
        </pc:spChg>
        <pc:spChg chg="del mod">
          <ac:chgData name="Tejada, Carmen" userId="4e46fa0d-51a0-4b7a-a6a6-e5b06c9f6d76" providerId="ADAL" clId="{0973AC2B-7113-47FA-8755-F7B35E778DA0}" dt="2023-02-16T10:34:03.943" v="3318" actId="478"/>
          <ac:spMkLst>
            <pc:docMk/>
            <pc:sldMk cId="2642771562" sldId="2147471534"/>
            <ac:spMk id="53" creationId="{A9759650-433C-4AF7-B10C-4AF66F7B1566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55" creationId="{C1F95E96-4E90-4A1A-A8C5-A87BF839BC59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58" creationId="{59E6F6D0-1E16-49FE-9D70-19C757D1C660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59" creationId="{09CF5F08-36B8-420A-979C-FF113DE6B273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61" creationId="{48D788AA-2198-48F7-9ED8-8BFC468D5AE5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62" creationId="{A02D33AB-4DE9-4C21-89D4-6E328FC16478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64" creationId="{89D2A553-3E4B-4CD0-A705-7EF469E43629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66" creationId="{38587CB7-2257-4CCC-A6F6-647704F5B587}"/>
          </ac:spMkLst>
        </pc:spChg>
        <pc:spChg chg="mod">
          <ac:chgData name="Tejada, Carmen" userId="4e46fa0d-51a0-4b7a-a6a6-e5b06c9f6d76" providerId="ADAL" clId="{0973AC2B-7113-47FA-8755-F7B35E778DA0}" dt="2023-02-16T10:48:58.505" v="3874" actId="14100"/>
          <ac:spMkLst>
            <pc:docMk/>
            <pc:sldMk cId="2642771562" sldId="2147471534"/>
            <ac:spMk id="67" creationId="{DAAFAD23-0762-4EA1-ACBB-71AD09EE87BD}"/>
          </ac:spMkLst>
        </pc:spChg>
        <pc:spChg chg="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68" creationId="{2E18ADDF-63A2-4BA8-AAF0-EE18E0633730}"/>
          </ac:spMkLst>
        </pc:spChg>
        <pc:spChg chg="mod">
          <ac:chgData name="Tejada, Carmen" userId="4e46fa0d-51a0-4b7a-a6a6-e5b06c9f6d76" providerId="ADAL" clId="{0973AC2B-7113-47FA-8755-F7B35E778DA0}" dt="2023-02-16T10:34:00.714" v="3316"/>
          <ac:spMkLst>
            <pc:docMk/>
            <pc:sldMk cId="2642771562" sldId="2147471534"/>
            <ac:spMk id="70" creationId="{0E77A0E7-FB8C-4529-B10F-E8F1CA428D80}"/>
          </ac:spMkLst>
        </pc:spChg>
        <pc:spChg chg="add mod">
          <ac:chgData name="Tejada, Carmen" userId="4e46fa0d-51a0-4b7a-a6a6-e5b06c9f6d76" providerId="ADAL" clId="{0973AC2B-7113-47FA-8755-F7B35E778DA0}" dt="2023-02-22T12:57:57.797" v="5507" actId="1038"/>
          <ac:spMkLst>
            <pc:docMk/>
            <pc:sldMk cId="2642771562" sldId="2147471534"/>
            <ac:spMk id="72" creationId="{BFFDA6BD-96D6-4D7E-917F-0D1E5540F21A}"/>
          </ac:spMkLst>
        </pc:spChg>
        <pc:spChg chg="add mod">
          <ac:chgData name="Tejada, Carmen" userId="4e46fa0d-51a0-4b7a-a6a6-e5b06c9f6d76" providerId="ADAL" clId="{0973AC2B-7113-47FA-8755-F7B35E778DA0}" dt="2023-02-16T10:35:36.981" v="3560" actId="14100"/>
          <ac:spMkLst>
            <pc:docMk/>
            <pc:sldMk cId="2642771562" sldId="2147471534"/>
            <ac:spMk id="73" creationId="{05B922BB-CDEC-47C6-B136-2F2485B0552A}"/>
          </ac:spMkLst>
        </pc:spChg>
        <pc:spChg chg="add mod">
          <ac:chgData name="Tejada, Carmen" userId="4e46fa0d-51a0-4b7a-a6a6-e5b06c9f6d76" providerId="ADAL" clId="{0973AC2B-7113-47FA-8755-F7B35E778DA0}" dt="2023-02-16T10:55:38.991" v="3948" actId="1076"/>
          <ac:spMkLst>
            <pc:docMk/>
            <pc:sldMk cId="2642771562" sldId="2147471534"/>
            <ac:spMk id="74" creationId="{5F38E3CB-CFF3-46E1-9FF3-696936D44B57}"/>
          </ac:spMkLst>
        </pc:spChg>
        <pc:spChg chg="add mod">
          <ac:chgData name="Tejada, Carmen" userId="4e46fa0d-51a0-4b7a-a6a6-e5b06c9f6d76" providerId="ADAL" clId="{0973AC2B-7113-47FA-8755-F7B35E778DA0}" dt="2023-02-16T10:55:31.381" v="3946" actId="1076"/>
          <ac:spMkLst>
            <pc:docMk/>
            <pc:sldMk cId="2642771562" sldId="2147471534"/>
            <ac:spMk id="75" creationId="{BB886E92-470B-4FC4-9A1E-538F4F80EBB8}"/>
          </ac:spMkLst>
        </pc:spChg>
        <pc:spChg chg="add del mod">
          <ac:chgData name="Tejada, Carmen" userId="4e46fa0d-51a0-4b7a-a6a6-e5b06c9f6d76" providerId="ADAL" clId="{0973AC2B-7113-47FA-8755-F7B35E778DA0}" dt="2023-02-16T10:55:47.098" v="3950" actId="478"/>
          <ac:spMkLst>
            <pc:docMk/>
            <pc:sldMk cId="2642771562" sldId="2147471534"/>
            <ac:spMk id="76" creationId="{EC818FD3-0F78-4B1E-A0B3-2184DBB53257}"/>
          </ac:spMkLst>
        </pc:spChg>
        <pc:spChg chg="add del mod">
          <ac:chgData name="Tejada, Carmen" userId="4e46fa0d-51a0-4b7a-a6a6-e5b06c9f6d76" providerId="ADAL" clId="{0973AC2B-7113-47FA-8755-F7B35E778DA0}" dt="2023-02-16T15:35:26.698" v="4964" actId="478"/>
          <ac:spMkLst>
            <pc:docMk/>
            <pc:sldMk cId="2642771562" sldId="2147471534"/>
            <ac:spMk id="86" creationId="{E91317B3-3E3E-4F63-99F5-43E929028964}"/>
          </ac:spMkLst>
        </pc:spChg>
        <pc:grpChg chg="mod">
          <ac:chgData name="Tejada, Carmen" userId="4e46fa0d-51a0-4b7a-a6a6-e5b06c9f6d76" providerId="ADAL" clId="{0973AC2B-7113-47FA-8755-F7B35E778DA0}" dt="2023-02-16T10:34:00.714" v="3316"/>
          <ac:grpSpMkLst>
            <pc:docMk/>
            <pc:sldMk cId="2642771562" sldId="2147471534"/>
            <ac:grpSpMk id="1" creationId="{00000000-0000-0000-0000-000000000000}"/>
          </ac:grpSpMkLst>
        </pc:grpChg>
        <pc:grpChg chg="mod">
          <ac:chgData name="Tejada, Carmen" userId="4e46fa0d-51a0-4b7a-a6a6-e5b06c9f6d76" providerId="ADAL" clId="{0973AC2B-7113-47FA-8755-F7B35E778DA0}" dt="2023-02-16T10:49:51.363" v="3883" actId="1076"/>
          <ac:grpSpMkLst>
            <pc:docMk/>
            <pc:sldMk cId="2642771562" sldId="2147471534"/>
            <ac:grpSpMk id="9" creationId="{98641B23-409C-41BB-AB2E-39E5D9E862B0}"/>
          </ac:grpSpMkLst>
        </pc:grpChg>
        <pc:graphicFrameChg chg="mod">
          <ac:chgData name="Tejada, Carmen" userId="4e46fa0d-51a0-4b7a-a6a6-e5b06c9f6d76" providerId="ADAL" clId="{0973AC2B-7113-47FA-8755-F7B35E778DA0}" dt="2023-02-16T10:34:00.714" v="3316"/>
          <ac:graphicFrameMkLst>
            <pc:docMk/>
            <pc:sldMk cId="2642771562" sldId="2147471534"/>
            <ac:graphicFrameMk id="6" creationId="{45B249BA-954E-43DA-94E9-E6B2DCB3EB76}"/>
          </ac:graphicFrameMkLst>
        </pc:graphicFrameChg>
        <pc:graphicFrameChg chg="mod">
          <ac:chgData name="Tejada, Carmen" userId="4e46fa0d-51a0-4b7a-a6a6-e5b06c9f6d76" providerId="ADAL" clId="{0973AC2B-7113-47FA-8755-F7B35E778DA0}" dt="2023-02-16T10:34:00.714" v="3316"/>
          <ac:graphicFrameMkLst>
            <pc:docMk/>
            <pc:sldMk cId="2642771562" sldId="2147471534"/>
            <ac:graphicFrameMk id="8" creationId="{7654D579-2346-48CB-B5DC-D6C04BAAFE1A}"/>
          </ac:graphicFrameMkLst>
        </pc:graphicFrameChg>
        <pc:picChg chg="add del mod">
          <ac:chgData name="Tejada, Carmen" userId="4e46fa0d-51a0-4b7a-a6a6-e5b06c9f6d76" providerId="ADAL" clId="{0973AC2B-7113-47FA-8755-F7B35E778DA0}" dt="2023-02-16T11:05:00.781" v="4024" actId="478"/>
          <ac:picMkLst>
            <pc:docMk/>
            <pc:sldMk cId="2642771562" sldId="2147471534"/>
            <ac:picMk id="2" creationId="{18945664-EED9-44BE-B41B-A9FBE3182945}"/>
          </ac:picMkLst>
        </pc:picChg>
        <pc:picChg chg="add del mod">
          <ac:chgData name="Tejada, Carmen" userId="4e46fa0d-51a0-4b7a-a6a6-e5b06c9f6d76" providerId="ADAL" clId="{0973AC2B-7113-47FA-8755-F7B35E778DA0}" dt="2023-02-16T10:50:56.676" v="3893" actId="478"/>
          <ac:picMkLst>
            <pc:docMk/>
            <pc:sldMk cId="2642771562" sldId="2147471534"/>
            <ac:picMk id="4" creationId="{93F9DF5F-1AE2-4DD5-9841-C3E254A2965C}"/>
          </ac:picMkLst>
        </pc:picChg>
        <pc:picChg chg="add mod">
          <ac:chgData name="Tejada, Carmen" userId="4e46fa0d-51a0-4b7a-a6a6-e5b06c9f6d76" providerId="ADAL" clId="{0973AC2B-7113-47FA-8755-F7B35E778DA0}" dt="2023-02-22T12:59:14.157" v="5565" actId="1036"/>
          <ac:picMkLst>
            <pc:docMk/>
            <pc:sldMk cId="2642771562" sldId="2147471534"/>
            <ac:picMk id="4" creationId="{AED6BCC4-38C6-4AB6-A38F-721D1EC16586}"/>
          </ac:picMkLst>
        </pc:picChg>
        <pc:picChg chg="add mod">
          <ac:chgData name="Tejada, Carmen" userId="4e46fa0d-51a0-4b7a-a6a6-e5b06c9f6d76" providerId="ADAL" clId="{0973AC2B-7113-47FA-8755-F7B35E778DA0}" dt="2023-02-16T10:51:11.200" v="3898" actId="1076"/>
          <ac:picMkLst>
            <pc:docMk/>
            <pc:sldMk cId="2642771562" sldId="2147471534"/>
            <ac:picMk id="15" creationId="{277F14CB-10C4-4015-BDE5-ECCD7510D1EC}"/>
          </ac:picMkLst>
        </pc:picChg>
        <pc:picChg chg="add del mod">
          <ac:chgData name="Tejada, Carmen" userId="4e46fa0d-51a0-4b7a-a6a6-e5b06c9f6d76" providerId="ADAL" clId="{0973AC2B-7113-47FA-8755-F7B35E778DA0}" dt="2023-02-16T11:03:37.205" v="4018" actId="478"/>
          <ac:picMkLst>
            <pc:docMk/>
            <pc:sldMk cId="2642771562" sldId="2147471534"/>
            <ac:picMk id="16" creationId="{9B4DC2E5-2171-4CA0-BDDB-882DEF66D051}"/>
          </ac:picMkLst>
        </pc:picChg>
        <pc:picChg chg="add del mod">
          <ac:chgData name="Tejada, Carmen" userId="4e46fa0d-51a0-4b7a-a6a6-e5b06c9f6d76" providerId="ADAL" clId="{0973AC2B-7113-47FA-8755-F7B35E778DA0}" dt="2023-02-16T11:06:06.474" v="4033" actId="478"/>
          <ac:picMkLst>
            <pc:docMk/>
            <pc:sldMk cId="2642771562" sldId="2147471534"/>
            <ac:picMk id="17" creationId="{DF4653E2-8F0D-46B6-A9B5-CA4598B8F326}"/>
          </ac:picMkLst>
        </pc:picChg>
        <pc:picChg chg="add del mod">
          <ac:chgData name="Tejada, Carmen" userId="4e46fa0d-51a0-4b7a-a6a6-e5b06c9f6d76" providerId="ADAL" clId="{0973AC2B-7113-47FA-8755-F7B35E778DA0}" dt="2023-02-16T11:07:14.697" v="4040" actId="478"/>
          <ac:picMkLst>
            <pc:docMk/>
            <pc:sldMk cId="2642771562" sldId="2147471534"/>
            <ac:picMk id="19" creationId="{DA5BA5D8-5767-4FFB-BA3A-0954B9540904}"/>
          </ac:picMkLst>
        </pc:picChg>
        <pc:picChg chg="add del">
          <ac:chgData name="Tejada, Carmen" userId="4e46fa0d-51a0-4b7a-a6a6-e5b06c9f6d76" providerId="ADAL" clId="{0973AC2B-7113-47FA-8755-F7B35E778DA0}" dt="2023-02-16T10:57:05.139" v="3960" actId="478"/>
          <ac:picMkLst>
            <pc:docMk/>
            <pc:sldMk cId="2642771562" sldId="2147471534"/>
            <ac:picMk id="20" creationId="{68334A4A-329D-4C9A-8619-CDA3AAB187A8}"/>
          </ac:picMkLst>
        </pc:picChg>
        <pc:picChg chg="add del">
          <ac:chgData name="Tejada, Carmen" userId="4e46fa0d-51a0-4b7a-a6a6-e5b06c9f6d76" providerId="ADAL" clId="{0973AC2B-7113-47FA-8755-F7B35E778DA0}" dt="2023-02-16T10:57:47.170" v="3962" actId="478"/>
          <ac:picMkLst>
            <pc:docMk/>
            <pc:sldMk cId="2642771562" sldId="2147471534"/>
            <ac:picMk id="24" creationId="{C5A8D712-EAA2-4318-B12D-102BF4726B10}"/>
          </ac:picMkLst>
        </pc:picChg>
        <pc:picChg chg="add del mod">
          <ac:chgData name="Tejada, Carmen" userId="4e46fa0d-51a0-4b7a-a6a6-e5b06c9f6d76" providerId="ADAL" clId="{0973AC2B-7113-47FA-8755-F7B35E778DA0}" dt="2023-02-16T11:08:21.807" v="4047" actId="478"/>
          <ac:picMkLst>
            <pc:docMk/>
            <pc:sldMk cId="2642771562" sldId="2147471534"/>
            <ac:picMk id="25" creationId="{315EB12A-E429-4407-AD3C-6E058371D0E4}"/>
          </ac:picMkLst>
        </pc:picChg>
        <pc:picChg chg="add del mod">
          <ac:chgData name="Tejada, Carmen" userId="4e46fa0d-51a0-4b7a-a6a6-e5b06c9f6d76" providerId="ADAL" clId="{0973AC2B-7113-47FA-8755-F7B35E778DA0}" dt="2023-02-16T11:08:43.811" v="4052" actId="478"/>
          <ac:picMkLst>
            <pc:docMk/>
            <pc:sldMk cId="2642771562" sldId="2147471534"/>
            <ac:picMk id="30" creationId="{070AC8A2-8C3A-4564-A199-9E089A8C82B7}"/>
          </ac:picMkLst>
        </pc:picChg>
        <pc:picChg chg="add del mod">
          <ac:chgData name="Tejada, Carmen" userId="4e46fa0d-51a0-4b7a-a6a6-e5b06c9f6d76" providerId="ADAL" clId="{0973AC2B-7113-47FA-8755-F7B35E778DA0}" dt="2023-02-16T11:09:25.686" v="4058" actId="478"/>
          <ac:picMkLst>
            <pc:docMk/>
            <pc:sldMk cId="2642771562" sldId="2147471534"/>
            <ac:picMk id="32" creationId="{FBA0D271-072F-4279-955D-24125EB1494D}"/>
          </ac:picMkLst>
        </pc:picChg>
        <pc:picChg chg="add del">
          <ac:chgData name="Tejada, Carmen" userId="4e46fa0d-51a0-4b7a-a6a6-e5b06c9f6d76" providerId="ADAL" clId="{0973AC2B-7113-47FA-8755-F7B35E778DA0}" dt="2023-02-16T11:00:51.462" v="3995" actId="478"/>
          <ac:picMkLst>
            <pc:docMk/>
            <pc:sldMk cId="2642771562" sldId="2147471534"/>
            <ac:picMk id="34" creationId="{943AF231-04C5-4F3D-81F3-AAA5E3D6E900}"/>
          </ac:picMkLst>
        </pc:picChg>
        <pc:picChg chg="add del mod">
          <ac:chgData name="Tejada, Carmen" userId="4e46fa0d-51a0-4b7a-a6a6-e5b06c9f6d76" providerId="ADAL" clId="{0973AC2B-7113-47FA-8755-F7B35E778DA0}" dt="2023-02-16T11:01:36.344" v="4003" actId="478"/>
          <ac:picMkLst>
            <pc:docMk/>
            <pc:sldMk cId="2642771562" sldId="2147471534"/>
            <ac:picMk id="35" creationId="{A45F7052-4A81-4785-A1B5-89C0E65ECD33}"/>
          </ac:picMkLst>
        </pc:picChg>
        <pc:picChg chg="del mod">
          <ac:chgData name="Tejada, Carmen" userId="4e46fa0d-51a0-4b7a-a6a6-e5b06c9f6d76" providerId="ADAL" clId="{0973AC2B-7113-47FA-8755-F7B35E778DA0}" dt="2023-02-16T10:34:02.617" v="3317" actId="478"/>
          <ac:picMkLst>
            <pc:docMk/>
            <pc:sldMk cId="2642771562" sldId="2147471534"/>
            <ac:picMk id="52" creationId="{D4FC9414-F9DE-491C-A443-AD6F1D6952FF}"/>
          </ac:picMkLst>
        </pc:picChg>
        <pc:picChg chg="del mod">
          <ac:chgData name="Tejada, Carmen" userId="4e46fa0d-51a0-4b7a-a6a6-e5b06c9f6d76" providerId="ADAL" clId="{0973AC2B-7113-47FA-8755-F7B35E778DA0}" dt="2023-02-16T10:48:07.576" v="3866" actId="478"/>
          <ac:picMkLst>
            <pc:docMk/>
            <pc:sldMk cId="2642771562" sldId="2147471534"/>
            <ac:picMk id="54" creationId="{4A2DC43E-409A-4AEB-87CE-E6BFD2E97856}"/>
          </ac:picMkLst>
        </pc:picChg>
        <pc:picChg chg="del mod">
          <ac:chgData name="Tejada, Carmen" userId="4e46fa0d-51a0-4b7a-a6a6-e5b06c9f6d76" providerId="ADAL" clId="{0973AC2B-7113-47FA-8755-F7B35E778DA0}" dt="2023-02-16T10:53:27.414" v="3919" actId="478"/>
          <ac:picMkLst>
            <pc:docMk/>
            <pc:sldMk cId="2642771562" sldId="2147471534"/>
            <ac:picMk id="56" creationId="{AB708523-F0EB-4FE2-9765-D9D9E576DD97}"/>
          </ac:picMkLst>
        </pc:picChg>
        <pc:picChg chg="del mod">
          <ac:chgData name="Tejada, Carmen" userId="4e46fa0d-51a0-4b7a-a6a6-e5b06c9f6d76" providerId="ADAL" clId="{0973AC2B-7113-47FA-8755-F7B35E778DA0}" dt="2023-02-16T10:52:19.968" v="3908" actId="478"/>
          <ac:picMkLst>
            <pc:docMk/>
            <pc:sldMk cId="2642771562" sldId="2147471534"/>
            <ac:picMk id="57" creationId="{AA466845-5FE6-4787-97C5-AB08C615B38C}"/>
          </ac:picMkLst>
        </pc:picChg>
        <pc:picChg chg="del mod">
          <ac:chgData name="Tejada, Carmen" userId="4e46fa0d-51a0-4b7a-a6a6-e5b06c9f6d76" providerId="ADAL" clId="{0973AC2B-7113-47FA-8755-F7B35E778DA0}" dt="2023-02-16T10:57:00.285" v="3958" actId="478"/>
          <ac:picMkLst>
            <pc:docMk/>
            <pc:sldMk cId="2642771562" sldId="2147471534"/>
            <ac:picMk id="60" creationId="{CFF95984-0777-48B2-B470-6B73A9BA3AB3}"/>
          </ac:picMkLst>
        </pc:picChg>
        <pc:picChg chg="del mod">
          <ac:chgData name="Tejada, Carmen" userId="4e46fa0d-51a0-4b7a-a6a6-e5b06c9f6d76" providerId="ADAL" clId="{0973AC2B-7113-47FA-8755-F7B35E778DA0}" dt="2023-02-16T10:58:20.461" v="3968" actId="478"/>
          <ac:picMkLst>
            <pc:docMk/>
            <pc:sldMk cId="2642771562" sldId="2147471534"/>
            <ac:picMk id="63" creationId="{CE139F4A-F273-4797-A9FA-CC5D6F8E4A24}"/>
          </ac:picMkLst>
        </pc:picChg>
        <pc:picChg chg="add mod">
          <ac:chgData name="Tejada, Carmen" userId="4e46fa0d-51a0-4b7a-a6a6-e5b06c9f6d76" providerId="ADAL" clId="{0973AC2B-7113-47FA-8755-F7B35E778DA0}" dt="2023-02-22T12:59:09.662" v="5561" actId="1035"/>
          <ac:picMkLst>
            <pc:docMk/>
            <pc:sldMk cId="2642771562" sldId="2147471534"/>
            <ac:picMk id="65" creationId="{5C8A1BF5-CD0B-47C0-B1FA-D62E225B4EBD}"/>
          </ac:picMkLst>
        </pc:picChg>
        <pc:picChg chg="del mod">
          <ac:chgData name="Tejada, Carmen" userId="4e46fa0d-51a0-4b7a-a6a6-e5b06c9f6d76" providerId="ADAL" clId="{0973AC2B-7113-47FA-8755-F7B35E778DA0}" dt="2023-02-16T10:59:46.729" v="3986" actId="478"/>
          <ac:picMkLst>
            <pc:docMk/>
            <pc:sldMk cId="2642771562" sldId="2147471534"/>
            <ac:picMk id="65" creationId="{E96B7C9C-B2EC-41BF-9F7C-4E7970B32BB8}"/>
          </ac:picMkLst>
        </pc:picChg>
        <pc:picChg chg="add mod">
          <ac:chgData name="Tejada, Carmen" userId="4e46fa0d-51a0-4b7a-a6a6-e5b06c9f6d76" providerId="ADAL" clId="{0973AC2B-7113-47FA-8755-F7B35E778DA0}" dt="2023-02-22T12:59:02.822" v="5550" actId="552"/>
          <ac:picMkLst>
            <pc:docMk/>
            <pc:sldMk cId="2642771562" sldId="2147471534"/>
            <ac:picMk id="69" creationId="{0699F5C1-1503-4BB5-94C5-908014CFFE31}"/>
          </ac:picMkLst>
        </pc:picChg>
        <pc:picChg chg="del mod">
          <ac:chgData name="Tejada, Carmen" userId="4e46fa0d-51a0-4b7a-a6a6-e5b06c9f6d76" providerId="ADAL" clId="{0973AC2B-7113-47FA-8755-F7B35E778DA0}" dt="2023-02-16T11:00:17.094" v="3993" actId="478"/>
          <ac:picMkLst>
            <pc:docMk/>
            <pc:sldMk cId="2642771562" sldId="2147471534"/>
            <ac:picMk id="69" creationId="{556A1969-9E10-4EFB-8A20-1FEFFD526273}"/>
          </ac:picMkLst>
        </pc:picChg>
        <pc:picChg chg="add del mod">
          <ac:chgData name="Tejada, Carmen" userId="4e46fa0d-51a0-4b7a-a6a6-e5b06c9f6d76" providerId="ADAL" clId="{0973AC2B-7113-47FA-8755-F7B35E778DA0}" dt="2023-02-16T10:51:27.095" v="3899" actId="478"/>
          <ac:picMkLst>
            <pc:docMk/>
            <pc:sldMk cId="2642771562" sldId="2147471534"/>
            <ac:picMk id="71" creationId="{B8D9E58A-BD3D-4834-A607-AE30CA7C9021}"/>
          </ac:picMkLst>
        </pc:picChg>
        <pc:picChg chg="add mod">
          <ac:chgData name="Tejada, Carmen" userId="4e46fa0d-51a0-4b7a-a6a6-e5b06c9f6d76" providerId="ADAL" clId="{0973AC2B-7113-47FA-8755-F7B35E778DA0}" dt="2023-02-22T13:00:01.190" v="5608" actId="1076"/>
          <ac:picMkLst>
            <pc:docMk/>
            <pc:sldMk cId="2642771562" sldId="2147471534"/>
            <ac:picMk id="71" creationId="{F12B4984-190D-4BEF-98A2-D0A77C66B05E}"/>
          </ac:picMkLst>
        </pc:picChg>
        <pc:picChg chg="add mod">
          <ac:chgData name="Tejada, Carmen" userId="4e46fa0d-51a0-4b7a-a6a6-e5b06c9f6d76" providerId="ADAL" clId="{0973AC2B-7113-47FA-8755-F7B35E778DA0}" dt="2023-02-16T11:01:31.953" v="4000"/>
          <ac:picMkLst>
            <pc:docMk/>
            <pc:sldMk cId="2642771562" sldId="2147471534"/>
            <ac:picMk id="77" creationId="{B8B247D9-9E6A-46F6-AC83-20C04085B716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78" creationId="{866B159A-A05F-4586-A6AF-8B8B92C9C65F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79" creationId="{1B230BCF-293A-4086-ABA6-2826C25C0984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0" creationId="{AFD52839-BE67-4AD6-B1DD-40D722BD5779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1" creationId="{32B920F4-B9EF-4245-8135-B229846B9417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2" creationId="{1393039B-C33D-49CF-868E-5177BE5FE38E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3" creationId="{829506D7-235D-45BC-AD71-1C376D06DBC4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4" creationId="{0F033DFF-F460-4D11-9A6A-BE66724D4D80}"/>
          </ac:picMkLst>
        </pc:picChg>
        <pc:picChg chg="add mod">
          <ac:chgData name="Tejada, Carmen" userId="4e46fa0d-51a0-4b7a-a6a6-e5b06c9f6d76" providerId="ADAL" clId="{0973AC2B-7113-47FA-8755-F7B35E778DA0}" dt="2023-02-22T12:57:57.797" v="5507" actId="1038"/>
          <ac:picMkLst>
            <pc:docMk/>
            <pc:sldMk cId="2642771562" sldId="2147471534"/>
            <ac:picMk id="85" creationId="{9759A512-6587-4FCE-9671-1793D305A85D}"/>
          </ac:picMkLst>
        </pc:picChg>
        <pc:cxnChg chg="mod">
          <ac:chgData name="Tejada, Carmen" userId="4e46fa0d-51a0-4b7a-a6a6-e5b06c9f6d76" providerId="ADAL" clId="{0973AC2B-7113-47FA-8755-F7B35E778DA0}" dt="2023-02-16T10:55:20.597" v="3943" actId="1076"/>
          <ac:cxnSpMkLst>
            <pc:docMk/>
            <pc:sldMk cId="2642771562" sldId="2147471534"/>
            <ac:cxnSpMk id="22" creationId="{153986CE-FB13-4F4D-91AA-6542B3434E88}"/>
          </ac:cxnSpMkLst>
        </pc:cxnChg>
      </pc:sldChg>
      <pc:sldChg chg="addSp modSp add mod">
        <pc:chgData name="Tejada, Carmen" userId="4e46fa0d-51a0-4b7a-a6a6-e5b06c9f6d76" providerId="ADAL" clId="{0973AC2B-7113-47FA-8755-F7B35E778DA0}" dt="2023-03-09T09:28:46.528" v="5692" actId="20577"/>
        <pc:sldMkLst>
          <pc:docMk/>
          <pc:sldMk cId="1307702577" sldId="2147471535"/>
        </pc:sldMkLst>
        <pc:spChg chg="mod">
          <ac:chgData name="Tejada, Carmen" userId="4e46fa0d-51a0-4b7a-a6a6-e5b06c9f6d76" providerId="ADAL" clId="{0973AC2B-7113-47FA-8755-F7B35E778DA0}" dt="2023-03-09T09:27:12.095" v="5676" actId="20577"/>
          <ac:spMkLst>
            <pc:docMk/>
            <pc:sldMk cId="1307702577" sldId="2147471535"/>
            <ac:spMk id="7" creationId="{97AF4AAC-0660-4130-88A5-E1CA15F0531B}"/>
          </ac:spMkLst>
        </pc:spChg>
        <pc:spChg chg="mod">
          <ac:chgData name="Tejada, Carmen" userId="4e46fa0d-51a0-4b7a-a6a6-e5b06c9f6d76" providerId="ADAL" clId="{0973AC2B-7113-47FA-8755-F7B35E778DA0}" dt="2023-03-09T09:26:28.454" v="5652" actId="207"/>
          <ac:spMkLst>
            <pc:docMk/>
            <pc:sldMk cId="1307702577" sldId="2147471535"/>
            <ac:spMk id="29" creationId="{6052333B-8C71-49A0-8405-FECD1793CD2D}"/>
          </ac:spMkLst>
        </pc:spChg>
        <pc:spChg chg="mod">
          <ac:chgData name="Tejada, Carmen" userId="4e46fa0d-51a0-4b7a-a6a6-e5b06c9f6d76" providerId="ADAL" clId="{0973AC2B-7113-47FA-8755-F7B35E778DA0}" dt="2023-03-09T09:26:40.924" v="5660" actId="20577"/>
          <ac:spMkLst>
            <pc:docMk/>
            <pc:sldMk cId="1307702577" sldId="2147471535"/>
            <ac:spMk id="51" creationId="{D04B3D25-495A-4FBF-A497-63A1C8782F53}"/>
          </ac:spMkLst>
        </pc:spChg>
        <pc:spChg chg="add mod">
          <ac:chgData name="Tejada, Carmen" userId="4e46fa0d-51a0-4b7a-a6a6-e5b06c9f6d76" providerId="ADAL" clId="{0973AC2B-7113-47FA-8755-F7B35E778DA0}" dt="2023-03-09T09:28:46.528" v="5692" actId="20577"/>
          <ac:spMkLst>
            <pc:docMk/>
            <pc:sldMk cId="1307702577" sldId="2147471535"/>
            <ac:spMk id="76" creationId="{8EA0653E-5044-4F30-8B57-025B616E46E6}"/>
          </ac:spMkLst>
        </pc:spChg>
        <pc:cxnChg chg="mod">
          <ac:chgData name="Tejada, Carmen" userId="4e46fa0d-51a0-4b7a-a6a6-e5b06c9f6d76" providerId="ADAL" clId="{0973AC2B-7113-47FA-8755-F7B35E778DA0}" dt="2023-03-09T09:26:17.697" v="5650" actId="1076"/>
          <ac:cxnSpMkLst>
            <pc:docMk/>
            <pc:sldMk cId="1307702577" sldId="2147471535"/>
            <ac:cxnSpMk id="22" creationId="{153986CE-FB13-4F4D-91AA-6542B3434E88}"/>
          </ac:cxnSpMkLst>
        </pc:cxnChg>
      </pc:sldChg>
      <pc:sldChg chg="modSp add del">
        <pc:chgData name="Tejada, Carmen" userId="4e46fa0d-51a0-4b7a-a6a6-e5b06c9f6d76" providerId="ADAL" clId="{0973AC2B-7113-47FA-8755-F7B35E778DA0}" dt="2023-02-16T10:45:14.649" v="3799" actId="47"/>
        <pc:sldMkLst>
          <pc:docMk/>
          <pc:sldMk cId="2654719708" sldId="2147471535"/>
        </pc:sldMkLst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5" creationId="{BAC065D2-3434-4774-900E-2C3961BBD4FB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11" creationId="{2A27C60C-C4C9-4705-839B-12415F91AF7E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19" creationId="{5025F30F-DC09-4EC0-9B8B-073A8C25FBAB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20" creationId="{57455D2A-0531-4BCB-ACC8-3185259D7390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22" creationId="{F7C83A7F-761A-4116-BCB9-A90646FCA973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23" creationId="{B6E5DCC1-6B2C-4A1A-9D2E-D432976D9616}"/>
          </ac:spMkLst>
        </pc:spChg>
        <pc:spChg chg="mod">
          <ac:chgData name="Tejada, Carmen" userId="4e46fa0d-51a0-4b7a-a6a6-e5b06c9f6d76" providerId="ADAL" clId="{0973AC2B-7113-47FA-8755-F7B35E778DA0}" dt="2023-02-16T10:42:17.525" v="3707"/>
          <ac:spMkLst>
            <pc:docMk/>
            <pc:sldMk cId="2654719708" sldId="2147471535"/>
            <ac:spMk id="29" creationId="{BF85E3C1-869F-46C7-A33B-F3FA030DA69F}"/>
          </ac:spMkLst>
        </pc:spChg>
        <pc:grpChg chg="mod">
          <ac:chgData name="Tejada, Carmen" userId="4e46fa0d-51a0-4b7a-a6a6-e5b06c9f6d76" providerId="ADAL" clId="{0973AC2B-7113-47FA-8755-F7B35E778DA0}" dt="2023-02-16T10:42:17.525" v="3707"/>
          <ac:grpSpMkLst>
            <pc:docMk/>
            <pc:sldMk cId="2654719708" sldId="2147471535"/>
            <ac:grpSpMk id="1" creationId="{00000000-0000-0000-0000-000000000000}"/>
          </ac:grpSpMkLst>
        </pc:grpChg>
        <pc:graphicFrameChg chg="mod">
          <ac:chgData name="Tejada, Carmen" userId="4e46fa0d-51a0-4b7a-a6a6-e5b06c9f6d76" providerId="ADAL" clId="{0973AC2B-7113-47FA-8755-F7B35E778DA0}" dt="2023-02-16T10:42:17.525" v="3707"/>
          <ac:graphicFrameMkLst>
            <pc:docMk/>
            <pc:sldMk cId="2654719708" sldId="2147471535"/>
            <ac:graphicFrameMk id="7" creationId="{F45C22BC-5AE8-42C9-B1BF-D49FCB8632EC}"/>
          </ac:graphicFrameMkLst>
        </pc:graphicFrameChg>
        <pc:graphicFrameChg chg="mod">
          <ac:chgData name="Tejada, Carmen" userId="4e46fa0d-51a0-4b7a-a6a6-e5b06c9f6d76" providerId="ADAL" clId="{0973AC2B-7113-47FA-8755-F7B35E778DA0}" dt="2023-02-16T10:42:17.525" v="3707"/>
          <ac:graphicFrameMkLst>
            <pc:docMk/>
            <pc:sldMk cId="2654719708" sldId="2147471535"/>
            <ac:graphicFrameMk id="10" creationId="{47B385B3-3E00-4238-95F5-1E3CA4F49941}"/>
          </ac:graphicFrameMkLst>
        </pc:graphicFrameChg>
        <pc:picChg chg="mod">
          <ac:chgData name="Tejada, Carmen" userId="4e46fa0d-51a0-4b7a-a6a6-e5b06c9f6d76" providerId="ADAL" clId="{0973AC2B-7113-47FA-8755-F7B35E778DA0}" dt="2023-02-16T10:42:17.525" v="3707"/>
          <ac:picMkLst>
            <pc:docMk/>
            <pc:sldMk cId="2654719708" sldId="2147471535"/>
            <ac:picMk id="4" creationId="{AE66AA66-CFA5-42A8-9076-D61FD8F5A188}"/>
          </ac:picMkLst>
        </pc:picChg>
        <pc:picChg chg="mod">
          <ac:chgData name="Tejada, Carmen" userId="4e46fa0d-51a0-4b7a-a6a6-e5b06c9f6d76" providerId="ADAL" clId="{0973AC2B-7113-47FA-8755-F7B35E778DA0}" dt="2023-02-16T10:42:17.525" v="3707"/>
          <ac:picMkLst>
            <pc:docMk/>
            <pc:sldMk cId="2654719708" sldId="2147471535"/>
            <ac:picMk id="21" creationId="{EBDF8964-51D7-4DB6-A573-1E41C253F6E4}"/>
          </ac:picMkLst>
        </pc:picChg>
        <pc:picChg chg="mod">
          <ac:chgData name="Tejada, Carmen" userId="4e46fa0d-51a0-4b7a-a6a6-e5b06c9f6d76" providerId="ADAL" clId="{0973AC2B-7113-47FA-8755-F7B35E778DA0}" dt="2023-02-16T10:42:17.525" v="3707"/>
          <ac:picMkLst>
            <pc:docMk/>
            <pc:sldMk cId="2654719708" sldId="2147471535"/>
            <ac:picMk id="24" creationId="{E5DC8993-62B2-476C-BDA9-757ACEBDDB9F}"/>
          </ac:picMkLst>
        </pc:picChg>
        <pc:picChg chg="mod">
          <ac:chgData name="Tejada, Carmen" userId="4e46fa0d-51a0-4b7a-a6a6-e5b06c9f6d76" providerId="ADAL" clId="{0973AC2B-7113-47FA-8755-F7B35E778DA0}" dt="2023-02-16T10:42:17.525" v="3707"/>
          <ac:picMkLst>
            <pc:docMk/>
            <pc:sldMk cId="2654719708" sldId="2147471535"/>
            <ac:picMk id="25" creationId="{147FAA6F-BEC0-49F0-8229-A8D21B19C082}"/>
          </ac:picMkLst>
        </pc:picChg>
        <pc:cxnChg chg="mod">
          <ac:chgData name="Tejada, Carmen" userId="4e46fa0d-51a0-4b7a-a6a6-e5b06c9f6d76" providerId="ADAL" clId="{0973AC2B-7113-47FA-8755-F7B35E778DA0}" dt="2023-02-16T10:42:17.525" v="3707"/>
          <ac:cxnSpMkLst>
            <pc:docMk/>
            <pc:sldMk cId="2654719708" sldId="2147471535"/>
            <ac:cxnSpMk id="14" creationId="{B29504A4-6E2C-4FAC-B74E-FFEC981A1DAE}"/>
          </ac:cxnSpMkLst>
        </pc:cxnChg>
        <pc:cxnChg chg="mod">
          <ac:chgData name="Tejada, Carmen" userId="4e46fa0d-51a0-4b7a-a6a6-e5b06c9f6d76" providerId="ADAL" clId="{0973AC2B-7113-47FA-8755-F7B35E778DA0}" dt="2023-02-16T10:42:17.525" v="3707"/>
          <ac:cxnSpMkLst>
            <pc:docMk/>
            <pc:sldMk cId="2654719708" sldId="2147471535"/>
            <ac:cxnSpMk id="28" creationId="{A96B561A-5FC5-4E5C-B91B-399C9B477515}"/>
          </ac:cxnSpMkLst>
        </pc:cxnChg>
      </pc:sldChg>
      <pc:sldChg chg="add del">
        <pc:chgData name="Tejada, Carmen" userId="4e46fa0d-51a0-4b7a-a6a6-e5b06c9f6d76" providerId="ADAL" clId="{0973AC2B-7113-47FA-8755-F7B35E778DA0}" dt="2023-02-16T11:18:55.197" v="4206" actId="47"/>
        <pc:sldMkLst>
          <pc:docMk/>
          <pc:sldMk cId="2911096822" sldId="2147471535"/>
        </pc:sldMkLst>
      </pc:sldChg>
    </pc:docChg>
  </pc:docChgLst>
  <pc:docChgLst>
    <pc:chgData name="Lloret, Enrique" userId="S::enrique.lloret@quintiles.com::73d13d76-5c13-4757-a6d7-af1b5f9cd13f" providerId="AD" clId="Web-{880BFBC8-E6A7-14CE-B6F9-672196D1030E}"/>
    <pc:docChg chg="modSld">
      <pc:chgData name="Lloret, Enrique" userId="S::enrique.lloret@quintiles.com::73d13d76-5c13-4757-a6d7-af1b5f9cd13f" providerId="AD" clId="Web-{880BFBC8-E6A7-14CE-B6F9-672196D1030E}" dt="2023-02-20T16:20:23.998" v="5" actId="14100"/>
      <pc:docMkLst>
        <pc:docMk/>
      </pc:docMkLst>
      <pc:sldChg chg="addSp delSp modSp">
        <pc:chgData name="Lloret, Enrique" userId="S::enrique.lloret@quintiles.com::73d13d76-5c13-4757-a6d7-af1b5f9cd13f" providerId="AD" clId="Web-{880BFBC8-E6A7-14CE-B6F9-672196D1030E}" dt="2023-02-20T16:20:23.998" v="5" actId="14100"/>
        <pc:sldMkLst>
          <pc:docMk/>
          <pc:sldMk cId="2317239546" sldId="2147468923"/>
        </pc:sldMkLst>
        <pc:picChg chg="add mod">
          <ac:chgData name="Lloret, Enrique" userId="S::enrique.lloret@quintiles.com::73d13d76-5c13-4757-a6d7-af1b5f9cd13f" providerId="AD" clId="Web-{880BFBC8-E6A7-14CE-B6F9-672196D1030E}" dt="2023-02-20T16:20:23.998" v="5" actId="14100"/>
          <ac:picMkLst>
            <pc:docMk/>
            <pc:sldMk cId="2317239546" sldId="2147468923"/>
            <ac:picMk id="2" creationId="{C34FA977-4898-2F94-216F-14082D351FC5}"/>
          </ac:picMkLst>
        </pc:picChg>
        <pc:picChg chg="del">
          <ac:chgData name="Lloret, Enrique" userId="S::enrique.lloret@quintiles.com::73d13d76-5c13-4757-a6d7-af1b5f9cd13f" providerId="AD" clId="Web-{880BFBC8-E6A7-14CE-B6F9-672196D1030E}" dt="2023-02-20T16:20:05.309" v="1"/>
          <ac:picMkLst>
            <pc:docMk/>
            <pc:sldMk cId="2317239546" sldId="2147468923"/>
            <ac:picMk id="34" creationId="{DB20D50C-C481-4C19-8F47-E79A7458B006}"/>
          </ac:picMkLst>
        </pc:picChg>
      </pc:sldChg>
    </pc:docChg>
  </pc:docChgLst>
  <pc:docChgLst>
    <pc:chgData name="Sadlonova, Marianna" userId="a8aee08f-701a-44dd-9deb-2c30c87fcb35" providerId="ADAL" clId="{92E0139D-FBF2-41D2-B319-6636EDA3AD4C}"/>
    <pc:docChg chg="addSld delSld modSld modSection">
      <pc:chgData name="Sadlonova, Marianna" userId="a8aee08f-701a-44dd-9deb-2c30c87fcb35" providerId="ADAL" clId="{92E0139D-FBF2-41D2-B319-6636EDA3AD4C}" dt="2023-02-15T15:31:20.805" v="2"/>
      <pc:docMkLst>
        <pc:docMk/>
      </pc:docMkLst>
      <pc:sldChg chg="add">
        <pc:chgData name="Sadlonova, Marianna" userId="a8aee08f-701a-44dd-9deb-2c30c87fcb35" providerId="ADAL" clId="{92E0139D-FBF2-41D2-B319-6636EDA3AD4C}" dt="2023-02-15T15:31:20.805" v="2"/>
        <pc:sldMkLst>
          <pc:docMk/>
          <pc:sldMk cId="2393417468" sldId="259"/>
        </pc:sldMkLst>
      </pc:sldChg>
      <pc:sldChg chg="add">
        <pc:chgData name="Sadlonova, Marianna" userId="a8aee08f-701a-44dd-9deb-2c30c87fcb35" providerId="ADAL" clId="{92E0139D-FBF2-41D2-B319-6636EDA3AD4C}" dt="2023-02-15T15:31:20.805" v="2"/>
        <pc:sldMkLst>
          <pc:docMk/>
          <pc:sldMk cId="2703726348" sldId="277"/>
        </pc:sldMkLst>
      </pc:sldChg>
      <pc:sldChg chg="add">
        <pc:chgData name="Sadlonova, Marianna" userId="a8aee08f-701a-44dd-9deb-2c30c87fcb35" providerId="ADAL" clId="{92E0139D-FBF2-41D2-B319-6636EDA3AD4C}" dt="2023-02-15T15:31:20.805" v="2"/>
        <pc:sldMkLst>
          <pc:docMk/>
          <pc:sldMk cId="973826153" sldId="278"/>
        </pc:sldMkLst>
      </pc:sldChg>
      <pc:sldChg chg="add">
        <pc:chgData name="Sadlonova, Marianna" userId="a8aee08f-701a-44dd-9deb-2c30c87fcb35" providerId="ADAL" clId="{92E0139D-FBF2-41D2-B319-6636EDA3AD4C}" dt="2023-02-15T15:31:20.805" v="2"/>
        <pc:sldMkLst>
          <pc:docMk/>
          <pc:sldMk cId="4250689473" sldId="282"/>
        </pc:sldMkLst>
      </pc:sldChg>
      <pc:sldChg chg="add">
        <pc:chgData name="Sadlonova, Marianna" userId="a8aee08f-701a-44dd-9deb-2c30c87fcb35" providerId="ADAL" clId="{92E0139D-FBF2-41D2-B319-6636EDA3AD4C}" dt="2023-02-15T15:31:20.805" v="2"/>
        <pc:sldMkLst>
          <pc:docMk/>
          <pc:sldMk cId="2750657832" sldId="2147470278"/>
        </pc:sldMkLst>
      </pc:sldChg>
      <pc:sldChg chg="add del">
        <pc:chgData name="Sadlonova, Marianna" userId="a8aee08f-701a-44dd-9deb-2c30c87fcb35" providerId="ADAL" clId="{92E0139D-FBF2-41D2-B319-6636EDA3AD4C}" dt="2023-02-15T15:31:07.594" v="1" actId="47"/>
        <pc:sldMkLst>
          <pc:docMk/>
          <pc:sldMk cId="3791782200" sldId="21474702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2/19/2023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2/19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454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713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307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854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307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870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347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B287B-F6D9-431F-89F3-621C46C613E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014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B287B-F6D9-431F-89F3-621C46C613E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3488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B287B-F6D9-431F-89F3-621C46C613E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6366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B287B-F6D9-431F-89F3-621C46C613E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3737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23270" fontAlgn="ctr">
              <a:spcBef>
                <a:spcPts val="404"/>
              </a:spcBef>
              <a:buNone/>
              <a:defRPr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232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32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232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17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ought slides are 36pt </a:t>
            </a:r>
            <a:br>
              <a:rPr lang="en-US"/>
            </a:br>
            <a:r>
              <a:rPr lang="en-US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-brand and bid defense only: You may replace this box with a sponsor logo. Ensure the logo is on a white or transparent background and you have usage permission.</a:t>
            </a:r>
            <a:br>
              <a:rPr lang="en-US"/>
            </a:br>
            <a:br>
              <a:rPr lang="en-US"/>
            </a:br>
            <a:r>
              <a:rPr lang="en-US"/>
              <a:t>All other presentations, or without sponsor logo: Please delete this box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err="1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DC0321-BDDA-433B-8621-858487EAD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752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6" progId="TCLayout.ActiveDocument.1">
                  <p:embed/>
                </p:oleObj>
              </mc:Choice>
              <mc:Fallback>
                <p:oleObj name="think-cell Slide" r:id="rId30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DC0321-BDDA-433B-8621-858487EAD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1.0)</a:t>
            </a:r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907A176-04FF-4600-9428-258A4B331C28}"/>
              </a:ext>
            </a:extLst>
          </p:cNvPr>
          <p:cNvGrpSpPr/>
          <p:nvPr userDrawn="1"/>
        </p:nvGrpSpPr>
        <p:grpSpPr>
          <a:xfrm>
            <a:off x="12308084" y="0"/>
            <a:ext cx="851744" cy="3047787"/>
            <a:chOff x="12233656" y="25480"/>
            <a:chExt cx="851744" cy="304778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6790172-6CDB-486B-8C9C-5719F944A1E5}"/>
                </a:ext>
              </a:extLst>
            </p:cNvPr>
            <p:cNvSpPr/>
            <p:nvPr/>
          </p:nvSpPr>
          <p:spPr bwMode="gray">
            <a:xfrm>
              <a:off x="12233656" y="2584077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34110EB-1D9F-40AA-85D6-0DCE03E31FF6}"/>
                </a:ext>
              </a:extLst>
            </p:cNvPr>
            <p:cNvSpPr/>
            <p:nvPr/>
          </p:nvSpPr>
          <p:spPr bwMode="gray">
            <a:xfrm>
              <a:off x="12676696" y="2584077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4C9A453-AE8F-4383-BD8F-32DA97D7AAF2}"/>
                </a:ext>
              </a:extLst>
            </p:cNvPr>
            <p:cNvSpPr/>
            <p:nvPr/>
          </p:nvSpPr>
          <p:spPr bwMode="gray">
            <a:xfrm>
              <a:off x="12898215" y="2584077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E0FF7AE-5FC0-4FE9-B824-B5FD9D591486}"/>
                </a:ext>
              </a:extLst>
            </p:cNvPr>
            <p:cNvSpPr/>
            <p:nvPr/>
          </p:nvSpPr>
          <p:spPr bwMode="gray">
            <a:xfrm>
              <a:off x="12455176" y="2584077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0DA3666-914B-4B70-9285-AC745AC36DD8}"/>
                </a:ext>
              </a:extLst>
            </p:cNvPr>
            <p:cNvSpPr/>
            <p:nvPr/>
          </p:nvSpPr>
          <p:spPr bwMode="gray">
            <a:xfrm>
              <a:off x="12233656" y="1976453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5BBD6E4-2C3A-4BDE-91DF-83D595CE5D83}"/>
                </a:ext>
              </a:extLst>
            </p:cNvPr>
            <p:cNvSpPr/>
            <p:nvPr/>
          </p:nvSpPr>
          <p:spPr bwMode="gray">
            <a:xfrm>
              <a:off x="12233656" y="2282071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EA34AC5-EFC7-4238-82A2-6B301C2DDE12}"/>
                </a:ext>
              </a:extLst>
            </p:cNvPr>
            <p:cNvSpPr/>
            <p:nvPr/>
          </p:nvSpPr>
          <p:spPr bwMode="gray">
            <a:xfrm>
              <a:off x="12455176" y="1976453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C959C79-B003-4C43-BB55-D824D8433590}"/>
                </a:ext>
              </a:extLst>
            </p:cNvPr>
            <p:cNvSpPr/>
            <p:nvPr/>
          </p:nvSpPr>
          <p:spPr bwMode="gray">
            <a:xfrm>
              <a:off x="12676696" y="1976453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E2F109A-F3DB-4DF0-AE2F-90C6EA4CAB56}"/>
                </a:ext>
              </a:extLst>
            </p:cNvPr>
            <p:cNvSpPr/>
            <p:nvPr/>
          </p:nvSpPr>
          <p:spPr bwMode="gray">
            <a:xfrm>
              <a:off x="12898216" y="1976453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A61E298-EB0A-4E17-BD09-A9BCC2649A12}"/>
                </a:ext>
              </a:extLst>
            </p:cNvPr>
            <p:cNvSpPr txBox="1"/>
            <p:nvPr/>
          </p:nvSpPr>
          <p:spPr>
            <a:xfrm>
              <a:off x="12233656" y="25480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705AA33-EE2E-4E4E-B109-36E236936840}"/>
                </a:ext>
              </a:extLst>
            </p:cNvPr>
            <p:cNvSpPr/>
            <p:nvPr/>
          </p:nvSpPr>
          <p:spPr bwMode="gray">
            <a:xfrm>
              <a:off x="12233656" y="2886083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EEC58DC-2F2B-4BE2-B67F-07B125678C34}"/>
                </a:ext>
              </a:extLst>
            </p:cNvPr>
            <p:cNvSpPr/>
            <p:nvPr userDrawn="1"/>
          </p:nvSpPr>
          <p:spPr bwMode="gray">
            <a:xfrm>
              <a:off x="12233656" y="1765158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549ADF4-EEA9-43D1-8A2A-133C45DB1862}"/>
                </a:ext>
              </a:extLst>
            </p:cNvPr>
            <p:cNvSpPr/>
            <p:nvPr userDrawn="1"/>
          </p:nvSpPr>
          <p:spPr bwMode="gray">
            <a:xfrm>
              <a:off x="12455176" y="1765158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0543385-700D-4FD3-9403-942A7816AFF3}"/>
                </a:ext>
              </a:extLst>
            </p:cNvPr>
            <p:cNvSpPr/>
            <p:nvPr userDrawn="1"/>
          </p:nvSpPr>
          <p:spPr bwMode="gray">
            <a:xfrm>
              <a:off x="12676696" y="1765158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3C64855-B6D7-406E-A904-38AA3CAC33D1}"/>
                </a:ext>
              </a:extLst>
            </p:cNvPr>
            <p:cNvSpPr/>
            <p:nvPr userDrawn="1"/>
          </p:nvSpPr>
          <p:spPr bwMode="gray">
            <a:xfrm>
              <a:off x="12898216" y="1765158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1671D4E-C545-4A51-AD54-465B655DA739}"/>
                </a:ext>
              </a:extLst>
            </p:cNvPr>
            <p:cNvSpPr/>
            <p:nvPr/>
          </p:nvSpPr>
          <p:spPr bwMode="gray">
            <a:xfrm>
              <a:off x="12455176" y="222423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B621816-B34D-4C96-B96F-5C715C45829B}"/>
                </a:ext>
              </a:extLst>
            </p:cNvPr>
            <p:cNvSpPr/>
            <p:nvPr/>
          </p:nvSpPr>
          <p:spPr bwMode="gray">
            <a:xfrm>
              <a:off x="12455176" y="443728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57F5CE8-B34F-444C-9F30-C4849266D875}"/>
                </a:ext>
              </a:extLst>
            </p:cNvPr>
            <p:cNvSpPr/>
            <p:nvPr/>
          </p:nvSpPr>
          <p:spPr bwMode="gray">
            <a:xfrm>
              <a:off x="12676695" y="222423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3D284D6-CF6C-4BFC-8BAA-4E3DEFF9F379}"/>
                </a:ext>
              </a:extLst>
            </p:cNvPr>
            <p:cNvSpPr/>
            <p:nvPr/>
          </p:nvSpPr>
          <p:spPr bwMode="gray">
            <a:xfrm>
              <a:off x="12676695" y="443728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2017C50-180E-4CF0-9C26-E8CEE97041A3}"/>
                </a:ext>
              </a:extLst>
            </p:cNvPr>
            <p:cNvSpPr/>
            <p:nvPr/>
          </p:nvSpPr>
          <p:spPr bwMode="gray">
            <a:xfrm>
              <a:off x="12898215" y="222423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85309A6-0A06-430D-BC25-9F084A978BC1}"/>
                </a:ext>
              </a:extLst>
            </p:cNvPr>
            <p:cNvSpPr/>
            <p:nvPr/>
          </p:nvSpPr>
          <p:spPr bwMode="gray">
            <a:xfrm>
              <a:off x="12898215" y="443728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02F1061-646D-4F4A-BF71-63529009C779}"/>
                </a:ext>
              </a:extLst>
            </p:cNvPr>
            <p:cNvSpPr/>
            <p:nvPr/>
          </p:nvSpPr>
          <p:spPr bwMode="gray">
            <a:xfrm>
              <a:off x="12233656" y="666550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0E5BBAC-94C9-4F7F-9287-47DCDACCDED5}"/>
                </a:ext>
              </a:extLst>
            </p:cNvPr>
            <p:cNvSpPr/>
            <p:nvPr/>
          </p:nvSpPr>
          <p:spPr bwMode="gray">
            <a:xfrm>
              <a:off x="12455176" y="1329200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D882D5B-CA7B-4921-A5C7-C2A02ADC6E9E}"/>
                </a:ext>
              </a:extLst>
            </p:cNvPr>
            <p:cNvSpPr/>
            <p:nvPr/>
          </p:nvSpPr>
          <p:spPr bwMode="gray">
            <a:xfrm>
              <a:off x="12676695" y="1329200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9E1E4DF-D2F6-452C-B668-F445C5207AE8}"/>
                </a:ext>
              </a:extLst>
            </p:cNvPr>
            <p:cNvSpPr/>
            <p:nvPr/>
          </p:nvSpPr>
          <p:spPr bwMode="gray">
            <a:xfrm>
              <a:off x="12898215" y="1329200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817B419-0520-447A-99C5-2445CD25CBC7}"/>
                </a:ext>
              </a:extLst>
            </p:cNvPr>
            <p:cNvSpPr/>
            <p:nvPr/>
          </p:nvSpPr>
          <p:spPr bwMode="gray">
            <a:xfrm>
              <a:off x="12233656" y="445182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EAAAD1C3-AC65-4E7F-95B0-0904DA748A91}"/>
                </a:ext>
              </a:extLst>
            </p:cNvPr>
            <p:cNvSpPr/>
            <p:nvPr/>
          </p:nvSpPr>
          <p:spPr bwMode="gray">
            <a:xfrm>
              <a:off x="12455176" y="1550568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93E25F0A-706F-4DD8-A3DC-8BA19EF80FF9}"/>
                </a:ext>
              </a:extLst>
            </p:cNvPr>
            <p:cNvSpPr/>
            <p:nvPr/>
          </p:nvSpPr>
          <p:spPr bwMode="gray">
            <a:xfrm>
              <a:off x="12676695" y="1550568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F5CD6E0-1E3E-40C5-A52C-E38D01328967}"/>
                </a:ext>
              </a:extLst>
            </p:cNvPr>
            <p:cNvSpPr/>
            <p:nvPr/>
          </p:nvSpPr>
          <p:spPr bwMode="gray">
            <a:xfrm>
              <a:off x="12898215" y="1550568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F4C58CC-4DF8-4296-B3D0-140D4877D04D}"/>
                </a:ext>
              </a:extLst>
            </p:cNvPr>
            <p:cNvSpPr/>
            <p:nvPr/>
          </p:nvSpPr>
          <p:spPr bwMode="gray">
            <a:xfrm>
              <a:off x="12233656" y="222423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8A8BD596-AF6E-430B-BB6B-EABDF5AEDD8E}"/>
                </a:ext>
              </a:extLst>
            </p:cNvPr>
            <p:cNvSpPr/>
            <p:nvPr/>
          </p:nvSpPr>
          <p:spPr bwMode="gray">
            <a:xfrm>
              <a:off x="12455176" y="1106378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831B3C34-B7AB-4090-8ECF-586A4E0A931D}"/>
                </a:ext>
              </a:extLst>
            </p:cNvPr>
            <p:cNvSpPr/>
            <p:nvPr/>
          </p:nvSpPr>
          <p:spPr bwMode="gray">
            <a:xfrm>
              <a:off x="12676695" y="1106378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BC3DFDA-BB56-4A0D-A846-DFCB8EF88D81}"/>
                </a:ext>
              </a:extLst>
            </p:cNvPr>
            <p:cNvSpPr/>
            <p:nvPr/>
          </p:nvSpPr>
          <p:spPr bwMode="gray">
            <a:xfrm>
              <a:off x="12898215" y="1106378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9B4C1DB7-696A-41FA-B3FE-4C10635D8931}"/>
                </a:ext>
              </a:extLst>
            </p:cNvPr>
            <p:cNvSpPr/>
            <p:nvPr/>
          </p:nvSpPr>
          <p:spPr bwMode="gray">
            <a:xfrm>
              <a:off x="12233656" y="1330654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2A2C519-863C-4FFE-885E-34C8AB2B023E}"/>
                </a:ext>
              </a:extLst>
            </p:cNvPr>
            <p:cNvSpPr/>
            <p:nvPr/>
          </p:nvSpPr>
          <p:spPr bwMode="gray">
            <a:xfrm>
              <a:off x="12233656" y="1550568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00299C38-075C-4023-BA01-5FBB57E7B93E}"/>
                </a:ext>
              </a:extLst>
            </p:cNvPr>
            <p:cNvSpPr/>
            <p:nvPr/>
          </p:nvSpPr>
          <p:spPr bwMode="gray">
            <a:xfrm>
              <a:off x="12233656" y="1109286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30E707-137B-4479-8F7E-1687687A179F}"/>
                </a:ext>
              </a:extLst>
            </p:cNvPr>
            <p:cNvSpPr/>
            <p:nvPr/>
          </p:nvSpPr>
          <p:spPr bwMode="gray">
            <a:xfrm>
              <a:off x="12233656" y="887918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30CCC58-FAA5-4900-A5F9-0B899F2A0460}"/>
                </a:ext>
              </a:extLst>
            </p:cNvPr>
            <p:cNvSpPr/>
            <p:nvPr/>
          </p:nvSpPr>
          <p:spPr bwMode="gray">
            <a:xfrm>
              <a:off x="12455176" y="887918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D728566-B8B7-4E9D-8B72-20AC79577B3C}"/>
                </a:ext>
              </a:extLst>
            </p:cNvPr>
            <p:cNvSpPr/>
            <p:nvPr/>
          </p:nvSpPr>
          <p:spPr bwMode="gray">
            <a:xfrm>
              <a:off x="12455176" y="666550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0654B01F-B9ED-460E-8A42-71800A74AFD1}"/>
                </a:ext>
              </a:extLst>
            </p:cNvPr>
            <p:cNvSpPr/>
            <p:nvPr/>
          </p:nvSpPr>
          <p:spPr bwMode="gray">
            <a:xfrm>
              <a:off x="12676695" y="887918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198DE376-4FF4-4A06-A431-8F072BE6F442}"/>
                </a:ext>
              </a:extLst>
            </p:cNvPr>
            <p:cNvSpPr/>
            <p:nvPr/>
          </p:nvSpPr>
          <p:spPr bwMode="gray">
            <a:xfrm>
              <a:off x="12676695" y="666550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3CCD18B-54DC-422F-BC15-C5819DF277AE}"/>
                </a:ext>
              </a:extLst>
            </p:cNvPr>
            <p:cNvSpPr/>
            <p:nvPr/>
          </p:nvSpPr>
          <p:spPr bwMode="gray">
            <a:xfrm>
              <a:off x="12898215" y="887918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C9AC4FBA-1217-4369-8CD8-64FAE85D8B82}"/>
                </a:ext>
              </a:extLst>
            </p:cNvPr>
            <p:cNvSpPr/>
            <p:nvPr/>
          </p:nvSpPr>
          <p:spPr bwMode="gray">
            <a:xfrm>
              <a:off x="12898215" y="666550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  <p:sldLayoutId id="2147484245" r:id="rId11"/>
    <p:sldLayoutId id="2147484246" r:id="rId12"/>
    <p:sldLayoutId id="2147484247" r:id="rId13"/>
    <p:sldLayoutId id="2147484248" r:id="rId14"/>
    <p:sldLayoutId id="2147484249" r:id="rId15"/>
    <p:sldLayoutId id="2147484250" r:id="rId16"/>
    <p:sldLayoutId id="2147484251" r:id="rId17"/>
    <p:sldLayoutId id="2147484252" r:id="rId18"/>
    <p:sldLayoutId id="2147484253" r:id="rId19"/>
    <p:sldLayoutId id="2147484254" r:id="rId20"/>
    <p:sldLayoutId id="2147484255" r:id="rId21"/>
    <p:sldLayoutId id="2147484256" r:id="rId22"/>
    <p:sldLayoutId id="2147484257" r:id="rId23"/>
    <p:sldLayoutId id="2147484261" r:id="rId24"/>
    <p:sldLayoutId id="2147484258" r:id="rId25"/>
    <p:sldLayoutId id="2147484259" r:id="rId26"/>
    <p:sldLayoutId id="214748426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45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52.sv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51.png"/><Relationship Id="rId11" Type="http://schemas.openxmlformats.org/officeDocument/2006/relationships/image" Target="../media/image54.svg"/><Relationship Id="rId5" Type="http://schemas.openxmlformats.org/officeDocument/2006/relationships/image" Target="../media/image43.png"/><Relationship Id="rId10" Type="http://schemas.openxmlformats.org/officeDocument/2006/relationships/image" Target="../media/image53.png"/><Relationship Id="rId4" Type="http://schemas.openxmlformats.org/officeDocument/2006/relationships/image" Target="../media/image1.emf"/><Relationship Id="rId9" Type="http://schemas.openxmlformats.org/officeDocument/2006/relationships/image" Target="../media/image48.png"/><Relationship Id="rId14" Type="http://schemas.openxmlformats.org/officeDocument/2006/relationships/image" Target="../media/image4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1.emf"/><Relationship Id="rId9" Type="http://schemas.openxmlformats.org/officeDocument/2006/relationships/hyperlink" Target="https://app.powerbi.com/groups/5e7cd048-115a-4c6c-93a4-716747605528/reports/7f9fabb5-4df6-4eb2-a348-dd4e23cdd516/ReportSectio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5" Type="http://schemas.openxmlformats.org/officeDocument/2006/relationships/image" Target="../media/image50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10" Type="http://schemas.openxmlformats.org/officeDocument/2006/relationships/image" Target="../media/image54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app.powerbi.com/groups/00785add-709d-4b0c-8ec7-3ef49093177b/reports/5b79f78a-7185-4cd1-b104-5fcc400841fe/ReportSectionb0feb26e92060c30cce9" TargetMode="External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1.emf"/><Relationship Id="rId9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6" Type="http://schemas.openxmlformats.org/officeDocument/2006/relationships/image" Target="../media/image65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6" Type="http://schemas.openxmlformats.org/officeDocument/2006/relationships/image" Target="../media/image68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6" Type="http://schemas.openxmlformats.org/officeDocument/2006/relationships/image" Target="../media/image7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6" Type="http://schemas.openxmlformats.org/officeDocument/2006/relationships/image" Target="../media/image71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78.png"/><Relationship Id="rId18" Type="http://schemas.openxmlformats.org/officeDocument/2006/relationships/image" Target="../media/image83.png"/><Relationship Id="rId26" Type="http://schemas.openxmlformats.org/officeDocument/2006/relationships/image" Target="../media/image91.png"/><Relationship Id="rId3" Type="http://schemas.openxmlformats.org/officeDocument/2006/relationships/image" Target="../media/image72.png"/><Relationship Id="rId21" Type="http://schemas.openxmlformats.org/officeDocument/2006/relationships/image" Target="../media/image86.png"/><Relationship Id="rId34" Type="http://schemas.openxmlformats.org/officeDocument/2006/relationships/image" Target="../media/image99.png"/><Relationship Id="rId7" Type="http://schemas.openxmlformats.org/officeDocument/2006/relationships/image" Target="../media/image28.png"/><Relationship Id="rId12" Type="http://schemas.openxmlformats.org/officeDocument/2006/relationships/image" Target="../media/image77.png"/><Relationship Id="rId17" Type="http://schemas.openxmlformats.org/officeDocument/2006/relationships/image" Target="../media/image82.jpeg"/><Relationship Id="rId25" Type="http://schemas.openxmlformats.org/officeDocument/2006/relationships/image" Target="../media/image90.png"/><Relationship Id="rId33" Type="http://schemas.openxmlformats.org/officeDocument/2006/relationships/image" Target="../media/image98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81.png"/><Relationship Id="rId20" Type="http://schemas.openxmlformats.org/officeDocument/2006/relationships/image" Target="../media/image85.png"/><Relationship Id="rId29" Type="http://schemas.openxmlformats.org/officeDocument/2006/relationships/image" Target="../media/image94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svg"/><Relationship Id="rId11" Type="http://schemas.openxmlformats.org/officeDocument/2006/relationships/image" Target="../media/image76.png"/><Relationship Id="rId24" Type="http://schemas.openxmlformats.org/officeDocument/2006/relationships/image" Target="../media/image89.png"/><Relationship Id="rId32" Type="http://schemas.openxmlformats.org/officeDocument/2006/relationships/image" Target="../media/image97.png"/><Relationship Id="rId5" Type="http://schemas.openxmlformats.org/officeDocument/2006/relationships/image" Target="../media/image26.png"/><Relationship Id="rId15" Type="http://schemas.openxmlformats.org/officeDocument/2006/relationships/image" Target="../media/image80.jpeg"/><Relationship Id="rId23" Type="http://schemas.openxmlformats.org/officeDocument/2006/relationships/image" Target="../media/image88.png"/><Relationship Id="rId28" Type="http://schemas.openxmlformats.org/officeDocument/2006/relationships/image" Target="../media/image93.png"/><Relationship Id="rId10" Type="http://schemas.openxmlformats.org/officeDocument/2006/relationships/image" Target="../media/image75.svg"/><Relationship Id="rId19" Type="http://schemas.openxmlformats.org/officeDocument/2006/relationships/image" Target="../media/image84.png"/><Relationship Id="rId31" Type="http://schemas.openxmlformats.org/officeDocument/2006/relationships/image" Target="../media/image96.png"/><Relationship Id="rId4" Type="http://schemas.openxmlformats.org/officeDocument/2006/relationships/image" Target="../media/image73.svg"/><Relationship Id="rId9" Type="http://schemas.openxmlformats.org/officeDocument/2006/relationships/image" Target="../media/image74.png"/><Relationship Id="rId14" Type="http://schemas.openxmlformats.org/officeDocument/2006/relationships/image" Target="../media/image79.png"/><Relationship Id="rId22" Type="http://schemas.openxmlformats.org/officeDocument/2006/relationships/image" Target="../media/image87.png"/><Relationship Id="rId27" Type="http://schemas.openxmlformats.org/officeDocument/2006/relationships/image" Target="../media/image92.svg"/><Relationship Id="rId30" Type="http://schemas.openxmlformats.org/officeDocument/2006/relationships/image" Target="../media/image9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101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0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50.png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54.sv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16.png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1.emf"/><Relationship Id="rId9" Type="http://schemas.openxmlformats.org/officeDocument/2006/relationships/image" Target="../media/image103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0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.emf"/><Relationship Id="rId9" Type="http://schemas.openxmlformats.org/officeDocument/2006/relationships/hyperlink" Target="https://app.powerbi.com/groups/10a042ec-c25a-4a11-92ef-7b7dbf70fde1/reports/c6519c05-efd6-4a3f-a6e4-a15f90c14990/ReportSection0ffd2644452b48430802?ctid=5989ece0-f90e-40bf-9c79-1a7beccdb861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6" Type="http://schemas.openxmlformats.org/officeDocument/2006/relationships/image" Target="../media/image108.png"/><Relationship Id="rId11" Type="http://schemas.openxmlformats.org/officeDocument/2006/relationships/image" Target="../media/image110.svg"/><Relationship Id="rId5" Type="http://schemas.openxmlformats.org/officeDocument/2006/relationships/image" Target="../media/image43.png"/><Relationship Id="rId10" Type="http://schemas.openxmlformats.org/officeDocument/2006/relationships/image" Target="../media/image109.png"/><Relationship Id="rId4" Type="http://schemas.openxmlformats.org/officeDocument/2006/relationships/image" Target="../media/image1.emf"/><Relationship Id="rId9" Type="http://schemas.openxmlformats.org/officeDocument/2006/relationships/image" Target="../media/image4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oleObject" Target="../embeddings/oleObject5.bin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5.png"/><Relationship Id="rId20" Type="http://schemas.openxmlformats.org/officeDocument/2006/relationships/image" Target="../media/image29.svg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.emf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1.svg"/><Relationship Id="rId1" Type="http://schemas.openxmlformats.org/officeDocument/2006/relationships/tags" Target="../tags/tag8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1.svg"/><Relationship Id="rId1" Type="http://schemas.openxmlformats.org/officeDocument/2006/relationships/tags" Target="../tags/tag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1.emf"/><Relationship Id="rId9" Type="http://schemas.openxmlformats.org/officeDocument/2006/relationships/image" Target="../media/image4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50.png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35952B-7D58-4000-B955-053953287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09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35952B-7D58-4000-B955-053953287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5D5DA1-DACE-4236-B2A5-D674B23E4F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Business Operation LT</a:t>
            </a: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9BCBC527-C297-40F2-9FF9-708EEFB8FD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3329" y="5518464"/>
            <a:ext cx="6349838" cy="669272"/>
          </a:xfrm>
        </p:spPr>
        <p:txBody>
          <a:bodyPr/>
          <a:lstStyle/>
          <a:p>
            <a:r>
              <a:rPr lang="en-US"/>
              <a:t>2/22/2023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2D3331-0F5A-4344-9277-E609CEE8A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3329" y="3681765"/>
            <a:ext cx="5596511" cy="1195801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>
                <a:solidFill>
                  <a:schemeClr val="accent1"/>
                </a:solidFill>
              </a:rPr>
              <a:t>Enterprise Data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9974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1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Diagrama de flujo: operación manual 3">
            <a:extLst>
              <a:ext uri="{FF2B5EF4-FFF2-40B4-BE49-F238E27FC236}">
                <a16:creationId xmlns:a16="http://schemas.microsoft.com/office/drawing/2014/main" id="{B166B73D-00CC-4E03-99CD-EDCAA515CD0E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6CAFE46-A589-4E1B-A120-15C7CFFA182B}"/>
              </a:ext>
            </a:extLst>
          </p:cNvPr>
          <p:cNvSpPr/>
          <p:nvPr/>
        </p:nvSpPr>
        <p:spPr>
          <a:xfrm>
            <a:off x="743274" y="5312651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20EEDD4-66CD-4E34-90F1-E020A0C7D5C3}"/>
              </a:ext>
            </a:extLst>
          </p:cNvPr>
          <p:cNvSpPr txBox="1"/>
          <p:nvPr/>
        </p:nvSpPr>
        <p:spPr>
          <a:xfrm>
            <a:off x="927964" y="5283503"/>
            <a:ext cx="4472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 conne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CD5C0FF-35E3-458E-A3EE-80B7E30331C2}"/>
              </a:ext>
            </a:extLst>
          </p:cNvPr>
          <p:cNvSpPr txBox="1"/>
          <p:nvPr/>
        </p:nvSpPr>
        <p:spPr>
          <a:xfrm>
            <a:off x="905198" y="5547881"/>
            <a:ext cx="14855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al data refresh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F70200-153B-4F84-A0BB-50DB6C9F787C}"/>
              </a:ext>
            </a:extLst>
          </p:cNvPr>
          <p:cNvSpPr/>
          <p:nvPr/>
        </p:nvSpPr>
        <p:spPr>
          <a:xfrm>
            <a:off x="514904" y="2179312"/>
            <a:ext cx="5028921" cy="4088325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Rectangle: Rounded Corners 28">
            <a:extLst>
              <a:ext uri="{FF2B5EF4-FFF2-40B4-BE49-F238E27FC236}">
                <a16:creationId xmlns:a16="http://schemas.microsoft.com/office/drawing/2014/main" id="{E0311394-54E5-478D-BFE1-EE26035E1D08}"/>
              </a:ext>
            </a:extLst>
          </p:cNvPr>
          <p:cNvSpPr/>
          <p:nvPr/>
        </p:nvSpPr>
        <p:spPr bwMode="auto">
          <a:xfrm>
            <a:off x="218922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SOLUTION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26BE6C97-C4A3-47BE-A509-801E49DFC5F9}"/>
              </a:ext>
            </a:extLst>
          </p:cNvPr>
          <p:cNvSpPr/>
          <p:nvPr/>
        </p:nvSpPr>
        <p:spPr>
          <a:xfrm>
            <a:off x="743274" y="5583640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917C5A-D252-4337-86C1-D11832B1683E}"/>
              </a:ext>
            </a:extLst>
          </p:cNvPr>
          <p:cNvSpPr txBox="1"/>
          <p:nvPr/>
        </p:nvSpPr>
        <p:spPr>
          <a:xfrm>
            <a:off x="2680856" y="5548223"/>
            <a:ext cx="2915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shboard refreshed on a weekly basis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934BE921-D2D4-4598-9D2F-DE9505A04B86}"/>
              </a:ext>
            </a:extLst>
          </p:cNvPr>
          <p:cNvSpPr/>
          <p:nvPr/>
        </p:nvSpPr>
        <p:spPr>
          <a:xfrm>
            <a:off x="677824" y="2851457"/>
            <a:ext cx="1175904" cy="684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9" name="Picture 3" descr="Salesforce logo">
            <a:extLst>
              <a:ext uri="{FF2B5EF4-FFF2-40B4-BE49-F238E27FC236}">
                <a16:creationId xmlns:a16="http://schemas.microsoft.com/office/drawing/2014/main" id="{6A9EDEBF-33E0-4A60-9951-45DA6581A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77" y="2910495"/>
            <a:ext cx="586416" cy="390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Graphic 79" descr="Database">
            <a:extLst>
              <a:ext uri="{FF2B5EF4-FFF2-40B4-BE49-F238E27FC236}">
                <a16:creationId xmlns:a16="http://schemas.microsoft.com/office/drawing/2014/main" id="{BFEDA719-B3FA-4755-93E6-A16871DE31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893" y="2900269"/>
            <a:ext cx="381183" cy="381183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8E595FC-6615-47B8-ADC4-700045A694FA}"/>
              </a:ext>
            </a:extLst>
          </p:cNvPr>
          <p:cNvSpPr txBox="1"/>
          <p:nvPr/>
        </p:nvSpPr>
        <p:spPr>
          <a:xfrm>
            <a:off x="809224" y="3306123"/>
            <a:ext cx="12382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SA / CRM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E7262BF8-0759-4427-A2E8-79275EA8C6B2}"/>
              </a:ext>
            </a:extLst>
          </p:cNvPr>
          <p:cNvSpPr/>
          <p:nvPr/>
        </p:nvSpPr>
        <p:spPr>
          <a:xfrm>
            <a:off x="681888" y="3753645"/>
            <a:ext cx="1175904" cy="684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2" name="Graphic 91" descr="Database">
            <a:extLst>
              <a:ext uri="{FF2B5EF4-FFF2-40B4-BE49-F238E27FC236}">
                <a16:creationId xmlns:a16="http://schemas.microsoft.com/office/drawing/2014/main" id="{169BB649-B8AA-4E0E-AD8B-AD1C2496B5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893" y="3819599"/>
            <a:ext cx="381183" cy="381183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2D55BF33-5CFC-46F5-8CD2-5AB831B06011}"/>
              </a:ext>
            </a:extLst>
          </p:cNvPr>
          <p:cNvSpPr txBox="1"/>
          <p:nvPr/>
        </p:nvSpPr>
        <p:spPr>
          <a:xfrm>
            <a:off x="977911" y="4182210"/>
            <a:ext cx="4792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RA</a:t>
            </a:r>
          </a:p>
        </p:txBody>
      </p:sp>
      <p:pic>
        <p:nvPicPr>
          <p:cNvPr id="94" name="Picture 93" descr="Logo, company name&#10;&#10;Description automatically generated">
            <a:extLst>
              <a:ext uri="{FF2B5EF4-FFF2-40B4-BE49-F238E27FC236}">
                <a16:creationId xmlns:a16="http://schemas.microsoft.com/office/drawing/2014/main" id="{B8FAEB7B-E3CE-47C0-8FFB-2149494E47D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743276" y="3836867"/>
            <a:ext cx="703297" cy="346281"/>
          </a:xfrm>
          <a:prstGeom prst="rect">
            <a:avLst/>
          </a:prstGeom>
          <a:solidFill>
            <a:srgbClr val="C6EFFF"/>
          </a:solidFill>
        </p:spPr>
      </p:pic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2C98441-E5EF-4347-B6E9-49A6E13DA1C6}"/>
              </a:ext>
            </a:extLst>
          </p:cNvPr>
          <p:cNvCxnSpPr>
            <a:cxnSpLocks/>
            <a:stCxn id="78" idx="3"/>
            <a:endCxn id="95" idx="1"/>
          </p:cNvCxnSpPr>
          <p:nvPr/>
        </p:nvCxnSpPr>
        <p:spPr>
          <a:xfrm>
            <a:off x="1853728" y="3193724"/>
            <a:ext cx="500424" cy="461314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031D0A2E-509F-40D6-94B2-7AECB5196211}"/>
              </a:ext>
            </a:extLst>
          </p:cNvPr>
          <p:cNvSpPr/>
          <p:nvPr/>
        </p:nvSpPr>
        <p:spPr>
          <a:xfrm>
            <a:off x="2354152" y="3312771"/>
            <a:ext cx="1175904" cy="684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28AE0AA7-FA97-4D3F-8DFF-6AF321589306}"/>
              </a:ext>
            </a:extLst>
          </p:cNvPr>
          <p:cNvCxnSpPr>
            <a:stCxn id="90" idx="3"/>
            <a:endCxn id="95" idx="1"/>
          </p:cNvCxnSpPr>
          <p:nvPr/>
        </p:nvCxnSpPr>
        <p:spPr>
          <a:xfrm flipV="1">
            <a:off x="1857792" y="3655038"/>
            <a:ext cx="496360" cy="440874"/>
          </a:xfrm>
          <a:prstGeom prst="bentConnector3">
            <a:avLst>
              <a:gd name="adj1" fmla="val 50107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Picture 8" descr="Alteryx Designer Reviews, Ratings &amp; Features 2022 | Gartner Peer Insights">
            <a:extLst>
              <a:ext uri="{FF2B5EF4-FFF2-40B4-BE49-F238E27FC236}">
                <a16:creationId xmlns:a16="http://schemas.microsoft.com/office/drawing/2014/main" id="{A6A90873-34CB-4CC1-8E50-1BBB0957F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804" y="3627559"/>
            <a:ext cx="1069020" cy="26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Graphic 96" descr="Gears">
            <a:extLst>
              <a:ext uri="{FF2B5EF4-FFF2-40B4-BE49-F238E27FC236}">
                <a16:creationId xmlns:a16="http://schemas.microsoft.com/office/drawing/2014/main" id="{CCF3143E-2E8E-4962-A72E-E9D3615962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826536" y="3361229"/>
            <a:ext cx="255122" cy="255122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D4E97A50-47B7-45D8-B162-6B621F7FCAAE}"/>
              </a:ext>
            </a:extLst>
          </p:cNvPr>
          <p:cNvSpPr txBox="1"/>
          <p:nvPr/>
        </p:nvSpPr>
        <p:spPr>
          <a:xfrm>
            <a:off x="2285941" y="2360945"/>
            <a:ext cx="1467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Processing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0B7B48C-05D7-46D0-80F4-14B026159031}"/>
              </a:ext>
            </a:extLst>
          </p:cNvPr>
          <p:cNvCxnSpPr>
            <a:stCxn id="95" idx="3"/>
          </p:cNvCxnSpPr>
          <p:nvPr/>
        </p:nvCxnSpPr>
        <p:spPr>
          <a:xfrm flipV="1">
            <a:off x="3530056" y="3654465"/>
            <a:ext cx="410254" cy="57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63B81234-E00E-4EC0-8D80-C41436A174AD}"/>
              </a:ext>
            </a:extLst>
          </p:cNvPr>
          <p:cNvSpPr/>
          <p:nvPr/>
        </p:nvSpPr>
        <p:spPr>
          <a:xfrm>
            <a:off x="3940309" y="3090855"/>
            <a:ext cx="1459819" cy="1093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CE1B84EE-CB11-46F2-A023-18FD26BE823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63753" y="3266445"/>
            <a:ext cx="320165" cy="308431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693E2A51-0B94-4BF3-84CD-56D4E6A6DD9D}"/>
              </a:ext>
            </a:extLst>
          </p:cNvPr>
          <p:cNvSpPr txBox="1"/>
          <p:nvPr/>
        </p:nvSpPr>
        <p:spPr>
          <a:xfrm>
            <a:off x="4409337" y="3227625"/>
            <a:ext cx="11322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T General Overview</a:t>
            </a:r>
          </a:p>
        </p:txBody>
      </p:sp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33CF1737-E665-45EC-8760-162CA5892489}"/>
              </a:ext>
            </a:extLst>
          </p:cNvPr>
          <p:cNvSpPr/>
          <p:nvPr/>
        </p:nvSpPr>
        <p:spPr bwMode="auto">
          <a:xfrm>
            <a:off x="797188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FFFFFF"/>
                </a:solidFill>
                <a:latin typeface="Arial" panose="020B0604020202020204"/>
                <a:cs typeface="Segoe UI Semilight" charset="0"/>
              </a:rPr>
              <a:t>KPIs availabl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Segoe UI Semilight" charset="0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ACF2586E-E03D-4E15-8732-66616237E99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88281" y="3721923"/>
            <a:ext cx="179468" cy="172891"/>
          </a:xfrm>
          <a:prstGeom prst="rect">
            <a:avLst/>
          </a:prstGeom>
        </p:spPr>
      </p:pic>
      <p:sp>
        <p:nvSpPr>
          <p:cNvPr id="110" name="TextBox 109">
            <a:extLst>
              <a:ext uri="{FF2B5EF4-FFF2-40B4-BE49-F238E27FC236}">
                <a16:creationId xmlns:a16="http://schemas.microsoft.com/office/drawing/2014/main" id="{57BBEF79-F984-4B40-BBA9-D3A0D8E9029E}"/>
              </a:ext>
            </a:extLst>
          </p:cNvPr>
          <p:cNvSpPr txBox="1"/>
          <p:nvPr/>
        </p:nvSpPr>
        <p:spPr>
          <a:xfrm>
            <a:off x="4409337" y="3783654"/>
            <a:ext cx="11322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 Overview 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00DBD799-ADB6-4964-9B5A-3B6A375644C5}"/>
              </a:ext>
            </a:extLst>
          </p:cNvPr>
          <p:cNvCxnSpPr>
            <a:cxnSpLocks/>
          </p:cNvCxnSpPr>
          <p:nvPr/>
        </p:nvCxnSpPr>
        <p:spPr>
          <a:xfrm>
            <a:off x="4267749" y="4055512"/>
            <a:ext cx="0" cy="588641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Graphic 112" descr="Envelope outline">
            <a:extLst>
              <a:ext uri="{FF2B5EF4-FFF2-40B4-BE49-F238E27FC236}">
                <a16:creationId xmlns:a16="http://schemas.microsoft.com/office/drawing/2014/main" id="{E328DF77-B463-4344-A7C9-62F4AAB9C32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60006" y="4644153"/>
            <a:ext cx="402645" cy="402645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8A7C9274-0F6D-4846-92E9-76BE09767A31}"/>
              </a:ext>
            </a:extLst>
          </p:cNvPr>
          <p:cNvSpPr txBox="1"/>
          <p:nvPr/>
        </p:nvSpPr>
        <p:spPr>
          <a:xfrm>
            <a:off x="3808333" y="4204471"/>
            <a:ext cx="149888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alized reporting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08772E0-B1DE-4CDD-B419-D702B041F296}"/>
              </a:ext>
            </a:extLst>
          </p:cNvPr>
          <p:cNvSpPr/>
          <p:nvPr/>
        </p:nvSpPr>
        <p:spPr>
          <a:xfrm>
            <a:off x="2034874" y="3378572"/>
            <a:ext cx="144000" cy="14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6865B330-E98F-4C88-AA84-6253DF5C74F6}"/>
              </a:ext>
            </a:extLst>
          </p:cNvPr>
          <p:cNvSpPr/>
          <p:nvPr/>
        </p:nvSpPr>
        <p:spPr>
          <a:xfrm>
            <a:off x="2040399" y="3831340"/>
            <a:ext cx="144000" cy="14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58AA03ED-DF8A-41BE-9E62-20A2CE3716C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78015" y="3856984"/>
            <a:ext cx="179468" cy="172891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0624C68F-237B-45F3-8779-72D6035CE870}"/>
              </a:ext>
            </a:extLst>
          </p:cNvPr>
          <p:cNvSpPr txBox="1"/>
          <p:nvPr/>
        </p:nvSpPr>
        <p:spPr>
          <a:xfrm>
            <a:off x="809224" y="2360945"/>
            <a:ext cx="1198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Source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0D0E962-493C-4B4F-AEB8-E230EE65375D}"/>
              </a:ext>
            </a:extLst>
          </p:cNvPr>
          <p:cNvSpPr txBox="1"/>
          <p:nvPr/>
        </p:nvSpPr>
        <p:spPr>
          <a:xfrm>
            <a:off x="4058736" y="2360945"/>
            <a:ext cx="1175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utpu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EF9EB69-4EB0-45A5-BE10-94708CA94569}"/>
              </a:ext>
            </a:extLst>
          </p:cNvPr>
          <p:cNvSpPr txBox="1"/>
          <p:nvPr/>
        </p:nvSpPr>
        <p:spPr>
          <a:xfrm>
            <a:off x="2158365" y="4660786"/>
            <a:ext cx="19003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40 individual Dashboards sent every month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8700403-A337-452A-AD4A-3E517AA0A9F2}"/>
              </a:ext>
            </a:extLst>
          </p:cNvPr>
          <p:cNvSpPr/>
          <p:nvPr/>
        </p:nvSpPr>
        <p:spPr>
          <a:xfrm>
            <a:off x="6245598" y="2179312"/>
            <a:ext cx="5028921" cy="4088325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8D8841F-49CA-4DEA-AA4B-24C30C78813F}"/>
              </a:ext>
            </a:extLst>
          </p:cNvPr>
          <p:cNvSpPr/>
          <p:nvPr/>
        </p:nvSpPr>
        <p:spPr>
          <a:xfrm>
            <a:off x="6604558" y="2509071"/>
            <a:ext cx="1820351" cy="10297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Overview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10794E2-9511-40C0-A13F-367654B5F27F}"/>
              </a:ext>
            </a:extLst>
          </p:cNvPr>
          <p:cNvSpPr/>
          <p:nvPr/>
        </p:nvSpPr>
        <p:spPr>
          <a:xfrm>
            <a:off x="6736705" y="2796383"/>
            <a:ext cx="1980000" cy="911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lnSpc>
                <a:spcPct val="100000"/>
              </a:lnSpc>
              <a:buFont typeface="Arial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Volume of Opportunities</a:t>
            </a:r>
            <a:endParaRPr lang="en-US">
              <a:solidFill>
                <a:schemeClr val="accent2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Opportunities</a:t>
            </a:r>
            <a:r>
              <a:rPr lang="en-US" sz="900">
                <a:solidFill>
                  <a:schemeClr val="tx1"/>
                </a:solidFill>
              </a:rPr>
              <a:t> by: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6870" indent="-171450">
              <a:buFont typeface="Arial"/>
              <a:buChar char="•"/>
            </a:pPr>
            <a:r>
              <a:rPr lang="en-US" sz="900">
                <a:solidFill>
                  <a:schemeClr val="tx1"/>
                </a:solidFill>
              </a:rPr>
              <a:t>Status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687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E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buFont typeface="Arial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TCV</a:t>
            </a:r>
            <a:r>
              <a:rPr lang="en-US" sz="900">
                <a:solidFill>
                  <a:schemeClr val="tx1"/>
                </a:solidFill>
              </a:rPr>
              <a:t> Value by PIC – Won/Lost/Awarded/Pipeline</a:t>
            </a:r>
            <a:endParaRPr lang="en-US" sz="900">
              <a:solidFill>
                <a:schemeClr val="tx1"/>
              </a:solidFill>
              <a:cs typeface="Arial" panose="020B060402020202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C53664D-D431-426D-9430-B57479D74B58}"/>
              </a:ext>
            </a:extLst>
          </p:cNvPr>
          <p:cNvSpPr/>
          <p:nvPr/>
        </p:nvSpPr>
        <p:spPr>
          <a:xfrm>
            <a:off x="8942426" y="3029242"/>
            <a:ext cx="1820351" cy="10487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Lost Opportuniti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DC1284B-A20C-4752-84AA-DA3E437BAAC0}"/>
              </a:ext>
            </a:extLst>
          </p:cNvPr>
          <p:cNvSpPr/>
          <p:nvPr/>
        </p:nvSpPr>
        <p:spPr>
          <a:xfrm>
            <a:off x="9074573" y="3316553"/>
            <a:ext cx="1980000" cy="911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Top 15 Clients </a:t>
            </a:r>
            <a:r>
              <a:rPr lang="en-US" sz="900">
                <a:solidFill>
                  <a:schemeClr val="tx1"/>
                </a:solidFill>
              </a:rPr>
              <a:t>by Value of Lost Opportun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Volume of Opportunities</a:t>
            </a:r>
            <a:r>
              <a:rPr lang="en-US" sz="900">
                <a:solidFill>
                  <a:schemeClr val="tx1"/>
                </a:solidFill>
              </a:rPr>
              <a:t>: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941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Lost </a:t>
            </a:r>
          </a:p>
          <a:p>
            <a:pPr marL="35941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Lost after Stage 4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941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y </a:t>
            </a:r>
            <a:r>
              <a:rPr lang="en-US" sz="900" b="1">
                <a:solidFill>
                  <a:schemeClr val="accent2"/>
                </a:solidFill>
              </a:rPr>
              <a:t>Primary Loss Reason </a:t>
            </a:r>
            <a:endParaRPr lang="en-US" sz="900" b="1">
              <a:solidFill>
                <a:schemeClr val="accent2"/>
              </a:solidFill>
              <a:cs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A235B33-D01B-40E1-A94C-66D6F9CD4878}"/>
              </a:ext>
            </a:extLst>
          </p:cNvPr>
          <p:cNvSpPr/>
          <p:nvPr/>
        </p:nvSpPr>
        <p:spPr>
          <a:xfrm>
            <a:off x="6604558" y="3821303"/>
            <a:ext cx="1820351" cy="11367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Parent Overview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7D6A6A9-B79E-461C-97CD-999615C0DD92}"/>
              </a:ext>
            </a:extLst>
          </p:cNvPr>
          <p:cNvSpPr/>
          <p:nvPr/>
        </p:nvSpPr>
        <p:spPr>
          <a:xfrm>
            <a:off x="6736705" y="4108615"/>
            <a:ext cx="1980000" cy="10487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  <a:ea typeface="+mn-lt"/>
                <a:cs typeface="+mn-lt"/>
              </a:rPr>
              <a:t>Opportunities </a:t>
            </a:r>
            <a:r>
              <a:rPr lang="en-US" sz="900" b="1">
                <a:solidFill>
                  <a:schemeClr val="accent2"/>
                </a:solidFill>
              </a:rPr>
              <a:t>and TCV Value </a:t>
            </a:r>
            <a:r>
              <a:rPr lang="en-US" sz="900">
                <a:solidFill>
                  <a:schemeClr val="tx1"/>
                </a:solidFill>
              </a:rPr>
              <a:t>by Paren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Revenue</a:t>
            </a:r>
            <a:r>
              <a:rPr lang="en-US" sz="900">
                <a:solidFill>
                  <a:schemeClr val="tx1"/>
                </a:solidFill>
              </a:rPr>
              <a:t> by Year, Main Delivery Country, Parent Name and Client Name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Parent with highest and lowest </a:t>
            </a:r>
            <a:r>
              <a:rPr lang="en-US" sz="900" b="1">
                <a:solidFill>
                  <a:schemeClr val="accent2"/>
                </a:solidFill>
              </a:rPr>
              <a:t>TCV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7C4FE30-6CF3-4B2E-AC99-291FD9BC3FCB}"/>
              </a:ext>
            </a:extLst>
          </p:cNvPr>
          <p:cNvSpPr/>
          <p:nvPr/>
        </p:nvSpPr>
        <p:spPr>
          <a:xfrm>
            <a:off x="8942426" y="4465650"/>
            <a:ext cx="1820351" cy="10487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Reven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279D267-0FEA-4FF8-81B8-F5E19E3DAF81}"/>
              </a:ext>
            </a:extLst>
          </p:cNvPr>
          <p:cNvSpPr/>
          <p:nvPr/>
        </p:nvSpPr>
        <p:spPr>
          <a:xfrm>
            <a:off x="9074573" y="4752962"/>
            <a:ext cx="1980000" cy="911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Revenue</a:t>
            </a:r>
            <a:r>
              <a:rPr lang="en-US" sz="900">
                <a:solidFill>
                  <a:schemeClr val="tx1"/>
                </a:solidFill>
              </a:rPr>
              <a:t> by:</a:t>
            </a:r>
          </a:p>
          <a:p>
            <a:pPr marL="35941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PIC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941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Parent Name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35941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Period – Year, Quarter &amp; Month</a:t>
            </a:r>
            <a:endParaRPr lang="en-US" sz="900">
              <a:solidFill>
                <a:schemeClr val="tx1"/>
              </a:solidFill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6C02AD4-0E92-4723-9B46-F51ED7772023}"/>
              </a:ext>
            </a:extLst>
          </p:cNvPr>
          <p:cNvSpPr/>
          <p:nvPr/>
        </p:nvSpPr>
        <p:spPr>
          <a:xfrm>
            <a:off x="6604558" y="5288407"/>
            <a:ext cx="1820351" cy="6834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PIC Overview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BB66E75-C30F-48E7-BFAD-4B955B1AE095}"/>
              </a:ext>
            </a:extLst>
          </p:cNvPr>
          <p:cNvSpPr/>
          <p:nvPr/>
        </p:nvSpPr>
        <p:spPr>
          <a:xfrm>
            <a:off x="6736705" y="5575719"/>
            <a:ext cx="1980000" cy="5262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Volume of Won Opportunities and TCV </a:t>
            </a:r>
            <a:r>
              <a:rPr lang="en-US" sz="900">
                <a:solidFill>
                  <a:schemeClr val="tx1"/>
                </a:solidFill>
              </a:rPr>
              <a:t>per PIC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 b="1">
                <a:solidFill>
                  <a:schemeClr val="accent2"/>
                </a:solidFill>
              </a:rPr>
              <a:t>Win Rates </a:t>
            </a:r>
            <a:r>
              <a:rPr lang="en-US" sz="900">
                <a:solidFill>
                  <a:schemeClr val="tx1"/>
                </a:solidFill>
              </a:rPr>
              <a:t>per PIC</a:t>
            </a:r>
            <a:endParaRPr lang="en-US" sz="900">
              <a:solidFill>
                <a:schemeClr val="tx1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</a:endParaRP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9D8798E-6B69-4729-A09B-8CEA1993823C}"/>
              </a:ext>
            </a:extLst>
          </p:cNvPr>
          <p:cNvSpPr/>
          <p:nvPr/>
        </p:nvSpPr>
        <p:spPr>
          <a:xfrm>
            <a:off x="2456473" y="107856"/>
            <a:ext cx="7929610" cy="7838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Sci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pportunity Tracker (cont.)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4E3C0EF-0932-4170-B9DE-389FBE291F67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&amp;A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E7B853E-9300-4E91-86C0-B67EE74782CD}"/>
              </a:ext>
            </a:extLst>
          </p:cNvPr>
          <p:cNvSpPr txBox="1"/>
          <p:nvPr/>
        </p:nvSpPr>
        <p:spPr>
          <a:xfrm>
            <a:off x="331825" y="1024514"/>
            <a:ext cx="557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latin typeface="Arial"/>
                <a:cs typeface="Arial"/>
              </a:rPr>
              <a:t>In Development – Target Feb 2023 </a:t>
            </a:r>
            <a:endParaRPr lang="en-US" sz="1600" i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92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Diagrama de flujo: operación manual 3">
            <a:extLst>
              <a:ext uri="{FF2B5EF4-FFF2-40B4-BE49-F238E27FC236}">
                <a16:creationId xmlns:a16="http://schemas.microsoft.com/office/drawing/2014/main" id="{67770192-90BB-423B-9045-1D0C789BE434}"/>
              </a:ext>
            </a:extLst>
          </p:cNvPr>
          <p:cNvSpPr/>
          <p:nvPr/>
        </p:nvSpPr>
        <p:spPr>
          <a:xfrm>
            <a:off x="331825" y="141555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33CF1737-E665-45EC-8760-162CA5892489}"/>
              </a:ext>
            </a:extLst>
          </p:cNvPr>
          <p:cNvSpPr/>
          <p:nvPr/>
        </p:nvSpPr>
        <p:spPr bwMode="auto">
          <a:xfrm>
            <a:off x="4119155" y="1560268"/>
            <a:ext cx="3500846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DASHBOARD EXAMPLE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0F03B041-BDA6-49ED-AFC0-106BA66193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597" y="2437667"/>
            <a:ext cx="3992098" cy="442033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77BC187-CD30-4A82-997C-E03E75CF0C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4740" y="3775736"/>
            <a:ext cx="4201898" cy="240793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F1742B3-E73F-4FC8-9DD9-47BA67325C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2873" y="2437667"/>
            <a:ext cx="3992098" cy="21937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16A6420D-A82C-4FEF-BC21-DA458DB38C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0001" y="3829145"/>
            <a:ext cx="4090943" cy="2242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423D4A-A538-4475-A58F-32415397B430}"/>
              </a:ext>
            </a:extLst>
          </p:cNvPr>
          <p:cNvSpPr txBox="1"/>
          <p:nvPr/>
        </p:nvSpPr>
        <p:spPr>
          <a:xfrm>
            <a:off x="1537520" y="2003385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l Overview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C2CC477-E9A3-4DEA-BF8B-28882C9B246A}"/>
              </a:ext>
            </a:extLst>
          </p:cNvPr>
          <p:cNvSpPr txBox="1"/>
          <p:nvPr/>
        </p:nvSpPr>
        <p:spPr>
          <a:xfrm>
            <a:off x="7620001" y="2045098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 Overview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9C19082-B3DD-4DC2-B418-809B4149C090}"/>
              </a:ext>
            </a:extLst>
          </p:cNvPr>
          <p:cNvSpPr/>
          <p:nvPr/>
        </p:nvSpPr>
        <p:spPr>
          <a:xfrm>
            <a:off x="2455361" y="95421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Sci Opportunity Tracker (cont.)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1F256D5-F4A7-47BA-B82B-D344C2778893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&amp;A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8C35ACF-F68A-43E9-B657-273E766B4A44}"/>
              </a:ext>
            </a:extLst>
          </p:cNvPr>
          <p:cNvSpPr txBox="1"/>
          <p:nvPr/>
        </p:nvSpPr>
        <p:spPr>
          <a:xfrm>
            <a:off x="151795" y="4979705"/>
            <a:ext cx="18063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shboard focus on Opportunities lost after Stage 4 where proposal has already been made to cli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FF0A7E5-3626-4B09-9978-C812A3901FDC}"/>
              </a:ext>
            </a:extLst>
          </p:cNvPr>
          <p:cNvCxnSpPr>
            <a:cxnSpLocks/>
          </p:cNvCxnSpPr>
          <p:nvPr/>
        </p:nvCxnSpPr>
        <p:spPr>
          <a:xfrm flipV="1">
            <a:off x="898641" y="4679981"/>
            <a:ext cx="0" cy="32725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9C3BD7C-474D-4DB9-882A-DF09FED3260E}"/>
              </a:ext>
            </a:extLst>
          </p:cNvPr>
          <p:cNvSpPr txBox="1"/>
          <p:nvPr/>
        </p:nvSpPr>
        <p:spPr>
          <a:xfrm>
            <a:off x="6420166" y="6116137"/>
            <a:ext cx="3100935" cy="553998"/>
          </a:xfrm>
          <a:prstGeom prst="rect">
            <a:avLst/>
          </a:prstGeom>
          <a:solidFill>
            <a:srgbClr val="FFFFFF">
              <a:alpha val="23922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shboard enables to filter #Opportunities, TCV and Revenue generated by different elements: Date, PIC, Client, Delivery Country, COE…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C5E978-7C54-4BD3-9407-5F9789148EC9}"/>
              </a:ext>
            </a:extLst>
          </p:cNvPr>
          <p:cNvSpPr txBox="1"/>
          <p:nvPr/>
        </p:nvSpPr>
        <p:spPr>
          <a:xfrm>
            <a:off x="143445" y="961642"/>
            <a:ext cx="5761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B0F0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latin typeface="Arial"/>
                <a:cs typeface="Arial"/>
              </a:rPr>
              <a:t>In Development – Target Feb 2023 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72B94B-9FF8-4CA6-8F40-CB74CEC81D9D}"/>
              </a:ext>
            </a:extLst>
          </p:cNvPr>
          <p:cNvSpPr txBox="1"/>
          <p:nvPr/>
        </p:nvSpPr>
        <p:spPr>
          <a:xfrm>
            <a:off x="4678529" y="6391922"/>
            <a:ext cx="1953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>
                <a:solidFill>
                  <a:schemeClr val="tx2"/>
                </a:solidFill>
                <a:hlinkClick r:id="rId9"/>
              </a:rPr>
              <a:t>Link </a:t>
            </a:r>
            <a:r>
              <a:rPr lang="es-ES" sz="1600" err="1">
                <a:solidFill>
                  <a:schemeClr val="tx2"/>
                </a:solidFill>
                <a:hlinkClick r:id="rId9"/>
              </a:rPr>
              <a:t>to</a:t>
            </a:r>
            <a:r>
              <a:rPr lang="es-ES" sz="1600">
                <a:solidFill>
                  <a:schemeClr val="tx2"/>
                </a:solidFill>
                <a:hlinkClick r:id="rId9"/>
              </a:rPr>
              <a:t> </a:t>
            </a:r>
            <a:r>
              <a:rPr lang="es-ES" sz="1600" err="1">
                <a:solidFill>
                  <a:schemeClr val="tx2"/>
                </a:solidFill>
                <a:hlinkClick r:id="rId9"/>
              </a:rPr>
              <a:t>Dashboard</a:t>
            </a:r>
            <a:endParaRPr lang="es-ES" sz="1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19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5F2044D-1B47-4153-A980-0AE09BCFC19C}"/>
              </a:ext>
            </a:extLst>
          </p:cNvPr>
          <p:cNvSpPr/>
          <p:nvPr/>
        </p:nvSpPr>
        <p:spPr>
          <a:xfrm>
            <a:off x="7091687" y="3453056"/>
            <a:ext cx="1498780" cy="6457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6B338AE8-A845-4244-A5F0-E7202690CA67}"/>
              </a:ext>
            </a:extLst>
          </p:cNvPr>
          <p:cNvSpPr/>
          <p:nvPr/>
        </p:nvSpPr>
        <p:spPr>
          <a:xfrm>
            <a:off x="8807811" y="3453474"/>
            <a:ext cx="2198229" cy="645736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3BE239B-9EFA-4EF6-AAD8-D8341D9C4267}"/>
              </a:ext>
            </a:extLst>
          </p:cNvPr>
          <p:cNvSpPr/>
          <p:nvPr/>
        </p:nvSpPr>
        <p:spPr>
          <a:xfrm>
            <a:off x="5538833" y="3453473"/>
            <a:ext cx="1300695" cy="645317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9754E2-F0DF-4ACB-8FFE-6607F1D06DCC}"/>
              </a:ext>
            </a:extLst>
          </p:cNvPr>
          <p:cNvSpPr/>
          <p:nvPr/>
        </p:nvSpPr>
        <p:spPr>
          <a:xfrm>
            <a:off x="2455361" y="104300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USCAN Operational Excellence Dashboar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F2A5D4-0B7C-4B84-9FD0-2BB5CF482F31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44" name="Diagrama de flujo: operación manual 3">
            <a:extLst>
              <a:ext uri="{FF2B5EF4-FFF2-40B4-BE49-F238E27FC236}">
                <a16:creationId xmlns:a16="http://schemas.microsoft.com/office/drawing/2014/main" id="{7EEB1677-B37B-4753-9D15-28588C6923E5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6EBF07F-42E2-4742-A17D-CE550EAF83BB}"/>
              </a:ext>
            </a:extLst>
          </p:cNvPr>
          <p:cNvSpPr/>
          <p:nvPr/>
        </p:nvSpPr>
        <p:spPr>
          <a:xfrm>
            <a:off x="1293601" y="1761273"/>
            <a:ext cx="2842087" cy="871480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70" name="Rectangle: Rounded Corners 28">
            <a:extLst>
              <a:ext uri="{FF2B5EF4-FFF2-40B4-BE49-F238E27FC236}">
                <a16:creationId xmlns:a16="http://schemas.microsoft.com/office/drawing/2014/main" id="{B24752AE-C80A-47FB-B83E-78DB4B50D7E0}"/>
              </a:ext>
            </a:extLst>
          </p:cNvPr>
          <p:cNvSpPr/>
          <p:nvPr/>
        </p:nvSpPr>
        <p:spPr bwMode="auto">
          <a:xfrm>
            <a:off x="1942747" y="169049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TEAM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E991AB8-3E84-443B-BD44-7978A2048F04}"/>
              </a:ext>
            </a:extLst>
          </p:cNvPr>
          <p:cNvGrpSpPr/>
          <p:nvPr/>
        </p:nvGrpSpPr>
        <p:grpSpPr>
          <a:xfrm>
            <a:off x="932681" y="1640654"/>
            <a:ext cx="618434" cy="1093513"/>
            <a:chOff x="423269" y="3504204"/>
            <a:chExt cx="1310876" cy="2478694"/>
          </a:xfrm>
        </p:grpSpPr>
        <p:sp>
          <p:nvSpPr>
            <p:cNvPr id="103" name="Freeform 3">
              <a:extLst>
                <a:ext uri="{FF2B5EF4-FFF2-40B4-BE49-F238E27FC236}">
                  <a16:creationId xmlns:a16="http://schemas.microsoft.com/office/drawing/2014/main" id="{3832A323-BF09-416A-B92B-2BF34546FF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269" y="3504204"/>
              <a:ext cx="538068" cy="2161714"/>
            </a:xfrm>
            <a:custGeom>
              <a:avLst/>
              <a:gdLst>
                <a:gd name="T0" fmla="*/ 280 w 287"/>
                <a:gd name="T1" fmla="*/ 271 h 1160"/>
                <a:gd name="T2" fmla="*/ 247 w 287"/>
                <a:gd name="T3" fmla="*/ 188 h 1160"/>
                <a:gd name="T4" fmla="*/ 213 w 287"/>
                <a:gd name="T5" fmla="*/ 135 h 1160"/>
                <a:gd name="T6" fmla="*/ 181 w 287"/>
                <a:gd name="T7" fmla="*/ 23 h 1160"/>
                <a:gd name="T8" fmla="*/ 82 w 287"/>
                <a:gd name="T9" fmla="*/ 57 h 1160"/>
                <a:gd name="T10" fmla="*/ 76 w 287"/>
                <a:gd name="T11" fmla="*/ 189 h 1160"/>
                <a:gd name="T12" fmla="*/ 40 w 287"/>
                <a:gd name="T13" fmla="*/ 237 h 1160"/>
                <a:gd name="T14" fmla="*/ 4 w 287"/>
                <a:gd name="T15" fmla="*/ 366 h 1160"/>
                <a:gd name="T16" fmla="*/ 7 w 287"/>
                <a:gd name="T17" fmla="*/ 412 h 1160"/>
                <a:gd name="T18" fmla="*/ 40 w 287"/>
                <a:gd name="T19" fmla="*/ 467 h 1160"/>
                <a:gd name="T20" fmla="*/ 35 w 287"/>
                <a:gd name="T21" fmla="*/ 546 h 1160"/>
                <a:gd name="T22" fmla="*/ 27 w 287"/>
                <a:gd name="T23" fmla="*/ 759 h 1160"/>
                <a:gd name="T24" fmla="*/ 47 w 287"/>
                <a:gd name="T25" fmla="*/ 843 h 1160"/>
                <a:gd name="T26" fmla="*/ 75 w 287"/>
                <a:gd name="T27" fmla="*/ 1036 h 1160"/>
                <a:gd name="T28" fmla="*/ 44 w 287"/>
                <a:gd name="T29" fmla="*/ 1127 h 1160"/>
                <a:gd name="T30" fmla="*/ 70 w 287"/>
                <a:gd name="T31" fmla="*/ 1155 h 1160"/>
                <a:gd name="T32" fmla="*/ 108 w 287"/>
                <a:gd name="T33" fmla="*/ 1107 h 1160"/>
                <a:gd name="T34" fmla="*/ 107 w 287"/>
                <a:gd name="T35" fmla="*/ 1141 h 1160"/>
                <a:gd name="T36" fmla="*/ 119 w 287"/>
                <a:gd name="T37" fmla="*/ 1132 h 1160"/>
                <a:gd name="T38" fmla="*/ 117 w 287"/>
                <a:gd name="T39" fmla="*/ 1050 h 1160"/>
                <a:gd name="T40" fmla="*/ 115 w 287"/>
                <a:gd name="T41" fmla="*/ 885 h 1160"/>
                <a:gd name="T42" fmla="*/ 167 w 287"/>
                <a:gd name="T43" fmla="*/ 851 h 1160"/>
                <a:gd name="T44" fmla="*/ 169 w 287"/>
                <a:gd name="T45" fmla="*/ 977 h 1160"/>
                <a:gd name="T46" fmla="*/ 154 w 287"/>
                <a:gd name="T47" fmla="*/ 1096 h 1160"/>
                <a:gd name="T48" fmla="*/ 148 w 287"/>
                <a:gd name="T49" fmla="*/ 1159 h 1160"/>
                <a:gd name="T50" fmla="*/ 205 w 287"/>
                <a:gd name="T51" fmla="*/ 1104 h 1160"/>
                <a:gd name="T52" fmla="*/ 202 w 287"/>
                <a:gd name="T53" fmla="*/ 1043 h 1160"/>
                <a:gd name="T54" fmla="*/ 234 w 287"/>
                <a:gd name="T55" fmla="*/ 852 h 1160"/>
                <a:gd name="T56" fmla="*/ 251 w 287"/>
                <a:gd name="T57" fmla="*/ 721 h 1160"/>
                <a:gd name="T58" fmla="*/ 265 w 287"/>
                <a:gd name="T59" fmla="*/ 535 h 1160"/>
                <a:gd name="T60" fmla="*/ 258 w 287"/>
                <a:gd name="T61" fmla="*/ 449 h 1160"/>
                <a:gd name="T62" fmla="*/ 244 w 287"/>
                <a:gd name="T63" fmla="*/ 388 h 1160"/>
                <a:gd name="T64" fmla="*/ 102 w 287"/>
                <a:gd name="T65" fmla="*/ 452 h 1160"/>
                <a:gd name="T66" fmla="*/ 114 w 287"/>
                <a:gd name="T67" fmla="*/ 452 h 1160"/>
                <a:gd name="T68" fmla="*/ 168 w 287"/>
                <a:gd name="T69" fmla="*/ 213 h 1160"/>
                <a:gd name="T70" fmla="*/ 117 w 287"/>
                <a:gd name="T71" fmla="*/ 344 h 1160"/>
                <a:gd name="T72" fmla="*/ 114 w 287"/>
                <a:gd name="T73" fmla="*/ 257 h 1160"/>
                <a:gd name="T74" fmla="*/ 102 w 287"/>
                <a:gd name="T75" fmla="*/ 205 h 1160"/>
                <a:gd name="T76" fmla="*/ 134 w 287"/>
                <a:gd name="T77" fmla="*/ 223 h 1160"/>
                <a:gd name="T78" fmla="*/ 152 w 287"/>
                <a:gd name="T79" fmla="*/ 222 h 1160"/>
                <a:gd name="T80" fmla="*/ 159 w 287"/>
                <a:gd name="T81" fmla="*/ 184 h 1160"/>
                <a:gd name="T82" fmla="*/ 189 w 287"/>
                <a:gd name="T83" fmla="*/ 176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1160">
                  <a:moveTo>
                    <a:pt x="257" y="366"/>
                  </a:moveTo>
                  <a:cubicBezTo>
                    <a:pt x="258" y="353"/>
                    <a:pt x="279" y="285"/>
                    <a:pt x="280" y="271"/>
                  </a:cubicBezTo>
                  <a:cubicBezTo>
                    <a:pt x="281" y="257"/>
                    <a:pt x="287" y="214"/>
                    <a:pt x="282" y="199"/>
                  </a:cubicBezTo>
                  <a:cubicBezTo>
                    <a:pt x="277" y="183"/>
                    <a:pt x="247" y="188"/>
                    <a:pt x="247" y="188"/>
                  </a:cubicBezTo>
                  <a:cubicBezTo>
                    <a:pt x="247" y="188"/>
                    <a:pt x="240" y="172"/>
                    <a:pt x="226" y="168"/>
                  </a:cubicBezTo>
                  <a:cubicBezTo>
                    <a:pt x="211" y="164"/>
                    <a:pt x="229" y="145"/>
                    <a:pt x="213" y="135"/>
                  </a:cubicBezTo>
                  <a:cubicBezTo>
                    <a:pt x="203" y="128"/>
                    <a:pt x="206" y="92"/>
                    <a:pt x="202" y="78"/>
                  </a:cubicBezTo>
                  <a:cubicBezTo>
                    <a:pt x="199" y="64"/>
                    <a:pt x="190" y="35"/>
                    <a:pt x="181" y="23"/>
                  </a:cubicBezTo>
                  <a:cubicBezTo>
                    <a:pt x="171" y="10"/>
                    <a:pt x="152" y="17"/>
                    <a:pt x="152" y="17"/>
                  </a:cubicBezTo>
                  <a:cubicBezTo>
                    <a:pt x="108" y="0"/>
                    <a:pt x="86" y="37"/>
                    <a:pt x="82" y="57"/>
                  </a:cubicBezTo>
                  <a:cubicBezTo>
                    <a:pt x="79" y="77"/>
                    <a:pt x="89" y="114"/>
                    <a:pt x="77" y="140"/>
                  </a:cubicBezTo>
                  <a:cubicBezTo>
                    <a:pt x="66" y="165"/>
                    <a:pt x="91" y="174"/>
                    <a:pt x="76" y="189"/>
                  </a:cubicBezTo>
                  <a:cubicBezTo>
                    <a:pt x="60" y="203"/>
                    <a:pt x="74" y="208"/>
                    <a:pt x="59" y="215"/>
                  </a:cubicBezTo>
                  <a:cubicBezTo>
                    <a:pt x="45" y="221"/>
                    <a:pt x="40" y="224"/>
                    <a:pt x="40" y="237"/>
                  </a:cubicBezTo>
                  <a:cubicBezTo>
                    <a:pt x="40" y="250"/>
                    <a:pt x="28" y="284"/>
                    <a:pt x="22" y="314"/>
                  </a:cubicBezTo>
                  <a:cubicBezTo>
                    <a:pt x="15" y="344"/>
                    <a:pt x="8" y="355"/>
                    <a:pt x="4" y="366"/>
                  </a:cubicBezTo>
                  <a:cubicBezTo>
                    <a:pt x="0" y="378"/>
                    <a:pt x="2" y="382"/>
                    <a:pt x="4" y="388"/>
                  </a:cubicBezTo>
                  <a:cubicBezTo>
                    <a:pt x="6" y="393"/>
                    <a:pt x="7" y="394"/>
                    <a:pt x="7" y="412"/>
                  </a:cubicBezTo>
                  <a:cubicBezTo>
                    <a:pt x="7" y="431"/>
                    <a:pt x="38" y="434"/>
                    <a:pt x="38" y="434"/>
                  </a:cubicBezTo>
                  <a:cubicBezTo>
                    <a:pt x="38" y="434"/>
                    <a:pt x="40" y="451"/>
                    <a:pt x="40" y="467"/>
                  </a:cubicBezTo>
                  <a:cubicBezTo>
                    <a:pt x="40" y="482"/>
                    <a:pt x="30" y="526"/>
                    <a:pt x="28" y="538"/>
                  </a:cubicBezTo>
                  <a:cubicBezTo>
                    <a:pt x="26" y="550"/>
                    <a:pt x="35" y="546"/>
                    <a:pt x="35" y="546"/>
                  </a:cubicBezTo>
                  <a:cubicBezTo>
                    <a:pt x="35" y="546"/>
                    <a:pt x="35" y="559"/>
                    <a:pt x="33" y="578"/>
                  </a:cubicBezTo>
                  <a:cubicBezTo>
                    <a:pt x="30" y="597"/>
                    <a:pt x="27" y="724"/>
                    <a:pt x="27" y="759"/>
                  </a:cubicBezTo>
                  <a:cubicBezTo>
                    <a:pt x="27" y="794"/>
                    <a:pt x="23" y="842"/>
                    <a:pt x="27" y="842"/>
                  </a:cubicBezTo>
                  <a:cubicBezTo>
                    <a:pt x="32" y="842"/>
                    <a:pt x="47" y="843"/>
                    <a:pt x="47" y="843"/>
                  </a:cubicBezTo>
                  <a:cubicBezTo>
                    <a:pt x="47" y="843"/>
                    <a:pt x="45" y="866"/>
                    <a:pt x="46" y="895"/>
                  </a:cubicBezTo>
                  <a:cubicBezTo>
                    <a:pt x="47" y="923"/>
                    <a:pt x="70" y="1014"/>
                    <a:pt x="75" y="1036"/>
                  </a:cubicBezTo>
                  <a:cubicBezTo>
                    <a:pt x="79" y="1059"/>
                    <a:pt x="78" y="1079"/>
                    <a:pt x="70" y="1091"/>
                  </a:cubicBezTo>
                  <a:cubicBezTo>
                    <a:pt x="63" y="1103"/>
                    <a:pt x="57" y="1118"/>
                    <a:pt x="44" y="1127"/>
                  </a:cubicBezTo>
                  <a:cubicBezTo>
                    <a:pt x="31" y="1137"/>
                    <a:pt x="26" y="1141"/>
                    <a:pt x="28" y="1150"/>
                  </a:cubicBezTo>
                  <a:cubicBezTo>
                    <a:pt x="30" y="1158"/>
                    <a:pt x="46" y="1156"/>
                    <a:pt x="70" y="1155"/>
                  </a:cubicBezTo>
                  <a:cubicBezTo>
                    <a:pt x="94" y="1154"/>
                    <a:pt x="91" y="1139"/>
                    <a:pt x="94" y="1132"/>
                  </a:cubicBezTo>
                  <a:cubicBezTo>
                    <a:pt x="97" y="1125"/>
                    <a:pt x="108" y="1107"/>
                    <a:pt x="108" y="1107"/>
                  </a:cubicBezTo>
                  <a:cubicBezTo>
                    <a:pt x="108" y="1107"/>
                    <a:pt x="111" y="1110"/>
                    <a:pt x="111" y="1118"/>
                  </a:cubicBezTo>
                  <a:cubicBezTo>
                    <a:pt x="111" y="1127"/>
                    <a:pt x="107" y="1141"/>
                    <a:pt x="107" y="1141"/>
                  </a:cubicBezTo>
                  <a:cubicBezTo>
                    <a:pt x="117" y="1141"/>
                    <a:pt x="117" y="1141"/>
                    <a:pt x="117" y="1141"/>
                  </a:cubicBezTo>
                  <a:cubicBezTo>
                    <a:pt x="117" y="1141"/>
                    <a:pt x="120" y="1140"/>
                    <a:pt x="119" y="1132"/>
                  </a:cubicBezTo>
                  <a:cubicBezTo>
                    <a:pt x="118" y="1124"/>
                    <a:pt x="123" y="1106"/>
                    <a:pt x="127" y="1091"/>
                  </a:cubicBezTo>
                  <a:cubicBezTo>
                    <a:pt x="132" y="1075"/>
                    <a:pt x="123" y="1057"/>
                    <a:pt x="117" y="1050"/>
                  </a:cubicBezTo>
                  <a:cubicBezTo>
                    <a:pt x="112" y="1044"/>
                    <a:pt x="114" y="1009"/>
                    <a:pt x="115" y="974"/>
                  </a:cubicBezTo>
                  <a:cubicBezTo>
                    <a:pt x="117" y="939"/>
                    <a:pt x="119" y="901"/>
                    <a:pt x="115" y="885"/>
                  </a:cubicBezTo>
                  <a:cubicBezTo>
                    <a:pt x="112" y="868"/>
                    <a:pt x="107" y="846"/>
                    <a:pt x="107" y="846"/>
                  </a:cubicBezTo>
                  <a:cubicBezTo>
                    <a:pt x="167" y="851"/>
                    <a:pt x="167" y="851"/>
                    <a:pt x="167" y="851"/>
                  </a:cubicBezTo>
                  <a:cubicBezTo>
                    <a:pt x="167" y="851"/>
                    <a:pt x="169" y="863"/>
                    <a:pt x="169" y="889"/>
                  </a:cubicBezTo>
                  <a:cubicBezTo>
                    <a:pt x="169" y="916"/>
                    <a:pt x="169" y="934"/>
                    <a:pt x="169" y="977"/>
                  </a:cubicBezTo>
                  <a:cubicBezTo>
                    <a:pt x="169" y="1019"/>
                    <a:pt x="165" y="1035"/>
                    <a:pt x="160" y="1051"/>
                  </a:cubicBezTo>
                  <a:cubicBezTo>
                    <a:pt x="156" y="1068"/>
                    <a:pt x="159" y="1080"/>
                    <a:pt x="154" y="1096"/>
                  </a:cubicBezTo>
                  <a:cubicBezTo>
                    <a:pt x="149" y="1113"/>
                    <a:pt x="140" y="1125"/>
                    <a:pt x="135" y="1134"/>
                  </a:cubicBezTo>
                  <a:cubicBezTo>
                    <a:pt x="129" y="1143"/>
                    <a:pt x="127" y="1158"/>
                    <a:pt x="148" y="1159"/>
                  </a:cubicBezTo>
                  <a:cubicBezTo>
                    <a:pt x="170" y="1160"/>
                    <a:pt x="196" y="1150"/>
                    <a:pt x="196" y="1140"/>
                  </a:cubicBezTo>
                  <a:cubicBezTo>
                    <a:pt x="196" y="1131"/>
                    <a:pt x="198" y="1119"/>
                    <a:pt x="205" y="1104"/>
                  </a:cubicBezTo>
                  <a:cubicBezTo>
                    <a:pt x="213" y="1088"/>
                    <a:pt x="206" y="1075"/>
                    <a:pt x="204" y="1069"/>
                  </a:cubicBezTo>
                  <a:cubicBezTo>
                    <a:pt x="201" y="1062"/>
                    <a:pt x="202" y="1055"/>
                    <a:pt x="202" y="1043"/>
                  </a:cubicBezTo>
                  <a:cubicBezTo>
                    <a:pt x="202" y="1031"/>
                    <a:pt x="213" y="991"/>
                    <a:pt x="225" y="947"/>
                  </a:cubicBezTo>
                  <a:cubicBezTo>
                    <a:pt x="237" y="903"/>
                    <a:pt x="234" y="852"/>
                    <a:pt x="234" y="852"/>
                  </a:cubicBezTo>
                  <a:cubicBezTo>
                    <a:pt x="243" y="852"/>
                    <a:pt x="243" y="852"/>
                    <a:pt x="243" y="852"/>
                  </a:cubicBezTo>
                  <a:cubicBezTo>
                    <a:pt x="243" y="852"/>
                    <a:pt x="244" y="787"/>
                    <a:pt x="251" y="721"/>
                  </a:cubicBezTo>
                  <a:cubicBezTo>
                    <a:pt x="258" y="654"/>
                    <a:pt x="248" y="585"/>
                    <a:pt x="248" y="566"/>
                  </a:cubicBezTo>
                  <a:cubicBezTo>
                    <a:pt x="248" y="547"/>
                    <a:pt x="255" y="539"/>
                    <a:pt x="265" y="535"/>
                  </a:cubicBezTo>
                  <a:cubicBezTo>
                    <a:pt x="276" y="530"/>
                    <a:pt x="277" y="528"/>
                    <a:pt x="272" y="510"/>
                  </a:cubicBezTo>
                  <a:cubicBezTo>
                    <a:pt x="266" y="492"/>
                    <a:pt x="258" y="449"/>
                    <a:pt x="258" y="449"/>
                  </a:cubicBezTo>
                  <a:cubicBezTo>
                    <a:pt x="258" y="449"/>
                    <a:pt x="257" y="443"/>
                    <a:pt x="251" y="424"/>
                  </a:cubicBezTo>
                  <a:cubicBezTo>
                    <a:pt x="244" y="406"/>
                    <a:pt x="244" y="388"/>
                    <a:pt x="244" y="388"/>
                  </a:cubicBezTo>
                  <a:cubicBezTo>
                    <a:pt x="244" y="388"/>
                    <a:pt x="256" y="378"/>
                    <a:pt x="257" y="366"/>
                  </a:cubicBezTo>
                  <a:close/>
                  <a:moveTo>
                    <a:pt x="102" y="452"/>
                  </a:moveTo>
                  <a:cubicBezTo>
                    <a:pt x="110" y="434"/>
                    <a:pt x="110" y="434"/>
                    <a:pt x="110" y="434"/>
                  </a:cubicBezTo>
                  <a:cubicBezTo>
                    <a:pt x="114" y="452"/>
                    <a:pt x="114" y="452"/>
                    <a:pt x="114" y="452"/>
                  </a:cubicBezTo>
                  <a:lnTo>
                    <a:pt x="102" y="452"/>
                  </a:lnTo>
                  <a:close/>
                  <a:moveTo>
                    <a:pt x="168" y="213"/>
                  </a:moveTo>
                  <a:cubicBezTo>
                    <a:pt x="158" y="230"/>
                    <a:pt x="141" y="260"/>
                    <a:pt x="135" y="285"/>
                  </a:cubicBezTo>
                  <a:cubicBezTo>
                    <a:pt x="128" y="309"/>
                    <a:pt x="117" y="344"/>
                    <a:pt x="117" y="344"/>
                  </a:cubicBezTo>
                  <a:cubicBezTo>
                    <a:pt x="117" y="344"/>
                    <a:pt x="116" y="338"/>
                    <a:pt x="115" y="329"/>
                  </a:cubicBezTo>
                  <a:cubicBezTo>
                    <a:pt x="114" y="320"/>
                    <a:pt x="114" y="277"/>
                    <a:pt x="114" y="257"/>
                  </a:cubicBezTo>
                  <a:cubicBezTo>
                    <a:pt x="114" y="237"/>
                    <a:pt x="115" y="220"/>
                    <a:pt x="112" y="219"/>
                  </a:cubicBezTo>
                  <a:cubicBezTo>
                    <a:pt x="108" y="217"/>
                    <a:pt x="102" y="205"/>
                    <a:pt x="102" y="205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17" y="218"/>
                    <a:pt x="129" y="210"/>
                    <a:pt x="134" y="223"/>
                  </a:cubicBezTo>
                  <a:cubicBezTo>
                    <a:pt x="138" y="236"/>
                    <a:pt x="133" y="269"/>
                    <a:pt x="136" y="253"/>
                  </a:cubicBezTo>
                  <a:cubicBezTo>
                    <a:pt x="138" y="238"/>
                    <a:pt x="146" y="237"/>
                    <a:pt x="152" y="222"/>
                  </a:cubicBezTo>
                  <a:cubicBezTo>
                    <a:pt x="159" y="207"/>
                    <a:pt x="139" y="196"/>
                    <a:pt x="139" y="196"/>
                  </a:cubicBezTo>
                  <a:cubicBezTo>
                    <a:pt x="139" y="196"/>
                    <a:pt x="150" y="192"/>
                    <a:pt x="159" y="184"/>
                  </a:cubicBezTo>
                  <a:cubicBezTo>
                    <a:pt x="169" y="175"/>
                    <a:pt x="182" y="164"/>
                    <a:pt x="182" y="164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89" y="176"/>
                    <a:pt x="178" y="196"/>
                    <a:pt x="168" y="21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  <p:sp>
          <p:nvSpPr>
            <p:cNvPr id="104" name="Freeform 4">
              <a:extLst>
                <a:ext uri="{FF2B5EF4-FFF2-40B4-BE49-F238E27FC236}">
                  <a16:creationId xmlns:a16="http://schemas.microsoft.com/office/drawing/2014/main" id="{D5095088-36D4-4805-8B6B-42637FB4D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360" y="3692194"/>
              <a:ext cx="734785" cy="2290704"/>
            </a:xfrm>
            <a:custGeom>
              <a:avLst/>
              <a:gdLst>
                <a:gd name="T0" fmla="*/ 379 w 386"/>
                <a:gd name="T1" fmla="*/ 464 h 1210"/>
                <a:gd name="T2" fmla="*/ 364 w 386"/>
                <a:gd name="T3" fmla="*/ 267 h 1210"/>
                <a:gd name="T4" fmla="*/ 269 w 386"/>
                <a:gd name="T5" fmla="*/ 191 h 1210"/>
                <a:gd name="T6" fmla="*/ 251 w 386"/>
                <a:gd name="T7" fmla="*/ 145 h 1210"/>
                <a:gd name="T8" fmla="*/ 266 w 386"/>
                <a:gd name="T9" fmla="*/ 116 h 1210"/>
                <a:gd name="T10" fmla="*/ 263 w 386"/>
                <a:gd name="T11" fmla="*/ 82 h 1210"/>
                <a:gd name="T12" fmla="*/ 205 w 386"/>
                <a:gd name="T13" fmla="*/ 0 h 1210"/>
                <a:gd name="T14" fmla="*/ 155 w 386"/>
                <a:gd name="T15" fmla="*/ 90 h 1210"/>
                <a:gd name="T16" fmla="*/ 174 w 386"/>
                <a:gd name="T17" fmla="*/ 126 h 1210"/>
                <a:gd name="T18" fmla="*/ 176 w 386"/>
                <a:gd name="T19" fmla="*/ 167 h 1210"/>
                <a:gd name="T20" fmla="*/ 177 w 386"/>
                <a:gd name="T21" fmla="*/ 167 h 1210"/>
                <a:gd name="T22" fmla="*/ 156 w 386"/>
                <a:gd name="T23" fmla="*/ 186 h 1210"/>
                <a:gd name="T24" fmla="*/ 99 w 386"/>
                <a:gd name="T25" fmla="*/ 207 h 1210"/>
                <a:gd name="T26" fmla="*/ 57 w 386"/>
                <a:gd name="T27" fmla="*/ 370 h 1210"/>
                <a:gd name="T28" fmla="*/ 38 w 386"/>
                <a:gd name="T29" fmla="*/ 604 h 1210"/>
                <a:gd name="T30" fmla="*/ 68 w 386"/>
                <a:gd name="T31" fmla="*/ 598 h 1210"/>
                <a:gd name="T32" fmla="*/ 68 w 386"/>
                <a:gd name="T33" fmla="*/ 607 h 1210"/>
                <a:gd name="T34" fmla="*/ 41 w 386"/>
                <a:gd name="T35" fmla="*/ 619 h 1210"/>
                <a:gd name="T36" fmla="*/ 47 w 386"/>
                <a:gd name="T37" fmla="*/ 662 h 1210"/>
                <a:gd name="T38" fmla="*/ 3 w 386"/>
                <a:gd name="T39" fmla="*/ 849 h 1210"/>
                <a:gd name="T40" fmla="*/ 99 w 386"/>
                <a:gd name="T41" fmla="*/ 898 h 1210"/>
                <a:gd name="T42" fmla="*/ 118 w 386"/>
                <a:gd name="T43" fmla="*/ 899 h 1210"/>
                <a:gd name="T44" fmla="*/ 127 w 386"/>
                <a:gd name="T45" fmla="*/ 1051 h 1210"/>
                <a:gd name="T46" fmla="*/ 118 w 386"/>
                <a:gd name="T47" fmla="*/ 1153 h 1210"/>
                <a:gd name="T48" fmla="*/ 181 w 386"/>
                <a:gd name="T49" fmla="*/ 1159 h 1210"/>
                <a:gd name="T50" fmla="*/ 194 w 386"/>
                <a:gd name="T51" fmla="*/ 1084 h 1210"/>
                <a:gd name="T52" fmla="*/ 192 w 386"/>
                <a:gd name="T53" fmla="*/ 968 h 1210"/>
                <a:gd name="T54" fmla="*/ 222 w 386"/>
                <a:gd name="T55" fmla="*/ 712 h 1210"/>
                <a:gd name="T56" fmla="*/ 252 w 386"/>
                <a:gd name="T57" fmla="*/ 767 h 1210"/>
                <a:gd name="T58" fmla="*/ 285 w 386"/>
                <a:gd name="T59" fmla="*/ 1024 h 1210"/>
                <a:gd name="T60" fmla="*/ 277 w 386"/>
                <a:gd name="T61" fmla="*/ 1067 h 1210"/>
                <a:gd name="T62" fmla="*/ 298 w 386"/>
                <a:gd name="T63" fmla="*/ 1146 h 1210"/>
                <a:gd name="T64" fmla="*/ 355 w 386"/>
                <a:gd name="T65" fmla="*/ 1205 h 1210"/>
                <a:gd name="T66" fmla="*/ 347 w 386"/>
                <a:gd name="T67" fmla="*/ 1105 h 1210"/>
                <a:gd name="T68" fmla="*/ 351 w 386"/>
                <a:gd name="T69" fmla="*/ 1046 h 1210"/>
                <a:gd name="T70" fmla="*/ 356 w 386"/>
                <a:gd name="T71" fmla="*/ 829 h 1210"/>
                <a:gd name="T72" fmla="*/ 354 w 386"/>
                <a:gd name="T73" fmla="*/ 603 h 1210"/>
                <a:gd name="T74" fmla="*/ 367 w 386"/>
                <a:gd name="T75" fmla="*/ 565 h 1210"/>
                <a:gd name="T76" fmla="*/ 109 w 386"/>
                <a:gd name="T77" fmla="*/ 669 h 1210"/>
                <a:gd name="T78" fmla="*/ 91 w 386"/>
                <a:gd name="T79" fmla="*/ 666 h 1210"/>
                <a:gd name="T80" fmla="*/ 90 w 386"/>
                <a:gd name="T81" fmla="*/ 617 h 1210"/>
                <a:gd name="T82" fmla="*/ 101 w 386"/>
                <a:gd name="T83" fmla="*/ 628 h 1210"/>
                <a:gd name="T84" fmla="*/ 108 w 386"/>
                <a:gd name="T85" fmla="*/ 649 h 1210"/>
                <a:gd name="T86" fmla="*/ 223 w 386"/>
                <a:gd name="T87" fmla="*/ 505 h 1210"/>
                <a:gd name="T88" fmla="*/ 221 w 386"/>
                <a:gd name="T89" fmla="*/ 232 h 1210"/>
                <a:gd name="T90" fmla="*/ 215 w 386"/>
                <a:gd name="T91" fmla="*/ 208 h 1210"/>
                <a:gd name="T92" fmla="*/ 205 w 386"/>
                <a:gd name="T93" fmla="*/ 231 h 1210"/>
                <a:gd name="T94" fmla="*/ 199 w 386"/>
                <a:gd name="T95" fmla="*/ 505 h 1210"/>
                <a:gd name="T96" fmla="*/ 190 w 386"/>
                <a:gd name="T97" fmla="*/ 325 h 1210"/>
                <a:gd name="T98" fmla="*/ 173 w 386"/>
                <a:gd name="T99" fmla="*/ 188 h 1210"/>
                <a:gd name="T100" fmla="*/ 182 w 386"/>
                <a:gd name="T101" fmla="*/ 176 h 1210"/>
                <a:gd name="T102" fmla="*/ 248 w 386"/>
                <a:gd name="T103" fmla="*/ 179 h 1210"/>
                <a:gd name="T104" fmla="*/ 259 w 386"/>
                <a:gd name="T105" fmla="*/ 196 h 1210"/>
                <a:gd name="T106" fmla="*/ 258 w 386"/>
                <a:gd name="T107" fmla="*/ 201 h 1210"/>
                <a:gd name="T108" fmla="*/ 260 w 386"/>
                <a:gd name="T109" fmla="*/ 256 h 1210"/>
                <a:gd name="T110" fmla="*/ 301 w 386"/>
                <a:gd name="T111" fmla="*/ 488 h 1210"/>
                <a:gd name="T112" fmla="*/ 360 w 386"/>
                <a:gd name="T113" fmla="*/ 585 h 1210"/>
                <a:gd name="T114" fmla="*/ 328 w 386"/>
                <a:gd name="T115" fmla="*/ 554 h 1210"/>
                <a:gd name="T116" fmla="*/ 360 w 386"/>
                <a:gd name="T117" fmla="*/ 585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1210">
                  <a:moveTo>
                    <a:pt x="379" y="512"/>
                  </a:moveTo>
                  <a:cubicBezTo>
                    <a:pt x="385" y="497"/>
                    <a:pt x="386" y="471"/>
                    <a:pt x="379" y="464"/>
                  </a:cubicBezTo>
                  <a:cubicBezTo>
                    <a:pt x="372" y="456"/>
                    <a:pt x="383" y="413"/>
                    <a:pt x="376" y="380"/>
                  </a:cubicBezTo>
                  <a:cubicBezTo>
                    <a:pt x="370" y="347"/>
                    <a:pt x="365" y="295"/>
                    <a:pt x="364" y="267"/>
                  </a:cubicBezTo>
                  <a:cubicBezTo>
                    <a:pt x="364" y="239"/>
                    <a:pt x="362" y="219"/>
                    <a:pt x="326" y="210"/>
                  </a:cubicBezTo>
                  <a:cubicBezTo>
                    <a:pt x="302" y="204"/>
                    <a:pt x="282" y="197"/>
                    <a:pt x="269" y="191"/>
                  </a:cubicBezTo>
                  <a:cubicBezTo>
                    <a:pt x="269" y="191"/>
                    <a:pt x="255" y="179"/>
                    <a:pt x="252" y="168"/>
                  </a:cubicBezTo>
                  <a:cubicBezTo>
                    <a:pt x="251" y="159"/>
                    <a:pt x="251" y="150"/>
                    <a:pt x="251" y="145"/>
                  </a:cubicBezTo>
                  <a:cubicBezTo>
                    <a:pt x="253" y="136"/>
                    <a:pt x="253" y="129"/>
                    <a:pt x="253" y="124"/>
                  </a:cubicBezTo>
                  <a:cubicBezTo>
                    <a:pt x="253" y="118"/>
                    <a:pt x="264" y="126"/>
                    <a:pt x="266" y="116"/>
                  </a:cubicBezTo>
                  <a:cubicBezTo>
                    <a:pt x="269" y="107"/>
                    <a:pt x="271" y="85"/>
                    <a:pt x="269" y="84"/>
                  </a:cubicBezTo>
                  <a:cubicBezTo>
                    <a:pt x="267" y="82"/>
                    <a:pt x="265" y="82"/>
                    <a:pt x="263" y="82"/>
                  </a:cubicBezTo>
                  <a:cubicBezTo>
                    <a:pt x="263" y="79"/>
                    <a:pt x="265" y="59"/>
                    <a:pt x="263" y="38"/>
                  </a:cubicBezTo>
                  <a:cubicBezTo>
                    <a:pt x="262" y="18"/>
                    <a:pt x="242" y="2"/>
                    <a:pt x="205" y="0"/>
                  </a:cubicBezTo>
                  <a:cubicBezTo>
                    <a:pt x="184" y="0"/>
                    <a:pt x="160" y="16"/>
                    <a:pt x="157" y="38"/>
                  </a:cubicBezTo>
                  <a:cubicBezTo>
                    <a:pt x="154" y="60"/>
                    <a:pt x="155" y="90"/>
                    <a:pt x="155" y="90"/>
                  </a:cubicBezTo>
                  <a:cubicBezTo>
                    <a:pt x="155" y="90"/>
                    <a:pt x="148" y="105"/>
                    <a:pt x="154" y="117"/>
                  </a:cubicBezTo>
                  <a:cubicBezTo>
                    <a:pt x="160" y="129"/>
                    <a:pt x="174" y="126"/>
                    <a:pt x="174" y="126"/>
                  </a:cubicBezTo>
                  <a:cubicBezTo>
                    <a:pt x="174" y="126"/>
                    <a:pt x="177" y="145"/>
                    <a:pt x="177" y="155"/>
                  </a:cubicBezTo>
                  <a:cubicBezTo>
                    <a:pt x="177" y="160"/>
                    <a:pt x="177" y="164"/>
                    <a:pt x="176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7" y="167"/>
                    <a:pt x="177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64" y="182"/>
                    <a:pt x="156" y="186"/>
                  </a:cubicBezTo>
                  <a:cubicBezTo>
                    <a:pt x="143" y="192"/>
                    <a:pt x="123" y="200"/>
                    <a:pt x="107" y="205"/>
                  </a:cubicBezTo>
                  <a:cubicBezTo>
                    <a:pt x="104" y="206"/>
                    <a:pt x="102" y="206"/>
                    <a:pt x="99" y="207"/>
                  </a:cubicBezTo>
                  <a:cubicBezTo>
                    <a:pt x="80" y="213"/>
                    <a:pt x="65" y="218"/>
                    <a:pt x="65" y="244"/>
                  </a:cubicBezTo>
                  <a:cubicBezTo>
                    <a:pt x="64" y="274"/>
                    <a:pt x="61" y="331"/>
                    <a:pt x="57" y="370"/>
                  </a:cubicBezTo>
                  <a:cubicBezTo>
                    <a:pt x="53" y="408"/>
                    <a:pt x="41" y="490"/>
                    <a:pt x="41" y="516"/>
                  </a:cubicBezTo>
                  <a:cubicBezTo>
                    <a:pt x="40" y="542"/>
                    <a:pt x="37" y="598"/>
                    <a:pt x="38" y="604"/>
                  </a:cubicBezTo>
                  <a:cubicBezTo>
                    <a:pt x="38" y="609"/>
                    <a:pt x="42" y="609"/>
                    <a:pt x="42" y="615"/>
                  </a:cubicBezTo>
                  <a:cubicBezTo>
                    <a:pt x="43" y="612"/>
                    <a:pt x="48" y="598"/>
                    <a:pt x="68" y="598"/>
                  </a:cubicBezTo>
                  <a:cubicBezTo>
                    <a:pt x="90" y="598"/>
                    <a:pt x="90" y="614"/>
                    <a:pt x="90" y="614"/>
                  </a:cubicBezTo>
                  <a:cubicBezTo>
                    <a:pt x="83" y="607"/>
                    <a:pt x="83" y="607"/>
                    <a:pt x="68" y="607"/>
                  </a:cubicBezTo>
                  <a:cubicBezTo>
                    <a:pt x="54" y="606"/>
                    <a:pt x="43" y="614"/>
                    <a:pt x="42" y="615"/>
                  </a:cubicBezTo>
                  <a:cubicBezTo>
                    <a:pt x="42" y="616"/>
                    <a:pt x="42" y="618"/>
                    <a:pt x="41" y="619"/>
                  </a:cubicBezTo>
                  <a:cubicBezTo>
                    <a:pt x="39" y="630"/>
                    <a:pt x="39" y="639"/>
                    <a:pt x="45" y="646"/>
                  </a:cubicBezTo>
                  <a:cubicBezTo>
                    <a:pt x="50" y="653"/>
                    <a:pt x="47" y="662"/>
                    <a:pt x="47" y="662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849"/>
                    <a:pt x="3" y="849"/>
                    <a:pt x="3" y="849"/>
                  </a:cubicBezTo>
                  <a:cubicBezTo>
                    <a:pt x="78" y="907"/>
                    <a:pt x="78" y="907"/>
                    <a:pt x="78" y="907"/>
                  </a:cubicBezTo>
                  <a:cubicBezTo>
                    <a:pt x="78" y="907"/>
                    <a:pt x="89" y="899"/>
                    <a:pt x="99" y="898"/>
                  </a:cubicBezTo>
                  <a:cubicBezTo>
                    <a:pt x="100" y="898"/>
                    <a:pt x="101" y="898"/>
                    <a:pt x="101" y="898"/>
                  </a:cubicBezTo>
                  <a:cubicBezTo>
                    <a:pt x="112" y="898"/>
                    <a:pt x="118" y="899"/>
                    <a:pt x="118" y="899"/>
                  </a:cubicBezTo>
                  <a:cubicBezTo>
                    <a:pt x="118" y="899"/>
                    <a:pt x="115" y="955"/>
                    <a:pt x="115" y="977"/>
                  </a:cubicBezTo>
                  <a:cubicBezTo>
                    <a:pt x="115" y="1000"/>
                    <a:pt x="117" y="1035"/>
                    <a:pt x="127" y="1051"/>
                  </a:cubicBezTo>
                  <a:cubicBezTo>
                    <a:pt x="136" y="1067"/>
                    <a:pt x="138" y="1073"/>
                    <a:pt x="138" y="1087"/>
                  </a:cubicBezTo>
                  <a:cubicBezTo>
                    <a:pt x="138" y="1101"/>
                    <a:pt x="117" y="1140"/>
                    <a:pt x="118" y="1153"/>
                  </a:cubicBezTo>
                  <a:cubicBezTo>
                    <a:pt x="118" y="1166"/>
                    <a:pt x="121" y="1186"/>
                    <a:pt x="143" y="1186"/>
                  </a:cubicBezTo>
                  <a:cubicBezTo>
                    <a:pt x="165" y="1185"/>
                    <a:pt x="181" y="1176"/>
                    <a:pt x="181" y="1159"/>
                  </a:cubicBezTo>
                  <a:cubicBezTo>
                    <a:pt x="181" y="1141"/>
                    <a:pt x="178" y="1130"/>
                    <a:pt x="185" y="1124"/>
                  </a:cubicBezTo>
                  <a:cubicBezTo>
                    <a:pt x="193" y="1117"/>
                    <a:pt x="181" y="1101"/>
                    <a:pt x="194" y="1084"/>
                  </a:cubicBezTo>
                  <a:cubicBezTo>
                    <a:pt x="206" y="1067"/>
                    <a:pt x="193" y="1066"/>
                    <a:pt x="196" y="1050"/>
                  </a:cubicBezTo>
                  <a:cubicBezTo>
                    <a:pt x="199" y="1034"/>
                    <a:pt x="193" y="987"/>
                    <a:pt x="192" y="968"/>
                  </a:cubicBezTo>
                  <a:cubicBezTo>
                    <a:pt x="191" y="949"/>
                    <a:pt x="194" y="926"/>
                    <a:pt x="204" y="846"/>
                  </a:cubicBezTo>
                  <a:cubicBezTo>
                    <a:pt x="213" y="765"/>
                    <a:pt x="219" y="729"/>
                    <a:pt x="222" y="712"/>
                  </a:cubicBezTo>
                  <a:cubicBezTo>
                    <a:pt x="225" y="694"/>
                    <a:pt x="229" y="672"/>
                    <a:pt x="229" y="672"/>
                  </a:cubicBezTo>
                  <a:cubicBezTo>
                    <a:pt x="229" y="672"/>
                    <a:pt x="242" y="748"/>
                    <a:pt x="252" y="767"/>
                  </a:cubicBezTo>
                  <a:cubicBezTo>
                    <a:pt x="262" y="785"/>
                    <a:pt x="274" y="879"/>
                    <a:pt x="277" y="907"/>
                  </a:cubicBezTo>
                  <a:cubicBezTo>
                    <a:pt x="280" y="934"/>
                    <a:pt x="278" y="1015"/>
                    <a:pt x="285" y="1024"/>
                  </a:cubicBezTo>
                  <a:cubicBezTo>
                    <a:pt x="291" y="1032"/>
                    <a:pt x="294" y="1044"/>
                    <a:pt x="294" y="1044"/>
                  </a:cubicBezTo>
                  <a:cubicBezTo>
                    <a:pt x="294" y="1044"/>
                    <a:pt x="277" y="1054"/>
                    <a:pt x="277" y="1067"/>
                  </a:cubicBezTo>
                  <a:cubicBezTo>
                    <a:pt x="277" y="1081"/>
                    <a:pt x="290" y="1092"/>
                    <a:pt x="289" y="1110"/>
                  </a:cubicBezTo>
                  <a:cubicBezTo>
                    <a:pt x="289" y="1128"/>
                    <a:pt x="291" y="1143"/>
                    <a:pt x="298" y="1146"/>
                  </a:cubicBezTo>
                  <a:cubicBezTo>
                    <a:pt x="305" y="1150"/>
                    <a:pt x="304" y="1180"/>
                    <a:pt x="313" y="1191"/>
                  </a:cubicBezTo>
                  <a:cubicBezTo>
                    <a:pt x="322" y="1201"/>
                    <a:pt x="337" y="1210"/>
                    <a:pt x="355" y="1205"/>
                  </a:cubicBezTo>
                  <a:cubicBezTo>
                    <a:pt x="373" y="1199"/>
                    <a:pt x="373" y="1175"/>
                    <a:pt x="364" y="1152"/>
                  </a:cubicBezTo>
                  <a:cubicBezTo>
                    <a:pt x="355" y="1129"/>
                    <a:pt x="344" y="1114"/>
                    <a:pt x="347" y="1105"/>
                  </a:cubicBezTo>
                  <a:cubicBezTo>
                    <a:pt x="351" y="1096"/>
                    <a:pt x="354" y="1082"/>
                    <a:pt x="345" y="1073"/>
                  </a:cubicBezTo>
                  <a:cubicBezTo>
                    <a:pt x="336" y="1064"/>
                    <a:pt x="345" y="1054"/>
                    <a:pt x="351" y="1046"/>
                  </a:cubicBezTo>
                  <a:cubicBezTo>
                    <a:pt x="357" y="1038"/>
                    <a:pt x="356" y="1002"/>
                    <a:pt x="356" y="982"/>
                  </a:cubicBezTo>
                  <a:cubicBezTo>
                    <a:pt x="357" y="962"/>
                    <a:pt x="354" y="864"/>
                    <a:pt x="356" y="829"/>
                  </a:cubicBezTo>
                  <a:cubicBezTo>
                    <a:pt x="357" y="793"/>
                    <a:pt x="360" y="685"/>
                    <a:pt x="355" y="655"/>
                  </a:cubicBezTo>
                  <a:cubicBezTo>
                    <a:pt x="350" y="625"/>
                    <a:pt x="354" y="603"/>
                    <a:pt x="354" y="603"/>
                  </a:cubicBezTo>
                  <a:cubicBezTo>
                    <a:pt x="354" y="603"/>
                    <a:pt x="366" y="609"/>
                    <a:pt x="366" y="597"/>
                  </a:cubicBezTo>
                  <a:cubicBezTo>
                    <a:pt x="366" y="586"/>
                    <a:pt x="362" y="584"/>
                    <a:pt x="367" y="565"/>
                  </a:cubicBezTo>
                  <a:cubicBezTo>
                    <a:pt x="372" y="545"/>
                    <a:pt x="373" y="527"/>
                    <a:pt x="379" y="512"/>
                  </a:cubicBezTo>
                  <a:close/>
                  <a:moveTo>
                    <a:pt x="109" y="669"/>
                  </a:moveTo>
                  <a:cubicBezTo>
                    <a:pt x="99" y="668"/>
                    <a:pt x="99" y="668"/>
                    <a:pt x="99" y="668"/>
                  </a:cubicBezTo>
                  <a:cubicBezTo>
                    <a:pt x="91" y="666"/>
                    <a:pt x="91" y="666"/>
                    <a:pt x="91" y="666"/>
                  </a:cubicBezTo>
                  <a:cubicBezTo>
                    <a:pt x="91" y="666"/>
                    <a:pt x="93" y="653"/>
                    <a:pt x="90" y="644"/>
                  </a:cubicBezTo>
                  <a:cubicBezTo>
                    <a:pt x="87" y="635"/>
                    <a:pt x="88" y="627"/>
                    <a:pt x="90" y="617"/>
                  </a:cubicBezTo>
                  <a:cubicBezTo>
                    <a:pt x="90" y="617"/>
                    <a:pt x="93" y="627"/>
                    <a:pt x="99" y="628"/>
                  </a:cubicBezTo>
                  <a:cubicBezTo>
                    <a:pt x="100" y="628"/>
                    <a:pt x="100" y="628"/>
                    <a:pt x="101" y="628"/>
                  </a:cubicBezTo>
                  <a:cubicBezTo>
                    <a:pt x="108" y="628"/>
                    <a:pt x="111" y="629"/>
                    <a:pt x="111" y="629"/>
                  </a:cubicBezTo>
                  <a:cubicBezTo>
                    <a:pt x="111" y="629"/>
                    <a:pt x="108" y="640"/>
                    <a:pt x="108" y="649"/>
                  </a:cubicBezTo>
                  <a:cubicBezTo>
                    <a:pt x="108" y="659"/>
                    <a:pt x="109" y="669"/>
                    <a:pt x="109" y="669"/>
                  </a:cubicBezTo>
                  <a:close/>
                  <a:moveTo>
                    <a:pt x="223" y="505"/>
                  </a:moveTo>
                  <a:cubicBezTo>
                    <a:pt x="225" y="464"/>
                    <a:pt x="224" y="347"/>
                    <a:pt x="223" y="322"/>
                  </a:cubicBezTo>
                  <a:cubicBezTo>
                    <a:pt x="223" y="296"/>
                    <a:pt x="218" y="239"/>
                    <a:pt x="221" y="232"/>
                  </a:cubicBezTo>
                  <a:cubicBezTo>
                    <a:pt x="224" y="224"/>
                    <a:pt x="232" y="218"/>
                    <a:pt x="241" y="223"/>
                  </a:cubicBezTo>
                  <a:cubicBezTo>
                    <a:pt x="241" y="223"/>
                    <a:pt x="231" y="208"/>
                    <a:pt x="215" y="208"/>
                  </a:cubicBezTo>
                  <a:cubicBezTo>
                    <a:pt x="199" y="208"/>
                    <a:pt x="188" y="223"/>
                    <a:pt x="188" y="223"/>
                  </a:cubicBezTo>
                  <a:cubicBezTo>
                    <a:pt x="188" y="223"/>
                    <a:pt x="206" y="219"/>
                    <a:pt x="205" y="231"/>
                  </a:cubicBezTo>
                  <a:cubicBezTo>
                    <a:pt x="205" y="243"/>
                    <a:pt x="199" y="305"/>
                    <a:pt x="199" y="346"/>
                  </a:cubicBezTo>
                  <a:cubicBezTo>
                    <a:pt x="199" y="383"/>
                    <a:pt x="196" y="472"/>
                    <a:pt x="199" y="505"/>
                  </a:cubicBezTo>
                  <a:cubicBezTo>
                    <a:pt x="187" y="504"/>
                    <a:pt x="183" y="503"/>
                    <a:pt x="183" y="503"/>
                  </a:cubicBezTo>
                  <a:cubicBezTo>
                    <a:pt x="183" y="503"/>
                    <a:pt x="194" y="386"/>
                    <a:pt x="190" y="325"/>
                  </a:cubicBezTo>
                  <a:cubicBezTo>
                    <a:pt x="186" y="279"/>
                    <a:pt x="178" y="220"/>
                    <a:pt x="173" y="188"/>
                  </a:cubicBezTo>
                  <a:cubicBezTo>
                    <a:pt x="173" y="188"/>
                    <a:pt x="173" y="188"/>
                    <a:pt x="173" y="188"/>
                  </a:cubicBezTo>
                  <a:cubicBezTo>
                    <a:pt x="173" y="188"/>
                    <a:pt x="178" y="170"/>
                    <a:pt x="182" y="176"/>
                  </a:cubicBezTo>
                  <a:cubicBezTo>
                    <a:pt x="182" y="176"/>
                    <a:pt x="182" y="176"/>
                    <a:pt x="182" y="176"/>
                  </a:cubicBezTo>
                  <a:cubicBezTo>
                    <a:pt x="190" y="189"/>
                    <a:pt x="203" y="204"/>
                    <a:pt x="212" y="204"/>
                  </a:cubicBezTo>
                  <a:cubicBezTo>
                    <a:pt x="222" y="204"/>
                    <a:pt x="238" y="193"/>
                    <a:pt x="248" y="179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48" y="179"/>
                    <a:pt x="258" y="182"/>
                    <a:pt x="259" y="196"/>
                  </a:cubicBezTo>
                  <a:cubicBezTo>
                    <a:pt x="259" y="197"/>
                    <a:pt x="258" y="199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13"/>
                    <a:pt x="258" y="230"/>
                    <a:pt x="260" y="256"/>
                  </a:cubicBezTo>
                  <a:cubicBezTo>
                    <a:pt x="263" y="335"/>
                    <a:pt x="277" y="429"/>
                    <a:pt x="284" y="450"/>
                  </a:cubicBezTo>
                  <a:cubicBezTo>
                    <a:pt x="292" y="472"/>
                    <a:pt x="301" y="488"/>
                    <a:pt x="301" y="488"/>
                  </a:cubicBezTo>
                  <a:cubicBezTo>
                    <a:pt x="301" y="488"/>
                    <a:pt x="251" y="504"/>
                    <a:pt x="223" y="505"/>
                  </a:cubicBezTo>
                  <a:close/>
                  <a:moveTo>
                    <a:pt x="360" y="585"/>
                  </a:moveTo>
                  <a:cubicBezTo>
                    <a:pt x="358" y="573"/>
                    <a:pt x="361" y="568"/>
                    <a:pt x="352" y="561"/>
                  </a:cubicBezTo>
                  <a:cubicBezTo>
                    <a:pt x="343" y="554"/>
                    <a:pt x="328" y="554"/>
                    <a:pt x="328" y="554"/>
                  </a:cubicBezTo>
                  <a:cubicBezTo>
                    <a:pt x="328" y="554"/>
                    <a:pt x="350" y="545"/>
                    <a:pt x="360" y="557"/>
                  </a:cubicBezTo>
                  <a:cubicBezTo>
                    <a:pt x="369" y="570"/>
                    <a:pt x="360" y="585"/>
                    <a:pt x="360" y="58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</p:grpSp>
      <p:sp>
        <p:nvSpPr>
          <p:cNvPr id="31" name="Rectangle: Rounded Corners 28">
            <a:extLst>
              <a:ext uri="{FF2B5EF4-FFF2-40B4-BE49-F238E27FC236}">
                <a16:creationId xmlns:a16="http://schemas.microsoft.com/office/drawing/2014/main" id="{9957B1FD-542E-4953-BBB9-29CB3BDA1E05}"/>
              </a:ext>
            </a:extLst>
          </p:cNvPr>
          <p:cNvSpPr/>
          <p:nvPr/>
        </p:nvSpPr>
        <p:spPr bwMode="auto">
          <a:xfrm>
            <a:off x="1942747" y="297577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ey Metri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DE66097-5F7C-4D6C-9EAE-89D148EB64BE}"/>
              </a:ext>
            </a:extLst>
          </p:cNvPr>
          <p:cNvSpPr/>
          <p:nvPr/>
        </p:nvSpPr>
        <p:spPr>
          <a:xfrm>
            <a:off x="704703" y="3590014"/>
            <a:ext cx="2037358" cy="107986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2F8C84-CD6E-4090-ACAC-F05983E2FF67}"/>
              </a:ext>
            </a:extLst>
          </p:cNvPr>
          <p:cNvSpPr/>
          <p:nvPr/>
        </p:nvSpPr>
        <p:spPr>
          <a:xfrm>
            <a:off x="634986" y="3522809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AB47CA-6502-4141-9EF9-81C9261C39EF}"/>
              </a:ext>
            </a:extLst>
          </p:cNvPr>
          <p:cNvSpPr txBox="1"/>
          <p:nvPr/>
        </p:nvSpPr>
        <p:spPr>
          <a:xfrm>
            <a:off x="692721" y="3806412"/>
            <a:ext cx="18584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/>
                </a:solidFill>
              </a:rPr>
              <a:t>2 Countri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346CC4B-EFB0-4114-8A18-C52172620088}"/>
              </a:ext>
            </a:extLst>
          </p:cNvPr>
          <p:cNvSpPr/>
          <p:nvPr/>
        </p:nvSpPr>
        <p:spPr>
          <a:xfrm>
            <a:off x="2944460" y="3651387"/>
            <a:ext cx="1998986" cy="10184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2DFB2B-4115-41CA-A31C-F1ED3A0648D9}"/>
              </a:ext>
            </a:extLst>
          </p:cNvPr>
          <p:cNvSpPr/>
          <p:nvPr/>
        </p:nvSpPr>
        <p:spPr>
          <a:xfrm>
            <a:off x="2839263" y="3519661"/>
            <a:ext cx="1980000" cy="998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F3DB05-D207-46BB-972B-420BC6E0C9FF}"/>
              </a:ext>
            </a:extLst>
          </p:cNvPr>
          <p:cNvSpPr txBox="1"/>
          <p:nvPr/>
        </p:nvSpPr>
        <p:spPr>
          <a:xfrm>
            <a:off x="2866245" y="3651387"/>
            <a:ext cx="18988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$57M Target cost reductio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CB99C33-F120-42F0-8547-B3C66ECFEC77}"/>
              </a:ext>
            </a:extLst>
          </p:cNvPr>
          <p:cNvSpPr/>
          <p:nvPr/>
        </p:nvSpPr>
        <p:spPr>
          <a:xfrm>
            <a:off x="5371505" y="1785414"/>
            <a:ext cx="5750734" cy="2500606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54" name="Rectangle: Rounded Corners 28">
            <a:extLst>
              <a:ext uri="{FF2B5EF4-FFF2-40B4-BE49-F238E27FC236}">
                <a16:creationId xmlns:a16="http://schemas.microsoft.com/office/drawing/2014/main" id="{DBE4E9F7-16FC-4882-A435-EF64BBEC7884}"/>
              </a:ext>
            </a:extLst>
          </p:cNvPr>
          <p:cNvSpPr/>
          <p:nvPr/>
        </p:nvSpPr>
        <p:spPr bwMode="auto">
          <a:xfrm>
            <a:off x="6460268" y="1690493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USINESS C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B7AB1A-0689-4793-8B55-8CCECE2348F9}"/>
              </a:ext>
            </a:extLst>
          </p:cNvPr>
          <p:cNvSpPr txBox="1"/>
          <p:nvPr/>
        </p:nvSpPr>
        <p:spPr>
          <a:xfrm>
            <a:off x="5446768" y="2149158"/>
            <a:ext cx="567547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tx2"/>
                </a:solidFill>
              </a:rPr>
              <a:t>The US/CAN Op Ex team was manually extracting data to do analysis and drive efficiencies. </a:t>
            </a:r>
          </a:p>
          <a:p>
            <a:pPr algn="ctr"/>
            <a:endParaRPr lang="en-US" sz="1100">
              <a:solidFill>
                <a:schemeClr val="tx2"/>
              </a:solidFill>
            </a:endParaRPr>
          </a:p>
          <a:p>
            <a:pPr algn="ctr"/>
            <a:r>
              <a:rPr lang="en-US" sz="1100">
                <a:solidFill>
                  <a:schemeClr val="tx2"/>
                </a:solidFill>
              </a:rPr>
              <a:t>ED&amp;A team has been able to produce an </a:t>
            </a:r>
            <a:r>
              <a:rPr lang="en-US" sz="1100" b="1">
                <a:solidFill>
                  <a:schemeClr val="accent2"/>
                </a:solidFill>
              </a:rPr>
              <a:t>automated report that will drive consistent RBU reporting</a:t>
            </a:r>
            <a:r>
              <a:rPr lang="en-US" sz="1100">
                <a:solidFill>
                  <a:schemeClr val="tx2"/>
                </a:solidFill>
              </a:rPr>
              <a:t>, including newly defined KPIs to support performance tracking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2F2EA4-756C-4B8C-9F5C-ACDA8BBAF04B}"/>
              </a:ext>
            </a:extLst>
          </p:cNvPr>
          <p:cNvSpPr txBox="1"/>
          <p:nvPr/>
        </p:nvSpPr>
        <p:spPr>
          <a:xfrm>
            <a:off x="5495689" y="3544802"/>
            <a:ext cx="13438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Manual work re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4CE4A65-599C-404B-A76F-808C7E09D75D}"/>
              </a:ext>
            </a:extLst>
          </p:cNvPr>
          <p:cNvSpPr txBox="1"/>
          <p:nvPr/>
        </p:nvSpPr>
        <p:spPr>
          <a:xfrm>
            <a:off x="7082989" y="3605173"/>
            <a:ext cx="1498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Accurate Reporting 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1CDF162-81BF-4819-B3AF-193C81C451B9}"/>
              </a:ext>
            </a:extLst>
          </p:cNvPr>
          <p:cNvSpPr/>
          <p:nvPr/>
        </p:nvSpPr>
        <p:spPr>
          <a:xfrm>
            <a:off x="5376243" y="4631101"/>
            <a:ext cx="2736000" cy="14328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CEC114D-E191-4446-A6C7-60F90C3A6E46}"/>
              </a:ext>
            </a:extLst>
          </p:cNvPr>
          <p:cNvSpPr/>
          <p:nvPr/>
        </p:nvSpPr>
        <p:spPr>
          <a:xfrm>
            <a:off x="8386239" y="4631100"/>
            <a:ext cx="2736000" cy="14328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62" name="Rectangle: Rounded Corners 28">
            <a:extLst>
              <a:ext uri="{FF2B5EF4-FFF2-40B4-BE49-F238E27FC236}">
                <a16:creationId xmlns:a16="http://schemas.microsoft.com/office/drawing/2014/main" id="{3D755988-E942-4C7C-B876-A3AD67E105EF}"/>
              </a:ext>
            </a:extLst>
          </p:cNvPr>
          <p:cNvSpPr/>
          <p:nvPr/>
        </p:nvSpPr>
        <p:spPr bwMode="auto">
          <a:xfrm>
            <a:off x="5945627" y="4501366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TA SOURCES</a:t>
            </a:r>
          </a:p>
        </p:txBody>
      </p:sp>
      <p:sp>
        <p:nvSpPr>
          <p:cNvPr id="64" name="Rectangle: Rounded Corners 28">
            <a:extLst>
              <a:ext uri="{FF2B5EF4-FFF2-40B4-BE49-F238E27FC236}">
                <a16:creationId xmlns:a16="http://schemas.microsoft.com/office/drawing/2014/main" id="{5A0CAF75-CA30-40DB-8585-0C62F59864F1}"/>
              </a:ext>
            </a:extLst>
          </p:cNvPr>
          <p:cNvSpPr/>
          <p:nvPr/>
        </p:nvSpPr>
        <p:spPr bwMode="auto">
          <a:xfrm>
            <a:off x="8815906" y="4501366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ENEFIT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6F0F6FC-2F8E-4568-9912-2F28173F0437}"/>
              </a:ext>
            </a:extLst>
          </p:cNvPr>
          <p:cNvSpPr txBox="1"/>
          <p:nvPr/>
        </p:nvSpPr>
        <p:spPr>
          <a:xfrm>
            <a:off x="8448382" y="4869715"/>
            <a:ext cx="2673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tx2"/>
                </a:solidFill>
              </a:rPr>
              <a:t>Support and identify opportunities as part of Project Boost cost reduction </a:t>
            </a:r>
            <a:r>
              <a:rPr lang="en-US" sz="1200" b="1">
                <a:solidFill>
                  <a:schemeClr val="accent1">
                    <a:lumMod val="75000"/>
                  </a:schemeClr>
                </a:solidFill>
              </a:rPr>
              <a:t>target of $57M in 2023</a:t>
            </a:r>
          </a:p>
          <a:p>
            <a:pPr algn="ctr"/>
            <a:endParaRPr lang="en-US" sz="1200">
              <a:solidFill>
                <a:schemeClr val="tx2"/>
              </a:solidFill>
            </a:endParaRPr>
          </a:p>
          <a:p>
            <a:pPr algn="ctr"/>
            <a:r>
              <a:rPr lang="en-US" sz="1200">
                <a:solidFill>
                  <a:schemeClr val="tx2"/>
                </a:solidFill>
              </a:rPr>
              <a:t>Time reduction for OE team preparation and analysis process 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C86BDE6-C3DB-4C03-A036-C590FE2DA819}"/>
              </a:ext>
            </a:extLst>
          </p:cNvPr>
          <p:cNvSpPr/>
          <p:nvPr/>
        </p:nvSpPr>
        <p:spPr>
          <a:xfrm>
            <a:off x="704703" y="4989846"/>
            <a:ext cx="2037358" cy="10798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0E1B4AC-AE4B-45DE-86AF-2B14A54DA787}"/>
              </a:ext>
            </a:extLst>
          </p:cNvPr>
          <p:cNvSpPr/>
          <p:nvPr/>
        </p:nvSpPr>
        <p:spPr>
          <a:xfrm>
            <a:off x="634986" y="4922641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247000C-BD39-482C-9931-A3C8F50F570F}"/>
              </a:ext>
            </a:extLst>
          </p:cNvPr>
          <p:cNvSpPr/>
          <p:nvPr/>
        </p:nvSpPr>
        <p:spPr>
          <a:xfrm>
            <a:off x="2908980" y="4984090"/>
            <a:ext cx="2037358" cy="107986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C3EA30-B5EB-409F-8993-C26A5D69F8EC}"/>
              </a:ext>
            </a:extLst>
          </p:cNvPr>
          <p:cNvSpPr/>
          <p:nvPr/>
        </p:nvSpPr>
        <p:spPr>
          <a:xfrm>
            <a:off x="2839263" y="4916885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46CF565-7B62-4075-B568-3F402943E076}"/>
              </a:ext>
            </a:extLst>
          </p:cNvPr>
          <p:cNvSpPr txBox="1"/>
          <p:nvPr/>
        </p:nvSpPr>
        <p:spPr>
          <a:xfrm>
            <a:off x="2918268" y="5052679"/>
            <a:ext cx="17225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>
                    <a:lumMod val="75000"/>
                  </a:schemeClr>
                </a:solidFill>
              </a:rPr>
              <a:t>+$655M Gross Margi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E82867-6B13-4C8E-8EA7-0268B59B58B8}"/>
              </a:ext>
            </a:extLst>
          </p:cNvPr>
          <p:cNvSpPr txBox="1"/>
          <p:nvPr/>
        </p:nvSpPr>
        <p:spPr>
          <a:xfrm>
            <a:off x="574608" y="5089379"/>
            <a:ext cx="19999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+$673M Fee EBITD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9EAD2C6-81BD-4BAB-B8DE-B6F1E1D8655C}"/>
              </a:ext>
            </a:extLst>
          </p:cNvPr>
          <p:cNvSpPr txBox="1"/>
          <p:nvPr/>
        </p:nvSpPr>
        <p:spPr>
          <a:xfrm>
            <a:off x="2820276" y="4159178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solidFill>
                  <a:schemeClr val="tx2"/>
                </a:solidFill>
              </a:rPr>
              <a:t>(Year 2023)</a:t>
            </a:r>
          </a:p>
        </p:txBody>
      </p: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96C17F74-9531-48DD-8C76-64D3297BDC9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5991699" y="4952813"/>
            <a:ext cx="1465045" cy="721341"/>
          </a:xfrm>
          <a:prstGeom prst="rect">
            <a:avLst/>
          </a:prstGeom>
          <a:noFill/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C9B9164-A9E4-45E2-8BD8-2313B468A063}"/>
              </a:ext>
            </a:extLst>
          </p:cNvPr>
          <p:cNvSpPr txBox="1"/>
          <p:nvPr/>
        </p:nvSpPr>
        <p:spPr>
          <a:xfrm>
            <a:off x="8559710" y="3605173"/>
            <a:ext cx="27209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Report &amp; slides shared  monthly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690606D-4ECD-4115-88DD-14D4635F22E9}"/>
              </a:ext>
            </a:extLst>
          </p:cNvPr>
          <p:cNvSpPr txBox="1"/>
          <p:nvPr/>
        </p:nvSpPr>
        <p:spPr>
          <a:xfrm>
            <a:off x="612632" y="5575882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solidFill>
                  <a:schemeClr val="tx2"/>
                </a:solidFill>
              </a:rPr>
              <a:t>(Year 2022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E1C4236-5034-4FFE-98E7-A7B8EC9DEAC7}"/>
              </a:ext>
            </a:extLst>
          </p:cNvPr>
          <p:cNvSpPr txBox="1"/>
          <p:nvPr/>
        </p:nvSpPr>
        <p:spPr>
          <a:xfrm>
            <a:off x="2804204" y="5576348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solidFill>
                  <a:schemeClr val="tx2"/>
                </a:solidFill>
              </a:rPr>
              <a:t>(Year 2022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9216FA4-EF9E-4616-97E5-AEA066CFC26F}"/>
              </a:ext>
            </a:extLst>
          </p:cNvPr>
          <p:cNvSpPr txBox="1"/>
          <p:nvPr/>
        </p:nvSpPr>
        <p:spPr>
          <a:xfrm>
            <a:off x="331825" y="1024988"/>
            <a:ext cx="5761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In Development</a:t>
            </a:r>
            <a:endParaRPr lang="en-US" sz="1600" i="1">
              <a:solidFill>
                <a:schemeClr val="tx2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074F4D-B18D-4853-BE74-2B9385B5DF68}"/>
              </a:ext>
            </a:extLst>
          </p:cNvPr>
          <p:cNvSpPr txBox="1"/>
          <p:nvPr/>
        </p:nvSpPr>
        <p:spPr>
          <a:xfrm>
            <a:off x="1648930" y="1930170"/>
            <a:ext cx="2486758" cy="71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2"/>
                </a:solidFill>
              </a:rPr>
              <a:t>USCAN – Operational Excellence</a:t>
            </a:r>
          </a:p>
          <a:p>
            <a:pPr>
              <a:lnSpc>
                <a:spcPct val="150000"/>
              </a:lnSpc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Key Sponsor: 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Jody Fisher, </a:t>
            </a:r>
          </a:p>
          <a:p>
            <a:pPr>
              <a:lnSpc>
                <a:spcPct val="150000"/>
              </a:lnSpc>
            </a:pP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VP, Operational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401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6C1451F9-2DD4-428E-8E89-4234A0FAD839}"/>
              </a:ext>
            </a:extLst>
          </p:cNvPr>
          <p:cNvSpPr/>
          <p:nvPr/>
        </p:nvSpPr>
        <p:spPr>
          <a:xfrm>
            <a:off x="4088131" y="3226297"/>
            <a:ext cx="1366902" cy="13657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22" name="Diagrama de flujo: operación manual 3">
            <a:extLst>
              <a:ext uri="{FF2B5EF4-FFF2-40B4-BE49-F238E27FC236}">
                <a16:creationId xmlns:a16="http://schemas.microsoft.com/office/drawing/2014/main" id="{B166B73D-00CC-4E03-99CD-EDCAA515CD0E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F70200-153B-4F84-A0BB-50DB6C9F787C}"/>
              </a:ext>
            </a:extLst>
          </p:cNvPr>
          <p:cNvSpPr/>
          <p:nvPr/>
        </p:nvSpPr>
        <p:spPr>
          <a:xfrm>
            <a:off x="514904" y="2179313"/>
            <a:ext cx="5171792" cy="41149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74" name="Rectangle: Rounded Corners 28">
            <a:extLst>
              <a:ext uri="{FF2B5EF4-FFF2-40B4-BE49-F238E27FC236}">
                <a16:creationId xmlns:a16="http://schemas.microsoft.com/office/drawing/2014/main" id="{E0311394-54E5-478D-BFE1-EE26035E1D08}"/>
              </a:ext>
            </a:extLst>
          </p:cNvPr>
          <p:cNvSpPr/>
          <p:nvPr/>
        </p:nvSpPr>
        <p:spPr bwMode="auto">
          <a:xfrm>
            <a:off x="218922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SOLU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917C5A-D252-4337-86C1-D11832B1683E}"/>
              </a:ext>
            </a:extLst>
          </p:cNvPr>
          <p:cNvSpPr txBox="1"/>
          <p:nvPr/>
        </p:nvSpPr>
        <p:spPr>
          <a:xfrm>
            <a:off x="2042434" y="5373285"/>
            <a:ext cx="19969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Dashboard delivered monthly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4E97A50-47B7-45D8-B162-6B621F7FCAAE}"/>
              </a:ext>
            </a:extLst>
          </p:cNvPr>
          <p:cNvSpPr txBox="1"/>
          <p:nvPr/>
        </p:nvSpPr>
        <p:spPr>
          <a:xfrm>
            <a:off x="2395260" y="2360280"/>
            <a:ext cx="1443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Processing</a:t>
            </a:r>
          </a:p>
        </p:txBody>
      </p:sp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33CF1737-E665-45EC-8760-162CA5892489}"/>
              </a:ext>
            </a:extLst>
          </p:cNvPr>
          <p:cNvSpPr/>
          <p:nvPr/>
        </p:nvSpPr>
        <p:spPr bwMode="auto">
          <a:xfrm>
            <a:off x="797188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PIs availabl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624C68F-237B-45F3-8779-72D6035CE870}"/>
              </a:ext>
            </a:extLst>
          </p:cNvPr>
          <p:cNvSpPr txBox="1"/>
          <p:nvPr/>
        </p:nvSpPr>
        <p:spPr>
          <a:xfrm>
            <a:off x="744572" y="2360945"/>
            <a:ext cx="1297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Source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1FF74B0-D75A-4646-8574-67A754037477}"/>
              </a:ext>
            </a:extLst>
          </p:cNvPr>
          <p:cNvSpPr/>
          <p:nvPr/>
        </p:nvSpPr>
        <p:spPr>
          <a:xfrm>
            <a:off x="2455361" y="10429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USCAN Operational Excellence Dashboard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FBC52AD-2596-4887-8A69-57679036CD85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0D0E962-493C-4B4F-AEB8-E230EE65375D}"/>
              </a:ext>
            </a:extLst>
          </p:cNvPr>
          <p:cNvSpPr txBox="1"/>
          <p:nvPr/>
        </p:nvSpPr>
        <p:spPr>
          <a:xfrm>
            <a:off x="4191697" y="2360945"/>
            <a:ext cx="1175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utput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F9187CC-3CD5-4486-859C-BC853C28F8D4}"/>
              </a:ext>
            </a:extLst>
          </p:cNvPr>
          <p:cNvSpPr/>
          <p:nvPr/>
        </p:nvSpPr>
        <p:spPr>
          <a:xfrm>
            <a:off x="676081" y="3151011"/>
            <a:ext cx="1175904" cy="15308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5" name="Picture 54" descr="Logo, company name&#10;&#10;Description automatically generated">
            <a:extLst>
              <a:ext uri="{FF2B5EF4-FFF2-40B4-BE49-F238E27FC236}">
                <a16:creationId xmlns:a16="http://schemas.microsoft.com/office/drawing/2014/main" id="{DB9CB8B8-A23B-4A23-98AB-FCDA2449AFD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815983" y="3661827"/>
            <a:ext cx="869638" cy="428182"/>
          </a:xfrm>
          <a:prstGeom prst="rect">
            <a:avLst/>
          </a:prstGeom>
          <a:noFill/>
        </p:spPr>
      </p:pic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33AAC015-6519-43B8-91E5-C4AA9019B4AC}"/>
              </a:ext>
            </a:extLst>
          </p:cNvPr>
          <p:cNvCxnSpPr>
            <a:cxnSpLocks/>
            <a:stCxn id="81" idx="3"/>
            <a:endCxn id="105" idx="1"/>
          </p:cNvCxnSpPr>
          <p:nvPr/>
        </p:nvCxnSpPr>
        <p:spPr>
          <a:xfrm flipV="1">
            <a:off x="3753202" y="3909194"/>
            <a:ext cx="334929" cy="724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98">
            <a:extLst>
              <a:ext uri="{FF2B5EF4-FFF2-40B4-BE49-F238E27FC236}">
                <a16:creationId xmlns:a16="http://schemas.microsoft.com/office/drawing/2014/main" id="{C6B4548D-A2AC-4FD5-91F3-3F82A6719A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3879" y="3640694"/>
            <a:ext cx="488345" cy="470448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E237236-B7E0-402E-BC8D-F85A3DF8CD68}"/>
              </a:ext>
            </a:extLst>
          </p:cNvPr>
          <p:cNvCxnSpPr>
            <a:cxnSpLocks/>
            <a:stCxn id="54" idx="3"/>
            <a:endCxn id="81" idx="1"/>
          </p:cNvCxnSpPr>
          <p:nvPr/>
        </p:nvCxnSpPr>
        <p:spPr>
          <a:xfrm flipV="1">
            <a:off x="1851985" y="3916434"/>
            <a:ext cx="725313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846BA9A-20AC-4FFE-90F3-5F9F99879130}"/>
              </a:ext>
            </a:extLst>
          </p:cNvPr>
          <p:cNvSpPr/>
          <p:nvPr/>
        </p:nvSpPr>
        <p:spPr>
          <a:xfrm>
            <a:off x="2577298" y="3574167"/>
            <a:ext cx="1175904" cy="684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82" name="Picture 8" descr="Alteryx Designer Reviews, Ratings &amp; Features 2022 | Gartner Peer Insights">
            <a:extLst>
              <a:ext uri="{FF2B5EF4-FFF2-40B4-BE49-F238E27FC236}">
                <a16:creationId xmlns:a16="http://schemas.microsoft.com/office/drawing/2014/main" id="{6981F34E-7A40-40EC-ADA5-47E67C814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950" y="3907053"/>
            <a:ext cx="1069020" cy="26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Graphic 83" descr="Gears">
            <a:extLst>
              <a:ext uri="{FF2B5EF4-FFF2-40B4-BE49-F238E27FC236}">
                <a16:creationId xmlns:a16="http://schemas.microsoft.com/office/drawing/2014/main" id="{5DA81FB4-C6B8-41DE-940E-DD9CF9E3BF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49682" y="3640723"/>
            <a:ext cx="255122" cy="25512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254F0174-A3F4-4065-A447-FB6D73DA1DFF}"/>
              </a:ext>
            </a:extLst>
          </p:cNvPr>
          <p:cNvSpPr/>
          <p:nvPr/>
        </p:nvSpPr>
        <p:spPr>
          <a:xfrm>
            <a:off x="6312762" y="2179313"/>
            <a:ext cx="5171792" cy="41149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9E4417A-86B4-4670-B3CF-B793A3AA963C}"/>
              </a:ext>
            </a:extLst>
          </p:cNvPr>
          <p:cNvSpPr/>
          <p:nvPr/>
        </p:nvSpPr>
        <p:spPr>
          <a:xfrm>
            <a:off x="6604558" y="2597851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Fee Revenu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07071F2-107E-41ED-B77D-BECDF5B86781}"/>
              </a:ext>
            </a:extLst>
          </p:cNvPr>
          <p:cNvSpPr/>
          <p:nvPr/>
        </p:nvSpPr>
        <p:spPr>
          <a:xfrm>
            <a:off x="6736705" y="2885163"/>
            <a:ext cx="1980000" cy="736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Fee Revenue Mix &amp; Growth %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BCFA2B-4310-449D-BCBE-B5226E0E4121}"/>
              </a:ext>
            </a:extLst>
          </p:cNvPr>
          <p:cNvSpPr/>
          <p:nvPr/>
        </p:nvSpPr>
        <p:spPr>
          <a:xfrm>
            <a:off x="9061144" y="2597851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EBITDA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0BB787F-339C-4147-A57F-B3C41E3E785A}"/>
              </a:ext>
            </a:extLst>
          </p:cNvPr>
          <p:cNvSpPr/>
          <p:nvPr/>
        </p:nvSpPr>
        <p:spPr>
          <a:xfrm>
            <a:off x="9193291" y="2885163"/>
            <a:ext cx="1980000" cy="736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EBITDA Mix &amp; Growth %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D91D59-1C7A-4223-8665-1F4AD422E8D0}"/>
              </a:ext>
            </a:extLst>
          </p:cNvPr>
          <p:cNvSpPr/>
          <p:nvPr/>
        </p:nvSpPr>
        <p:spPr>
          <a:xfrm>
            <a:off x="6604558" y="3680362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Compens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87937CF-4D22-42C3-AD64-CFF29235A339}"/>
              </a:ext>
            </a:extLst>
          </p:cNvPr>
          <p:cNvSpPr/>
          <p:nvPr/>
        </p:nvSpPr>
        <p:spPr>
          <a:xfrm>
            <a:off x="6736705" y="3967674"/>
            <a:ext cx="1980000" cy="911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Total Labor Costs,</a:t>
            </a:r>
          </a:p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Total Comp. excluding Temp Labor &amp; Fee revenue per FTE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4EFE99-0051-489E-944E-7F35ED2D9976}"/>
              </a:ext>
            </a:extLst>
          </p:cNvPr>
          <p:cNvSpPr/>
          <p:nvPr/>
        </p:nvSpPr>
        <p:spPr>
          <a:xfrm>
            <a:off x="9061144" y="3680362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Marketing Spen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771D77-3370-46E7-8EBA-4ED334B74F7C}"/>
              </a:ext>
            </a:extLst>
          </p:cNvPr>
          <p:cNvSpPr/>
          <p:nvPr/>
        </p:nvSpPr>
        <p:spPr>
          <a:xfrm>
            <a:off x="9193291" y="3967674"/>
            <a:ext cx="1980000" cy="736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Marketing spend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E8E9C20-2417-473E-ABDA-B878B787FA43}"/>
              </a:ext>
            </a:extLst>
          </p:cNvPr>
          <p:cNvSpPr/>
          <p:nvPr/>
        </p:nvSpPr>
        <p:spPr>
          <a:xfrm>
            <a:off x="6604558" y="5029140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Gross Margi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D232F44-4285-4BC3-B233-36045106F457}"/>
              </a:ext>
            </a:extLst>
          </p:cNvPr>
          <p:cNvSpPr/>
          <p:nvPr/>
        </p:nvSpPr>
        <p:spPr>
          <a:xfrm>
            <a:off x="6736705" y="5316452"/>
            <a:ext cx="1980000" cy="7741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Gross Margin &amp;</a:t>
            </a:r>
          </a:p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Gross Margin vs Revenue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C105EB9-D593-46BA-84EB-10156442E467}"/>
              </a:ext>
            </a:extLst>
          </p:cNvPr>
          <p:cNvSpPr/>
          <p:nvPr/>
        </p:nvSpPr>
        <p:spPr>
          <a:xfrm>
            <a:off x="9061144" y="5031431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3</a:t>
            </a:r>
            <a:r>
              <a:rPr lang="en-US" sz="1400" baseline="30000"/>
              <a:t>rd</a:t>
            </a:r>
            <a:r>
              <a:rPr lang="en-US" sz="1400"/>
              <a:t> Party Expens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767902-A86C-4B7C-9F25-5437D37B243D}"/>
              </a:ext>
            </a:extLst>
          </p:cNvPr>
          <p:cNvSpPr/>
          <p:nvPr/>
        </p:nvSpPr>
        <p:spPr>
          <a:xfrm>
            <a:off x="9193291" y="5318743"/>
            <a:ext cx="1980000" cy="7741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3</a:t>
            </a:r>
            <a:r>
              <a:rPr lang="en-US" sz="900" baseline="30000">
                <a:solidFill>
                  <a:schemeClr val="tx1"/>
                </a:solidFill>
              </a:rPr>
              <a:t>rd</a:t>
            </a:r>
            <a:r>
              <a:rPr lang="en-US" sz="900">
                <a:solidFill>
                  <a:schemeClr val="tx1"/>
                </a:solidFill>
              </a:rPr>
              <a:t> Party Expense &amp;</a:t>
            </a:r>
          </a:p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3</a:t>
            </a:r>
            <a:r>
              <a:rPr lang="en-US" sz="900" baseline="30000">
                <a:solidFill>
                  <a:schemeClr val="tx1"/>
                </a:solidFill>
              </a:rPr>
              <a:t>rd</a:t>
            </a:r>
            <a:r>
              <a:rPr lang="en-US" sz="900">
                <a:solidFill>
                  <a:schemeClr val="tx1"/>
                </a:solidFill>
              </a:rPr>
              <a:t> Party Exp spend to OPEX % by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Year, Quarter &amp; Month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ontrollable &amp; Non-Controllable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163F251-EA2A-4DDC-9F64-443204FB7B00}"/>
              </a:ext>
            </a:extLst>
          </p:cNvPr>
          <p:cNvSpPr txBox="1"/>
          <p:nvPr/>
        </p:nvSpPr>
        <p:spPr>
          <a:xfrm>
            <a:off x="331825" y="1024988"/>
            <a:ext cx="5761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In Development</a:t>
            </a:r>
            <a:endParaRPr lang="en-US" sz="1600" i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Diagrama de flujo: operación manual 3">
            <a:extLst>
              <a:ext uri="{FF2B5EF4-FFF2-40B4-BE49-F238E27FC236}">
                <a16:creationId xmlns:a16="http://schemas.microsoft.com/office/drawing/2014/main" id="{67770192-90BB-423B-9045-1D0C789BE434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33CF1737-E665-45EC-8760-162CA5892489}"/>
              </a:ext>
            </a:extLst>
          </p:cNvPr>
          <p:cNvSpPr/>
          <p:nvPr/>
        </p:nvSpPr>
        <p:spPr bwMode="auto">
          <a:xfrm>
            <a:off x="4119155" y="1649048"/>
            <a:ext cx="3500846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SHBOARD EXAMPL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4423D4A-A538-4475-A58F-32415397B430}"/>
              </a:ext>
            </a:extLst>
          </p:cNvPr>
          <p:cNvSpPr txBox="1"/>
          <p:nvPr/>
        </p:nvSpPr>
        <p:spPr>
          <a:xfrm>
            <a:off x="1537520" y="2092165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>
                <a:solidFill>
                  <a:schemeClr val="accent2"/>
                </a:solidFill>
              </a:rPr>
              <a:t>USCAN - BEFO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C2CC477-E9A3-4DEA-BF8B-28882C9B246A}"/>
              </a:ext>
            </a:extLst>
          </p:cNvPr>
          <p:cNvSpPr txBox="1"/>
          <p:nvPr/>
        </p:nvSpPr>
        <p:spPr>
          <a:xfrm>
            <a:off x="7620001" y="2133878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>
                <a:solidFill>
                  <a:schemeClr val="accent2"/>
                </a:solidFill>
              </a:rPr>
              <a:t>USCAN AFT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9C19082-B3DD-4DC2-B418-809B4149C090}"/>
              </a:ext>
            </a:extLst>
          </p:cNvPr>
          <p:cNvSpPr/>
          <p:nvPr/>
        </p:nvSpPr>
        <p:spPr>
          <a:xfrm>
            <a:off x="2455361" y="95423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USCAN Operational Excellence Dashboard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1F256D5-F4A7-47BA-B82B-D344C2778893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869A38-E652-4544-A42B-7F90287028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087" y="2597851"/>
            <a:ext cx="3516486" cy="19778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DC0F38-5FB2-41C2-8650-23F1E62C8E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4808" y="3812625"/>
            <a:ext cx="3411102" cy="19219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4088071-0E85-4C19-9D99-DF2D3D8C26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16404" y="2597851"/>
            <a:ext cx="4477133" cy="24378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Picture">
            <a:hlinkClick r:id="rId8"/>
            <a:extLst>
              <a:ext uri="{FF2B5EF4-FFF2-40B4-BE49-F238E27FC236}">
                <a16:creationId xmlns:a16="http://schemas.microsoft.com/office/drawing/2014/main" id="{BD73FA6E-5790-40B3-921B-B14389543F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78844" y="4192026"/>
            <a:ext cx="3152383" cy="17985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FF1974-DABA-4764-A1F0-1A71D58273C3}"/>
              </a:ext>
            </a:extLst>
          </p:cNvPr>
          <p:cNvSpPr txBox="1"/>
          <p:nvPr/>
        </p:nvSpPr>
        <p:spPr>
          <a:xfrm>
            <a:off x="331825" y="1024988"/>
            <a:ext cx="5761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In Development</a:t>
            </a:r>
            <a:endParaRPr lang="en-US" sz="1600" i="1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8AC2C0-D18F-4D8A-9DA9-7659D4C4E04A}"/>
              </a:ext>
            </a:extLst>
          </p:cNvPr>
          <p:cNvSpPr txBox="1"/>
          <p:nvPr/>
        </p:nvSpPr>
        <p:spPr>
          <a:xfrm>
            <a:off x="4864963" y="6391922"/>
            <a:ext cx="1953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>
                <a:solidFill>
                  <a:schemeClr val="tx2"/>
                </a:solidFill>
                <a:hlinkClick r:id="rId8"/>
              </a:rPr>
              <a:t>Link </a:t>
            </a:r>
            <a:r>
              <a:rPr lang="es-ES" sz="1600" err="1">
                <a:solidFill>
                  <a:schemeClr val="tx2"/>
                </a:solidFill>
                <a:hlinkClick r:id="rId8"/>
              </a:rPr>
              <a:t>to</a:t>
            </a:r>
            <a:r>
              <a:rPr lang="es-ES" sz="1600">
                <a:solidFill>
                  <a:schemeClr val="tx2"/>
                </a:solidFill>
                <a:hlinkClick r:id="rId8"/>
              </a:rPr>
              <a:t> </a:t>
            </a:r>
            <a:r>
              <a:rPr lang="es-ES" sz="1600" err="1">
                <a:solidFill>
                  <a:schemeClr val="tx2"/>
                </a:solidFill>
                <a:hlinkClick r:id="rId8"/>
              </a:rPr>
              <a:t>Dashboard</a:t>
            </a:r>
            <a:endParaRPr lang="es-ES" sz="1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24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35952B-7D58-4000-B955-053953287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62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35952B-7D58-4000-B955-053953287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5D5DA1-DACE-4236-B2A5-D674B23E4F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D&amp;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939B1C-B629-486C-A94D-A6F4822083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Analytics</a:t>
            </a: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38B849EC-15CF-4C0A-8979-2C9F48437E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950" y="5518150"/>
            <a:ext cx="6350000" cy="669925"/>
          </a:xfrm>
        </p:spPr>
        <p:txBody>
          <a:bodyPr/>
          <a:lstStyle/>
          <a:p>
            <a:r>
              <a:rPr lang="en-US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75065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5C22BC-5AE8-42C9-B1BF-D49FCB863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733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45C22BC-5AE8-42C9-B1BF-D49FCB863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AC065D2-3434-4774-900E-2C3961BBD4FB}"/>
              </a:ext>
            </a:extLst>
          </p:cNvPr>
          <p:cNvSpPr txBox="1"/>
          <p:nvPr/>
        </p:nvSpPr>
        <p:spPr>
          <a:xfrm>
            <a:off x="348064" y="1690290"/>
            <a:ext cx="3426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Variable importa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85E3C1-869F-46C7-A33B-F3FA030DA69F}"/>
              </a:ext>
            </a:extLst>
          </p:cNvPr>
          <p:cNvSpPr txBox="1"/>
          <p:nvPr/>
        </p:nvSpPr>
        <p:spPr>
          <a:xfrm>
            <a:off x="5618462" y="1644905"/>
            <a:ext cx="66008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schemeClr val="tx2"/>
                </a:solidFill>
              </a:rPr>
              <a:t>In the first </a:t>
            </a:r>
            <a:r>
              <a:rPr lang="en-US" sz="1200" b="1"/>
              <a:t>30 days</a:t>
            </a:r>
            <a:r>
              <a:rPr lang="en-US" sz="1200">
                <a:solidFill>
                  <a:schemeClr val="tx2"/>
                </a:solidFill>
              </a:rPr>
              <a:t>, the probability drops approximately 1% every 2 days.</a:t>
            </a:r>
            <a:endParaRPr lang="en-US" sz="120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5DC8993-62B2-476C-BDA9-757ACEBDDB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9279" y="3662516"/>
            <a:ext cx="4383951" cy="2917843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025F30F-DC09-4EC0-9B8B-073A8C25FBAB}"/>
              </a:ext>
            </a:extLst>
          </p:cNvPr>
          <p:cNvSpPr/>
          <p:nvPr/>
        </p:nvSpPr>
        <p:spPr>
          <a:xfrm>
            <a:off x="2455361" y="10429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Analytic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455D2A-0531-4BCB-ACC8-3185259D7390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C83A7F-761A-4116-BCB9-A90646FCA973}"/>
              </a:ext>
            </a:extLst>
          </p:cNvPr>
          <p:cNvSpPr txBox="1"/>
          <p:nvPr/>
        </p:nvSpPr>
        <p:spPr>
          <a:xfrm>
            <a:off x="318018" y="1059238"/>
            <a:ext cx="111328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sales process, som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riables have a greater impact on the likelihood of winning an opportunit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an others. By identifying these key variables, efforts can be shifted to optimizing them, leading to a higher rate of success in winning opportunities. </a:t>
            </a:r>
            <a:endParaRPr lang="en-US" sz="1400">
              <a:solidFill>
                <a:schemeClr val="tx2"/>
              </a:solidFill>
            </a:endParaRPr>
          </a:p>
        </p:txBody>
      </p:sp>
      <p:pic>
        <p:nvPicPr>
          <p:cNvPr id="26" name="Picture 25" descr="Chart, bar chart&#10;&#10;Description automatically generated">
            <a:extLst>
              <a:ext uri="{FF2B5EF4-FFF2-40B4-BE49-F238E27FC236}">
                <a16:creationId xmlns:a16="http://schemas.microsoft.com/office/drawing/2014/main" id="{44DECD79-38B4-4C78-8E1B-01300367DFA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2" t="11973"/>
          <a:stretch/>
        </p:blipFill>
        <p:spPr>
          <a:xfrm>
            <a:off x="2394944" y="1920057"/>
            <a:ext cx="3404307" cy="2432460"/>
          </a:xfrm>
          <a:prstGeom prst="rect">
            <a:avLst/>
          </a:prstGeom>
        </p:spPr>
      </p:pic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2EEE9A67-3EC9-4E0B-8808-8BA248A38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603431"/>
              </p:ext>
            </p:extLst>
          </p:nvPr>
        </p:nvGraphicFramePr>
        <p:xfrm>
          <a:off x="444598" y="2126280"/>
          <a:ext cx="1901064" cy="1832993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901064">
                  <a:extLst>
                    <a:ext uri="{9D8B030D-6E8A-4147-A177-3AD203B41FA5}">
                      <a16:colId xmlns:a16="http://schemas.microsoft.com/office/drawing/2014/main" val="4021365553"/>
                    </a:ext>
                  </a:extLst>
                </a:gridCol>
              </a:tblGrid>
              <a:tr h="2621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Number of days elapse since creation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396690"/>
                  </a:ext>
                </a:extLst>
              </a:tr>
              <a:tr h="2949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Total number of products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412193"/>
                  </a:ext>
                </a:extLst>
              </a:tr>
              <a:tr h="235515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pp. Amount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989638"/>
                  </a:ext>
                </a:extLst>
              </a:tr>
              <a:tr h="269153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pportunities Won before for account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255128"/>
                  </a:ext>
                </a:extLst>
              </a:tr>
              <a:tr h="2108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Main Country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711765"/>
                  </a:ext>
                </a:extLst>
              </a:tr>
              <a:tr h="227892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Total MC products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340841"/>
                  </a:ext>
                </a:extLst>
              </a:tr>
              <a:tr h="3324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Total number of zero value products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03771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B6E5DCC1-6B2C-4A1A-9D2E-D432976D9616}"/>
              </a:ext>
            </a:extLst>
          </p:cNvPr>
          <p:cNvSpPr txBox="1"/>
          <p:nvPr/>
        </p:nvSpPr>
        <p:spPr>
          <a:xfrm>
            <a:off x="256210" y="4474787"/>
            <a:ext cx="564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What impacts the likelihood of winning an opportunity?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482DBCF-079E-4DF3-B0E9-84A3D1C2FECE}"/>
              </a:ext>
            </a:extLst>
          </p:cNvPr>
          <p:cNvSpPr/>
          <p:nvPr/>
        </p:nvSpPr>
        <p:spPr>
          <a:xfrm>
            <a:off x="330101" y="2081065"/>
            <a:ext cx="5074481" cy="338554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C2560047-DE82-4F35-95C2-87E0CFB241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219962"/>
              </p:ext>
            </p:extLst>
          </p:nvPr>
        </p:nvGraphicFramePr>
        <p:xfrm>
          <a:off x="359548" y="5007902"/>
          <a:ext cx="6302766" cy="153965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3062">
                  <a:extLst>
                    <a:ext uri="{9D8B030D-6E8A-4147-A177-3AD203B41FA5}">
                      <a16:colId xmlns:a16="http://schemas.microsoft.com/office/drawing/2014/main" val="1386289069"/>
                    </a:ext>
                  </a:extLst>
                </a:gridCol>
                <a:gridCol w="842513">
                  <a:extLst>
                    <a:ext uri="{9D8B030D-6E8A-4147-A177-3AD203B41FA5}">
                      <a16:colId xmlns:a16="http://schemas.microsoft.com/office/drawing/2014/main" val="1915044113"/>
                    </a:ext>
                  </a:extLst>
                </a:gridCol>
                <a:gridCol w="847386">
                  <a:extLst>
                    <a:ext uri="{9D8B030D-6E8A-4147-A177-3AD203B41FA5}">
                      <a16:colId xmlns:a16="http://schemas.microsoft.com/office/drawing/2014/main" val="648648191"/>
                    </a:ext>
                  </a:extLst>
                </a:gridCol>
                <a:gridCol w="568143">
                  <a:extLst>
                    <a:ext uri="{9D8B030D-6E8A-4147-A177-3AD203B41FA5}">
                      <a16:colId xmlns:a16="http://schemas.microsoft.com/office/drawing/2014/main" val="3633588391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1087150150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1891836445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3880355376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1017004346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3022447713"/>
                    </a:ext>
                  </a:extLst>
                </a:gridCol>
                <a:gridCol w="630277">
                  <a:extLst>
                    <a:ext uri="{9D8B030D-6E8A-4147-A177-3AD203B41FA5}">
                      <a16:colId xmlns:a16="http://schemas.microsoft.com/office/drawing/2014/main" val="1536245600"/>
                    </a:ext>
                  </a:extLst>
                </a:gridCol>
              </a:tblGrid>
              <a:tr h="882426"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Number of days elapse since creation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Opp. Amount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Opportunities Won before for account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Total number of products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Total number of zero valued products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Main Country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Number of opportunities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% Won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%Lost</a:t>
                      </a:r>
                    </a:p>
                  </a:txBody>
                  <a:tcPr marL="55080" marR="55080" marT="27540" marB="2754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320318"/>
                  </a:ext>
                </a:extLst>
              </a:tr>
              <a:tr h="271998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1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lt;=30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in [1500, 70150]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in [3, 84]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517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91.49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8.51</a:t>
                      </a:r>
                    </a:p>
                  </a:txBody>
                  <a:tcPr marL="55080" marR="55080" marT="27540" marB="27540" anchor="ctr"/>
                </a:tc>
                <a:extLst>
                  <a:ext uri="{0D108BD9-81ED-4DB2-BD59-A6C34878D82A}">
                    <a16:rowId xmlns:a16="http://schemas.microsoft.com/office/drawing/2014/main" val="3841697119"/>
                  </a:ext>
                </a:extLst>
              </a:tr>
              <a:tr h="192615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2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in [83, 343]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gt;=51000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gt;=2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gt;=1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116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88.79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11.21</a:t>
                      </a:r>
                    </a:p>
                  </a:txBody>
                  <a:tcPr marL="55080" marR="55080" marT="27540" marB="27540" anchor="ctr"/>
                </a:tc>
                <a:extLst>
                  <a:ext uri="{0D108BD9-81ED-4DB2-BD59-A6C34878D82A}">
                    <a16:rowId xmlns:a16="http://schemas.microsoft.com/office/drawing/2014/main" val="2656051516"/>
                  </a:ext>
                </a:extLst>
              </a:tr>
              <a:tr h="192615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3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in [9, 30]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gt;=91000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&gt;=2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72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88.89</a:t>
                      </a:r>
                    </a:p>
                  </a:txBody>
                  <a:tcPr marL="55080" marR="55080" marT="27540" marB="275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11.11</a:t>
                      </a:r>
                    </a:p>
                  </a:txBody>
                  <a:tcPr marL="55080" marR="55080" marT="27540" marB="27540" anchor="ctr"/>
                </a:tc>
                <a:extLst>
                  <a:ext uri="{0D108BD9-81ED-4DB2-BD59-A6C34878D82A}">
                    <a16:rowId xmlns:a16="http://schemas.microsoft.com/office/drawing/2014/main" val="2671293279"/>
                  </a:ext>
                </a:extLst>
              </a:tr>
            </a:tbl>
          </a:graphicData>
        </a:graphic>
      </p:graphicFrame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8BD0DE7-1CD7-4069-9805-8339C5865B65}"/>
              </a:ext>
            </a:extLst>
          </p:cNvPr>
          <p:cNvCxnSpPr>
            <a:cxnSpLocks/>
          </p:cNvCxnSpPr>
          <p:nvPr/>
        </p:nvCxnSpPr>
        <p:spPr>
          <a:xfrm flipH="1">
            <a:off x="2824176" y="4041247"/>
            <a:ext cx="1424" cy="371978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29504A4-6E2C-4FAC-B74E-FFEC981A1DAE}"/>
              </a:ext>
            </a:extLst>
          </p:cNvPr>
          <p:cNvCxnSpPr>
            <a:cxnSpLocks/>
          </p:cNvCxnSpPr>
          <p:nvPr/>
        </p:nvCxnSpPr>
        <p:spPr>
          <a:xfrm>
            <a:off x="5506340" y="2193995"/>
            <a:ext cx="589660" cy="0"/>
          </a:xfrm>
          <a:prstGeom prst="straightConnector1">
            <a:avLst/>
          </a:prstGeom>
          <a:ln w="12700">
            <a:gradFill>
              <a:gsLst>
                <a:gs pos="0">
                  <a:schemeClr val="accent2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147FAA6F-BEC0-49F0-8229-A8D21B19C08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8" r="898"/>
          <a:stretch/>
        </p:blipFill>
        <p:spPr>
          <a:xfrm>
            <a:off x="6662314" y="1920057"/>
            <a:ext cx="4513120" cy="1779101"/>
          </a:xfrm>
          <a:prstGeom prst="rect">
            <a:avLst/>
          </a:prstGeom>
        </p:spPr>
      </p:pic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6B561A-5FC5-4E5C-B91B-399C9B477515}"/>
              </a:ext>
            </a:extLst>
          </p:cNvPr>
          <p:cNvCxnSpPr>
            <a:cxnSpLocks/>
          </p:cNvCxnSpPr>
          <p:nvPr/>
        </p:nvCxnSpPr>
        <p:spPr>
          <a:xfrm flipH="1">
            <a:off x="9151255" y="3429000"/>
            <a:ext cx="1424" cy="371978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82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5C22BC-5AE8-42C9-B1BF-D49FCB863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19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45C22BC-5AE8-42C9-B1BF-D49FCB863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0C6DF11C-EF0F-4473-AB09-B3DA987594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36592" y="2176703"/>
            <a:ext cx="3543666" cy="285563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1E6B7BB3-366A-45C7-B7BF-559A7CCA6E5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6" t="74136" r="74870" b="5224"/>
          <a:stretch/>
        </p:blipFill>
        <p:spPr>
          <a:xfrm>
            <a:off x="6962049" y="4298361"/>
            <a:ext cx="763111" cy="58939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B15B455-7A10-486E-A928-677561EE76B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00" t="22519" r="6" b="56936"/>
          <a:stretch/>
        </p:blipFill>
        <p:spPr>
          <a:xfrm>
            <a:off x="9622126" y="2822357"/>
            <a:ext cx="758132" cy="58669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EF646AE-E103-4D31-AB67-D6ADA6A0F784}"/>
              </a:ext>
            </a:extLst>
          </p:cNvPr>
          <p:cNvSpPr/>
          <p:nvPr/>
        </p:nvSpPr>
        <p:spPr>
          <a:xfrm>
            <a:off x="9626840" y="2822357"/>
            <a:ext cx="758132" cy="571501"/>
          </a:xfrm>
          <a:prstGeom prst="rect">
            <a:avLst/>
          </a:prstGeom>
          <a:noFill/>
          <a:ln w="38100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0162EF-08D7-4F9C-8A9E-9350FAF2410C}"/>
              </a:ext>
            </a:extLst>
          </p:cNvPr>
          <p:cNvSpPr/>
          <p:nvPr/>
        </p:nvSpPr>
        <p:spPr>
          <a:xfrm>
            <a:off x="6984274" y="4298362"/>
            <a:ext cx="740886" cy="584775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12DD8F8-EBAB-49FA-BC35-F9A122774F67}"/>
              </a:ext>
            </a:extLst>
          </p:cNvPr>
          <p:cNvCxnSpPr>
            <a:cxnSpLocks/>
            <a:stCxn id="13" idx="0"/>
            <a:endCxn id="32" idx="0"/>
          </p:cNvCxnSpPr>
          <p:nvPr/>
        </p:nvCxnSpPr>
        <p:spPr>
          <a:xfrm rot="16200000" flipV="1">
            <a:off x="6587583" y="-595966"/>
            <a:ext cx="432064" cy="6404582"/>
          </a:xfrm>
          <a:prstGeom prst="bentConnector3">
            <a:avLst>
              <a:gd name="adj1" fmla="val 152909"/>
            </a:avLst>
          </a:prstGeom>
          <a:ln w="28575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2">
            <a:extLst>
              <a:ext uri="{FF2B5EF4-FFF2-40B4-BE49-F238E27FC236}">
                <a16:creationId xmlns:a16="http://schemas.microsoft.com/office/drawing/2014/main" id="{CEB0A793-6683-4E15-8EF8-63F82FE5E9D0}"/>
              </a:ext>
            </a:extLst>
          </p:cNvPr>
          <p:cNvCxnSpPr>
            <a:cxnSpLocks/>
            <a:stCxn id="9" idx="2"/>
            <a:endCxn id="43" idx="2"/>
          </p:cNvCxnSpPr>
          <p:nvPr/>
        </p:nvCxnSpPr>
        <p:spPr>
          <a:xfrm rot="5400000" flipH="1">
            <a:off x="5470433" y="2998853"/>
            <a:ext cx="35242" cy="3733327"/>
          </a:xfrm>
          <a:prstGeom prst="bentConnector3">
            <a:avLst>
              <a:gd name="adj1" fmla="val -648658"/>
            </a:avLst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AA3BEB6D-1899-439B-9EC0-AF4E212D5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415875"/>
              </p:ext>
            </p:extLst>
          </p:nvPr>
        </p:nvGraphicFramePr>
        <p:xfrm>
          <a:off x="477998" y="2390293"/>
          <a:ext cx="6246653" cy="1040524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460013">
                  <a:extLst>
                    <a:ext uri="{9D8B030D-6E8A-4147-A177-3AD203B41FA5}">
                      <a16:colId xmlns:a16="http://schemas.microsoft.com/office/drawing/2014/main" val="3407758412"/>
                    </a:ext>
                  </a:extLst>
                </a:gridCol>
                <a:gridCol w="633779">
                  <a:extLst>
                    <a:ext uri="{9D8B030D-6E8A-4147-A177-3AD203B41FA5}">
                      <a16:colId xmlns:a16="http://schemas.microsoft.com/office/drawing/2014/main" val="1029542536"/>
                    </a:ext>
                  </a:extLst>
                </a:gridCol>
                <a:gridCol w="606999">
                  <a:extLst>
                    <a:ext uri="{9D8B030D-6E8A-4147-A177-3AD203B41FA5}">
                      <a16:colId xmlns:a16="http://schemas.microsoft.com/office/drawing/2014/main" val="578643734"/>
                    </a:ext>
                  </a:extLst>
                </a:gridCol>
                <a:gridCol w="663378">
                  <a:extLst>
                    <a:ext uri="{9D8B030D-6E8A-4147-A177-3AD203B41FA5}">
                      <a16:colId xmlns:a16="http://schemas.microsoft.com/office/drawing/2014/main" val="2986048218"/>
                    </a:ext>
                  </a:extLst>
                </a:gridCol>
                <a:gridCol w="678041">
                  <a:extLst>
                    <a:ext uri="{9D8B030D-6E8A-4147-A177-3AD203B41FA5}">
                      <a16:colId xmlns:a16="http://schemas.microsoft.com/office/drawing/2014/main" val="2959161822"/>
                    </a:ext>
                  </a:extLst>
                </a:gridCol>
                <a:gridCol w="586696">
                  <a:extLst>
                    <a:ext uri="{9D8B030D-6E8A-4147-A177-3AD203B41FA5}">
                      <a16:colId xmlns:a16="http://schemas.microsoft.com/office/drawing/2014/main" val="2356914470"/>
                    </a:ext>
                  </a:extLst>
                </a:gridCol>
                <a:gridCol w="553440">
                  <a:extLst>
                    <a:ext uri="{9D8B030D-6E8A-4147-A177-3AD203B41FA5}">
                      <a16:colId xmlns:a16="http://schemas.microsoft.com/office/drawing/2014/main" val="1598843201"/>
                    </a:ext>
                  </a:extLst>
                </a:gridCol>
                <a:gridCol w="1053322">
                  <a:extLst>
                    <a:ext uri="{9D8B030D-6E8A-4147-A177-3AD203B41FA5}">
                      <a16:colId xmlns:a16="http://schemas.microsoft.com/office/drawing/2014/main" val="2357833644"/>
                    </a:ext>
                  </a:extLst>
                </a:gridCol>
                <a:gridCol w="1010985">
                  <a:extLst>
                    <a:ext uri="{9D8B030D-6E8A-4147-A177-3AD203B41FA5}">
                      <a16:colId xmlns:a16="http://schemas.microsoft.com/office/drawing/2014/main" val="3199782166"/>
                    </a:ext>
                  </a:extLst>
                </a:gridCol>
              </a:tblGrid>
              <a:tr h="382156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Days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Total</a:t>
                      </a:r>
                    </a:p>
                    <a:p>
                      <a:pPr algn="ctr"/>
                      <a:r>
                        <a:rPr lang="en-US" sz="1000"/>
                        <a:t>Amount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ain Country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C Products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Total Products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Won opps before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Zero</a:t>
                      </a:r>
                    </a:p>
                    <a:p>
                      <a:pPr algn="ctr"/>
                      <a:r>
                        <a:rPr lang="en-US" sz="1000"/>
                        <a:t>valued prods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/>
                        <a:t>Opp</a:t>
                      </a:r>
                      <a:r>
                        <a:rPr lang="en-US" sz="1000"/>
                        <a:t> Name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/>
                        <a:t>Opp</a:t>
                      </a:r>
                      <a:r>
                        <a:rPr lang="en-US" sz="1000"/>
                        <a:t> number</a:t>
                      </a:r>
                    </a:p>
                  </a:txBody>
                  <a:tcPr marL="63063" marR="63063" marT="31531" marB="31531" anchor="ctr"/>
                </a:tc>
                <a:extLst>
                  <a:ext uri="{0D108BD9-81ED-4DB2-BD59-A6C34878D82A}">
                    <a16:rowId xmlns:a16="http://schemas.microsoft.com/office/drawing/2014/main" val="2228692373"/>
                  </a:ext>
                </a:extLst>
              </a:tr>
              <a:tr h="494100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89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425170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US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64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Amgen - </a:t>
                      </a:r>
                      <a:r>
                        <a:rPr lang="en-US" sz="1000" err="1"/>
                        <a:t>Amgevita</a:t>
                      </a:r>
                      <a:r>
                        <a:rPr lang="en-US" sz="1000"/>
                        <a:t> Early Look Study</a:t>
                      </a:r>
                    </a:p>
                  </a:txBody>
                  <a:tcPr marL="63063" marR="63063" marT="31531" marB="3153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2913998</a:t>
                      </a:r>
                    </a:p>
                  </a:txBody>
                  <a:tcPr marL="63063" marR="63063" marT="31531" marB="31531" anchor="ctr"/>
                </a:tc>
                <a:extLst>
                  <a:ext uri="{0D108BD9-81ED-4DB2-BD59-A6C34878D82A}">
                    <a16:rowId xmlns:a16="http://schemas.microsoft.com/office/drawing/2014/main" val="3016183793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ED524712-ACF1-4FF0-BBD5-78BECD399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587543"/>
              </p:ext>
            </p:extLst>
          </p:nvPr>
        </p:nvGraphicFramePr>
        <p:xfrm>
          <a:off x="478971" y="3807371"/>
          <a:ext cx="6284838" cy="1040524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462825">
                  <a:extLst>
                    <a:ext uri="{9D8B030D-6E8A-4147-A177-3AD203B41FA5}">
                      <a16:colId xmlns:a16="http://schemas.microsoft.com/office/drawing/2014/main" val="3407758412"/>
                    </a:ext>
                  </a:extLst>
                </a:gridCol>
                <a:gridCol w="637653">
                  <a:extLst>
                    <a:ext uri="{9D8B030D-6E8A-4147-A177-3AD203B41FA5}">
                      <a16:colId xmlns:a16="http://schemas.microsoft.com/office/drawing/2014/main" val="1029542536"/>
                    </a:ext>
                  </a:extLst>
                </a:gridCol>
                <a:gridCol w="610710">
                  <a:extLst>
                    <a:ext uri="{9D8B030D-6E8A-4147-A177-3AD203B41FA5}">
                      <a16:colId xmlns:a16="http://schemas.microsoft.com/office/drawing/2014/main" val="578643734"/>
                    </a:ext>
                  </a:extLst>
                </a:gridCol>
                <a:gridCol w="667433">
                  <a:extLst>
                    <a:ext uri="{9D8B030D-6E8A-4147-A177-3AD203B41FA5}">
                      <a16:colId xmlns:a16="http://schemas.microsoft.com/office/drawing/2014/main" val="2986048218"/>
                    </a:ext>
                  </a:extLst>
                </a:gridCol>
                <a:gridCol w="682186">
                  <a:extLst>
                    <a:ext uri="{9D8B030D-6E8A-4147-A177-3AD203B41FA5}">
                      <a16:colId xmlns:a16="http://schemas.microsoft.com/office/drawing/2014/main" val="2959161822"/>
                    </a:ext>
                  </a:extLst>
                </a:gridCol>
                <a:gridCol w="590282">
                  <a:extLst>
                    <a:ext uri="{9D8B030D-6E8A-4147-A177-3AD203B41FA5}">
                      <a16:colId xmlns:a16="http://schemas.microsoft.com/office/drawing/2014/main" val="2356914470"/>
                    </a:ext>
                  </a:extLst>
                </a:gridCol>
                <a:gridCol w="556823">
                  <a:extLst>
                    <a:ext uri="{9D8B030D-6E8A-4147-A177-3AD203B41FA5}">
                      <a16:colId xmlns:a16="http://schemas.microsoft.com/office/drawing/2014/main" val="1598843201"/>
                    </a:ext>
                  </a:extLst>
                </a:gridCol>
                <a:gridCol w="1059761">
                  <a:extLst>
                    <a:ext uri="{9D8B030D-6E8A-4147-A177-3AD203B41FA5}">
                      <a16:colId xmlns:a16="http://schemas.microsoft.com/office/drawing/2014/main" val="2357833644"/>
                    </a:ext>
                  </a:extLst>
                </a:gridCol>
                <a:gridCol w="1017165">
                  <a:extLst>
                    <a:ext uri="{9D8B030D-6E8A-4147-A177-3AD203B41FA5}">
                      <a16:colId xmlns:a16="http://schemas.microsoft.com/office/drawing/2014/main" val="3199782166"/>
                    </a:ext>
                  </a:extLst>
                </a:gridCol>
              </a:tblGrid>
              <a:tr h="353670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Days</a:t>
                      </a:r>
                    </a:p>
                  </a:txBody>
                  <a:tcPr marL="63063" marR="63063" marT="31531" marB="31531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Total</a:t>
                      </a:r>
                    </a:p>
                    <a:p>
                      <a:pPr algn="ctr"/>
                      <a:r>
                        <a:rPr lang="en-US" sz="1000"/>
                        <a:t>Amount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ain Country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C Products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Total Products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Won opps before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Zero</a:t>
                      </a:r>
                    </a:p>
                    <a:p>
                      <a:pPr algn="ctr"/>
                      <a:r>
                        <a:rPr lang="en-US" sz="1000"/>
                        <a:t>valued prods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/>
                        <a:t>Opp</a:t>
                      </a:r>
                      <a:r>
                        <a:rPr lang="en-US" sz="1000"/>
                        <a:t> Name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/>
                        <a:t>Opp</a:t>
                      </a:r>
                      <a:r>
                        <a:rPr lang="en-US" sz="1000"/>
                        <a:t> number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692373"/>
                  </a:ext>
                </a:extLst>
              </a:tr>
              <a:tr h="457271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960</a:t>
                      </a:r>
                    </a:p>
                  </a:txBody>
                  <a:tcPr marL="63063" marR="63063" marT="31531" marB="31531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1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US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2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bioMerieux</a:t>
                      </a:r>
                      <a:r>
                        <a:rPr lang="en-US" sz="1000"/>
                        <a:t> - Preferred Medical Affairs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2873318</a:t>
                      </a:r>
                    </a:p>
                  </a:txBody>
                  <a:tcPr marL="63063" marR="63063" marT="31531" marB="31531" anchor="ctr">
                    <a:lnL>
                      <a:noFill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6183793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3F0739B4-6901-4061-85A5-4CA9F518695B}"/>
              </a:ext>
            </a:extLst>
          </p:cNvPr>
          <p:cNvSpPr txBox="1"/>
          <p:nvPr/>
        </p:nvSpPr>
        <p:spPr>
          <a:xfrm>
            <a:off x="5851978" y="1884343"/>
            <a:ext cx="35436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rgbClr val="92D050"/>
                </a:solidFill>
              </a:rPr>
              <a:t>Highly likely to be w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1CB476-8606-405D-86ED-F04F133D0AC7}"/>
              </a:ext>
            </a:extLst>
          </p:cNvPr>
          <p:cNvSpPr txBox="1"/>
          <p:nvPr/>
        </p:nvSpPr>
        <p:spPr>
          <a:xfrm>
            <a:off x="4670878" y="5147282"/>
            <a:ext cx="35436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rgbClr val="C00000"/>
                </a:solidFill>
              </a:rPr>
              <a:t>Highly likely to be lo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958BC2-A800-412F-BC0B-4CC7FA4ABDC9}"/>
              </a:ext>
            </a:extLst>
          </p:cNvPr>
          <p:cNvSpPr txBox="1"/>
          <p:nvPr/>
        </p:nvSpPr>
        <p:spPr>
          <a:xfrm>
            <a:off x="7111017" y="5519108"/>
            <a:ext cx="3636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Higher Winning Probability Opps.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F51B7A7-CD74-46C4-A0DE-8B22B2088DB6}"/>
              </a:ext>
            </a:extLst>
          </p:cNvPr>
          <p:cNvCxnSpPr>
            <a:cxnSpLocks/>
          </p:cNvCxnSpPr>
          <p:nvPr/>
        </p:nvCxnSpPr>
        <p:spPr>
          <a:xfrm>
            <a:off x="7054863" y="5279087"/>
            <a:ext cx="342900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8F54C61-E8DB-4AE7-814A-65C4B69E3D84}"/>
              </a:ext>
            </a:extLst>
          </p:cNvPr>
          <p:cNvCxnSpPr/>
          <p:nvPr/>
        </p:nvCxnSpPr>
        <p:spPr>
          <a:xfrm flipV="1">
            <a:off x="10691035" y="2276047"/>
            <a:ext cx="0" cy="2680562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BB248B6-A772-47D1-A28F-8F1D6F4C8830}"/>
              </a:ext>
            </a:extLst>
          </p:cNvPr>
          <p:cNvSpPr txBox="1"/>
          <p:nvPr/>
        </p:nvSpPr>
        <p:spPr>
          <a:xfrm rot="16200000">
            <a:off x="9663719" y="3425875"/>
            <a:ext cx="25054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Higher Value Opp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5968C3-738F-4EF3-A402-F7671826CF4F}"/>
              </a:ext>
            </a:extLst>
          </p:cNvPr>
          <p:cNvSpPr txBox="1"/>
          <p:nvPr/>
        </p:nvSpPr>
        <p:spPr>
          <a:xfrm>
            <a:off x="318018" y="5965879"/>
            <a:ext cx="111328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Potential to update the condition of your opportunity based on new data, as soon as its available in salesforce. Identify and build the </a:t>
            </a:r>
            <a:r>
              <a:rPr lang="en-US" sz="1400" b="1">
                <a:solidFill>
                  <a:schemeClr val="accent2"/>
                </a:solidFill>
              </a:rPr>
              <a:t>“automated optimal action plan’’ </a:t>
            </a:r>
            <a:r>
              <a:rPr lang="en-US" sz="1400"/>
              <a:t>after each stage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9E8DE4-4F98-40CF-965B-D01D6DCE8E8B}"/>
              </a:ext>
            </a:extLst>
          </p:cNvPr>
          <p:cNvSpPr/>
          <p:nvPr/>
        </p:nvSpPr>
        <p:spPr>
          <a:xfrm>
            <a:off x="2455361" y="10429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Potential Usage of A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257A8B4-A1BE-4505-9555-6A0BD227CA17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4EDBBD-F110-46EC-BB8D-FDE39EA95C35}"/>
              </a:ext>
            </a:extLst>
          </p:cNvPr>
          <p:cNvSpPr txBox="1"/>
          <p:nvPr/>
        </p:nvSpPr>
        <p:spPr>
          <a:xfrm>
            <a:off x="318018" y="1059238"/>
            <a:ext cx="1113287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>
                <a:solidFill>
                  <a:schemeClr val="tx2"/>
                </a:solidFill>
              </a:rPr>
              <a:t>Assess the </a:t>
            </a:r>
            <a:r>
              <a:rPr lang="en-US" sz="1400" b="1">
                <a:solidFill>
                  <a:schemeClr val="accent1"/>
                </a:solidFill>
              </a:rPr>
              <a:t>condition of your open opportunities at a glance </a:t>
            </a:r>
            <a:r>
              <a:rPr lang="en-US" sz="1400">
                <a:solidFill>
                  <a:schemeClr val="tx2"/>
                </a:solidFill>
              </a:rPr>
              <a:t>with a data infused risk framework. Identify high value opportunities and </a:t>
            </a:r>
            <a:r>
              <a:rPr lang="en-US" sz="1400" b="1">
                <a:solidFill>
                  <a:schemeClr val="accent2"/>
                </a:solidFill>
              </a:rPr>
              <a:t>high probability wins straightaway</a:t>
            </a:r>
            <a:r>
              <a:rPr lang="en-US" sz="1400">
                <a:solidFill>
                  <a:schemeClr val="tx2"/>
                </a:solidFill>
              </a:rPr>
              <a:t>.</a:t>
            </a:r>
            <a:r>
              <a:rPr lang="en-US" sz="1400"/>
              <a:t> Benefit from AI and advanced statistical models that allow you to identify high value and highly likely to be won opportunities based on patterns from historical sales.</a:t>
            </a:r>
          </a:p>
        </p:txBody>
      </p:sp>
    </p:spTree>
    <p:extLst>
      <p:ext uri="{BB962C8B-B14F-4D97-AF65-F5344CB8AC3E}">
        <p14:creationId xmlns:p14="http://schemas.microsoft.com/office/powerpoint/2010/main" val="270372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5C22BC-5AE8-42C9-B1BF-D49FCB863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48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45C22BC-5AE8-42C9-B1BF-D49FCB863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B7BD5CD-6081-4736-89C1-A22F9436F0D2}"/>
              </a:ext>
            </a:extLst>
          </p:cNvPr>
          <p:cNvSpPr txBox="1"/>
          <p:nvPr/>
        </p:nvSpPr>
        <p:spPr>
          <a:xfrm>
            <a:off x="6162337" y="2701909"/>
            <a:ext cx="479426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spcAft>
                <a:spcPts val="1200"/>
              </a:spcAft>
              <a:buSzPct val="110000"/>
              <a:buAutoNum type="arabicPeriod"/>
            </a:pPr>
            <a:r>
              <a:rPr lang="en-US" sz="1200"/>
              <a:t>Many opportunities </a:t>
            </a:r>
            <a:r>
              <a:rPr lang="en-US" sz="1200" b="1"/>
              <a:t>skip the “2.Qualifying” stage</a:t>
            </a:r>
            <a:r>
              <a:rPr lang="en-US" sz="1200"/>
              <a:t> to  move directly to “3. Proposal dev.” (245) and “4. Proposal delivery” (79).  </a:t>
            </a:r>
          </a:p>
          <a:p>
            <a:pPr marL="228600" indent="-228600" algn="just">
              <a:spcAft>
                <a:spcPts val="1200"/>
              </a:spcAft>
              <a:buSzPct val="110000"/>
              <a:buAutoNum type="arabicPeriod"/>
            </a:pPr>
            <a:r>
              <a:rPr lang="en-US" sz="1200"/>
              <a:t>92 opportunities have been </a:t>
            </a:r>
            <a:r>
              <a:rPr lang="en-US" sz="1200" b="1"/>
              <a:t>lost just before or after the qualifying stage, </a:t>
            </a:r>
            <a:r>
              <a:rPr lang="en-US" sz="1200"/>
              <a:t>prior developing / delivering proposal from our side to the client. </a:t>
            </a:r>
          </a:p>
          <a:p>
            <a:pPr marL="228600" indent="-228600" algn="just">
              <a:spcAft>
                <a:spcPts val="1200"/>
              </a:spcAft>
              <a:buSzPct val="110000"/>
              <a:buAutoNum type="arabicPeriod"/>
            </a:pPr>
            <a:r>
              <a:rPr lang="en-US" sz="1200"/>
              <a:t>About a third of the opportunities (59) that reach “3. Proposal dev.” </a:t>
            </a:r>
            <a:r>
              <a:rPr lang="en-US" sz="1200" b="1"/>
              <a:t>skip the “4.Proposal delivery” stage</a:t>
            </a:r>
            <a:r>
              <a:rPr lang="en-US" sz="1200"/>
              <a:t>.</a:t>
            </a:r>
          </a:p>
          <a:p>
            <a:pPr marL="228600" indent="-228600" algn="just">
              <a:spcAft>
                <a:spcPts val="1200"/>
              </a:spcAft>
              <a:buSzPct val="110000"/>
              <a:buAutoNum type="arabicPeriod"/>
            </a:pPr>
            <a:r>
              <a:rPr lang="en-US" sz="1200"/>
              <a:t>Most opportunities (264) in “5. Finalizing” </a:t>
            </a:r>
            <a:r>
              <a:rPr lang="en-US" sz="1200" b="1"/>
              <a:t>directly skipped into “7a. Won” (264) </a:t>
            </a:r>
            <a:r>
              <a:rPr lang="en-US" sz="1200"/>
              <a:t>and the employees are not using stage 6.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78C21A8-A37C-45D5-B32C-6CBB30DB2B58}"/>
              </a:ext>
            </a:extLst>
          </p:cNvPr>
          <p:cNvSpPr/>
          <p:nvPr/>
        </p:nvSpPr>
        <p:spPr>
          <a:xfrm>
            <a:off x="8894052" y="5224680"/>
            <a:ext cx="137160" cy="137160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70A95F-1637-4862-A593-DCF9C05A23C9}"/>
              </a:ext>
            </a:extLst>
          </p:cNvPr>
          <p:cNvGrpSpPr/>
          <p:nvPr/>
        </p:nvGrpSpPr>
        <p:grpSpPr>
          <a:xfrm>
            <a:off x="1334723" y="1817299"/>
            <a:ext cx="3423126" cy="4707844"/>
            <a:chOff x="5113099" y="1472037"/>
            <a:chExt cx="3190705" cy="5265459"/>
          </a:xfrm>
        </p:grpSpPr>
        <p:pic>
          <p:nvPicPr>
            <p:cNvPr id="4" name="Picture 3" descr="Diagram&#10;&#10;Description automatically generated">
              <a:extLst>
                <a:ext uri="{FF2B5EF4-FFF2-40B4-BE49-F238E27FC236}">
                  <a16:creationId xmlns:a16="http://schemas.microsoft.com/office/drawing/2014/main" id="{1F056EE9-A245-4F34-92CF-91DEA47B40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51" b="1611"/>
            <a:stretch/>
          </p:blipFill>
          <p:spPr>
            <a:xfrm>
              <a:off x="5290110" y="1510188"/>
              <a:ext cx="2862270" cy="5202594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8CD1A4-3601-4917-A043-402BCF6CC5C6}"/>
                </a:ext>
              </a:extLst>
            </p:cNvPr>
            <p:cNvSpPr/>
            <p:nvPr/>
          </p:nvSpPr>
          <p:spPr>
            <a:xfrm>
              <a:off x="5113099" y="1472037"/>
              <a:ext cx="3190705" cy="5265459"/>
            </a:xfrm>
            <a:prstGeom prst="rect">
              <a:avLst/>
            </a:prstGeom>
            <a:noFill/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err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9BC6AFA-56EA-4438-AECC-402514972F53}"/>
                </a:ext>
              </a:extLst>
            </p:cNvPr>
            <p:cNvSpPr txBox="1"/>
            <p:nvPr/>
          </p:nvSpPr>
          <p:spPr>
            <a:xfrm>
              <a:off x="7049311" y="6405004"/>
              <a:ext cx="12544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700">
                  <a:solidFill>
                    <a:schemeClr val="tx2"/>
                  </a:solidFill>
                </a:rPr>
                <a:t>Displaying arrows only if there are +5 observation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C31E9-BAE1-488A-971B-45020647A447}"/>
                </a:ext>
              </a:extLst>
            </p:cNvPr>
            <p:cNvSpPr txBox="1"/>
            <p:nvPr/>
          </p:nvSpPr>
          <p:spPr>
            <a:xfrm>
              <a:off x="6747693" y="3340852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79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D76443-8638-4A66-BC54-E47942E2CBFE}"/>
                </a:ext>
              </a:extLst>
            </p:cNvPr>
            <p:cNvSpPr txBox="1"/>
            <p:nvPr/>
          </p:nvSpPr>
          <p:spPr>
            <a:xfrm>
              <a:off x="6427653" y="3064364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245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62A1D30-2786-415C-8947-EC3C9444513E}"/>
                </a:ext>
              </a:extLst>
            </p:cNvPr>
            <p:cNvSpPr txBox="1"/>
            <p:nvPr/>
          </p:nvSpPr>
          <p:spPr>
            <a:xfrm>
              <a:off x="8038328" y="3624652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36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26CFCAE-9ACC-47BA-9EC2-DDE2B1955949}"/>
                </a:ext>
              </a:extLst>
            </p:cNvPr>
            <p:cNvSpPr txBox="1"/>
            <p:nvPr/>
          </p:nvSpPr>
          <p:spPr>
            <a:xfrm>
              <a:off x="7738291" y="3869580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56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663C4CD-9849-4F4B-ABDC-8332E3FC954B}"/>
                </a:ext>
              </a:extLst>
            </p:cNvPr>
            <p:cNvSpPr txBox="1"/>
            <p:nvPr/>
          </p:nvSpPr>
          <p:spPr>
            <a:xfrm>
              <a:off x="5741387" y="4195222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59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D32ED82-38E7-4FC3-8B77-C54E34446EA0}"/>
                </a:ext>
              </a:extLst>
            </p:cNvPr>
            <p:cNvSpPr txBox="1"/>
            <p:nvPr/>
          </p:nvSpPr>
          <p:spPr>
            <a:xfrm>
              <a:off x="5717885" y="5236378"/>
              <a:ext cx="220958" cy="13849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/>
                <a:t>264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5888497-610A-4568-A67C-2B53509707DD}"/>
                </a:ext>
              </a:extLst>
            </p:cNvPr>
            <p:cNvSpPr/>
            <p:nvPr/>
          </p:nvSpPr>
          <p:spPr>
            <a:xfrm>
              <a:off x="6646653" y="3189579"/>
              <a:ext cx="137160" cy="13716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80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582F866-7E1F-49F4-BC1D-B6AAB55D7AE1}"/>
                </a:ext>
              </a:extLst>
            </p:cNvPr>
            <p:cNvSpPr/>
            <p:nvPr/>
          </p:nvSpPr>
          <p:spPr>
            <a:xfrm>
              <a:off x="7922366" y="3757443"/>
              <a:ext cx="137160" cy="13716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800">
                  <a:solidFill>
                    <a:schemeClr val="accent1"/>
                  </a:solidFill>
                </a:rPr>
                <a:t>2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C5929CE-4F36-4435-9BE8-65DA8B426FB8}"/>
                </a:ext>
              </a:extLst>
            </p:cNvPr>
            <p:cNvSpPr/>
            <p:nvPr/>
          </p:nvSpPr>
          <p:spPr>
            <a:xfrm>
              <a:off x="5604191" y="4196561"/>
              <a:ext cx="137160" cy="13716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800">
                  <a:solidFill>
                    <a:schemeClr val="accent1"/>
                  </a:solidFill>
                </a:rPr>
                <a:t>3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C6B8117-0B87-4523-B5DE-ED5E0A8A971A}"/>
                </a:ext>
              </a:extLst>
            </p:cNvPr>
            <p:cNvSpPr/>
            <p:nvPr/>
          </p:nvSpPr>
          <p:spPr>
            <a:xfrm>
              <a:off x="5563806" y="5229072"/>
              <a:ext cx="137160" cy="13716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800">
                  <a:solidFill>
                    <a:schemeClr val="accent1"/>
                  </a:solidFill>
                </a:rPr>
                <a:t>4</a:t>
              </a: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C05A9927-9415-4F91-A876-ABDA6ABCD78A}"/>
              </a:ext>
            </a:extLst>
          </p:cNvPr>
          <p:cNvSpPr/>
          <p:nvPr/>
        </p:nvSpPr>
        <p:spPr>
          <a:xfrm>
            <a:off x="8658635" y="2641773"/>
            <a:ext cx="607849" cy="60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1F1FFAB-33EC-43F9-BE8C-66CA8377AE8C}"/>
              </a:ext>
            </a:extLst>
          </p:cNvPr>
          <p:cNvCxnSpPr>
            <a:cxnSpLocks/>
          </p:cNvCxnSpPr>
          <p:nvPr/>
        </p:nvCxnSpPr>
        <p:spPr>
          <a:xfrm>
            <a:off x="4960356" y="3927752"/>
            <a:ext cx="823995" cy="0"/>
          </a:xfrm>
          <a:prstGeom prst="straightConnector1">
            <a:avLst/>
          </a:prstGeom>
          <a:ln w="1270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A22FFD7B-05E0-44F2-B56B-24054535AFB7}"/>
              </a:ext>
            </a:extLst>
          </p:cNvPr>
          <p:cNvSpPr/>
          <p:nvPr/>
        </p:nvSpPr>
        <p:spPr>
          <a:xfrm>
            <a:off x="6096000" y="2641773"/>
            <a:ext cx="4944279" cy="243781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06C93C2-492F-4025-9389-F2700A47CB4B}"/>
              </a:ext>
            </a:extLst>
          </p:cNvPr>
          <p:cNvSpPr/>
          <p:nvPr/>
        </p:nvSpPr>
        <p:spPr>
          <a:xfrm>
            <a:off x="2455361" y="10429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Process Min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93377E1-D24D-41B4-9049-4148BD029524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CCD2B81-56CF-4333-B48E-18703A8C0AFB}"/>
              </a:ext>
            </a:extLst>
          </p:cNvPr>
          <p:cNvSpPr txBox="1"/>
          <p:nvPr/>
        </p:nvSpPr>
        <p:spPr>
          <a:xfrm>
            <a:off x="318018" y="1059238"/>
            <a:ext cx="1113287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>
                <a:solidFill>
                  <a:schemeClr val="tx2"/>
                </a:solidFill>
              </a:rPr>
              <a:t>In case we have in the systems many data stamps we are able to get a </a:t>
            </a:r>
            <a:r>
              <a:rPr lang="en-US" sz="1400" b="1">
                <a:solidFill>
                  <a:schemeClr val="accent2"/>
                </a:solidFill>
              </a:rPr>
              <a:t>deeper understanding of the process</a:t>
            </a:r>
            <a:r>
              <a:rPr lang="en-US" sz="1400">
                <a:solidFill>
                  <a:schemeClr val="tx2"/>
                </a:solidFill>
              </a:rPr>
              <a:t>, identifying</a:t>
            </a:r>
            <a:r>
              <a:rPr lang="en-US" sz="1400" b="1">
                <a:solidFill>
                  <a:schemeClr val="accent2"/>
                </a:solidFill>
              </a:rPr>
              <a:t> </a:t>
            </a:r>
            <a:r>
              <a:rPr lang="en-US" sz="1400" b="1">
                <a:solidFill>
                  <a:schemeClr val="accent1"/>
                </a:solidFill>
              </a:rPr>
              <a:t>bottlenecks and inefficiencies</a:t>
            </a:r>
            <a:r>
              <a:rPr lang="en-US" sz="1400">
                <a:solidFill>
                  <a:schemeClr val="tx2"/>
                </a:solidFill>
              </a:rPr>
              <a:t>. Gain actionable insights into the customer journey, optimizing their experience and reducing time to delivery. The patterns in this data process could be analyzed further. </a:t>
            </a:r>
          </a:p>
        </p:txBody>
      </p:sp>
    </p:spTree>
    <p:extLst>
      <p:ext uri="{BB962C8B-B14F-4D97-AF65-F5344CB8AC3E}">
        <p14:creationId xmlns:p14="http://schemas.microsoft.com/office/powerpoint/2010/main" val="239341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5C22BC-5AE8-42C9-B1BF-D49FCB863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307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8" progId="TCLayout.ActiveDocument.1">
                  <p:embed/>
                </p:oleObj>
              </mc:Choice>
              <mc:Fallback>
                <p:oleObj name="think-cell Slide" r:id="rId4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45C22BC-5AE8-42C9-B1BF-D49FCB863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CC6F9E5-C617-4F79-9FFD-0D3E6BED0A87}"/>
              </a:ext>
            </a:extLst>
          </p:cNvPr>
          <p:cNvSpPr txBox="1"/>
          <p:nvPr/>
        </p:nvSpPr>
        <p:spPr>
          <a:xfrm>
            <a:off x="318018" y="1059238"/>
            <a:ext cx="1113287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>
                <a:solidFill>
                  <a:schemeClr val="tx2"/>
                </a:solidFill>
              </a:rPr>
              <a:t>In the data analyses process, </a:t>
            </a:r>
            <a:r>
              <a:rPr lang="en-US" sz="1400" b="1">
                <a:solidFill>
                  <a:schemeClr val="accent1"/>
                </a:solidFill>
              </a:rPr>
              <a:t>potential duplicate records</a:t>
            </a:r>
            <a:r>
              <a:rPr lang="en-US" sz="1400">
                <a:solidFill>
                  <a:schemeClr val="accent1"/>
                </a:solidFill>
              </a:rPr>
              <a:t>, </a:t>
            </a:r>
            <a:r>
              <a:rPr lang="en-US" sz="1400" b="1">
                <a:solidFill>
                  <a:schemeClr val="accent1"/>
                </a:solidFill>
              </a:rPr>
              <a:t>inconsistencies</a:t>
            </a:r>
            <a:r>
              <a:rPr lang="en-US" sz="1400">
                <a:solidFill>
                  <a:schemeClr val="accent1"/>
                </a:solidFill>
              </a:rPr>
              <a:t> </a:t>
            </a:r>
            <a:r>
              <a:rPr lang="en-US" sz="1400">
                <a:solidFill>
                  <a:schemeClr val="tx2"/>
                </a:solidFill>
              </a:rPr>
              <a:t>and </a:t>
            </a:r>
            <a:r>
              <a:rPr lang="en-US" sz="1400" b="1">
                <a:solidFill>
                  <a:schemeClr val="accent1"/>
                </a:solidFill>
              </a:rPr>
              <a:t>anomalies</a:t>
            </a:r>
            <a:r>
              <a:rPr lang="en-US" sz="1400">
                <a:solidFill>
                  <a:schemeClr val="tx2"/>
                </a:solidFill>
              </a:rPr>
              <a:t> deviating from normal patterns are causing             concern as they can lead to inaccurate conclusions and faulty decision-making if not identified and addressed through appropriate data cleaning and preprocessing techniques.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CBF2E0C6-2981-446C-BAFC-233BC83C6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14" y="2102114"/>
            <a:ext cx="391434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kumimoji="0" lang="en-US" alt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ssible duplicates:</a:t>
            </a:r>
            <a:endParaRPr lang="en-US" sz="1200" b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C5386BE-517D-4400-B8B0-0CEC283301D4}"/>
              </a:ext>
            </a:extLst>
          </p:cNvPr>
          <p:cNvSpPr/>
          <p:nvPr/>
        </p:nvSpPr>
        <p:spPr>
          <a:xfrm>
            <a:off x="2455361" y="10429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Data Quality Check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B183F64-A973-434F-80BA-426354CE403A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CA267B4-55C4-44D9-B42B-4F9C4CC70D89}"/>
              </a:ext>
            </a:extLst>
          </p:cNvPr>
          <p:cNvSpPr/>
          <p:nvPr/>
        </p:nvSpPr>
        <p:spPr>
          <a:xfrm>
            <a:off x="556447" y="2459931"/>
            <a:ext cx="4213013" cy="375165"/>
          </a:xfrm>
          <a:prstGeom prst="rect">
            <a:avLst/>
          </a:prstGeom>
          <a:noFill/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000"/>
          </a:p>
        </p:txBody>
      </p:sp>
      <p:sp>
        <p:nvSpPr>
          <p:cNvPr id="40" name="Rectangle 2">
            <a:extLst>
              <a:ext uri="{FF2B5EF4-FFF2-40B4-BE49-F238E27FC236}">
                <a16:creationId xmlns:a16="http://schemas.microsoft.com/office/drawing/2014/main" id="{3C24D00F-6ADD-4BE7-A683-D34944E7B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448" y="2531178"/>
            <a:ext cx="42130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>
                <a:ln>
                  <a:noFill/>
                </a:ln>
                <a:solidFill>
                  <a:schemeClr val="accent2"/>
                </a:solidFill>
                <a:effectLst/>
                <a:latin typeface="Arial Unicode MS"/>
              </a:rPr>
              <a:t>Opportunity IDs </a:t>
            </a: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ith fully duplicated data or duplicated with deviations</a:t>
            </a:r>
            <a:endParaRPr kumimoji="0" lang="en-US" alt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ECAD4123-4EFF-4249-B6B0-612F128E0F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146066"/>
              </p:ext>
            </p:extLst>
          </p:nvPr>
        </p:nvGraphicFramePr>
        <p:xfrm>
          <a:off x="8897577" y="5625648"/>
          <a:ext cx="3057586" cy="426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24176">
                  <a:extLst>
                    <a:ext uri="{9D8B030D-6E8A-4147-A177-3AD203B41FA5}">
                      <a16:colId xmlns:a16="http://schemas.microsoft.com/office/drawing/2014/main" val="854568027"/>
                    </a:ext>
                  </a:extLst>
                </a:gridCol>
                <a:gridCol w="2433410">
                  <a:extLst>
                    <a:ext uri="{9D8B030D-6E8A-4147-A177-3AD203B41FA5}">
                      <a16:colId xmlns:a16="http://schemas.microsoft.com/office/drawing/2014/main" val="4291682593"/>
                    </a:ext>
                  </a:extLst>
                </a:gridCol>
              </a:tblGrid>
              <a:tr h="159798">
                <a:tc>
                  <a:txBody>
                    <a:bodyPr/>
                    <a:lstStyle/>
                    <a:p>
                      <a:r>
                        <a:rPr lang="en-US" sz="800" err="1"/>
                        <a:t>Opp_id</a:t>
                      </a:r>
                      <a:endParaRPr lang="en-US" sz="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dead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6398950"/>
                  </a:ext>
                </a:extLst>
              </a:tr>
              <a:tr h="197025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CC50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>
                          <a:solidFill>
                            <a:srgbClr val="C00000"/>
                          </a:solidFill>
                        </a:rPr>
                        <a:t>5380</a:t>
                      </a:r>
                      <a:r>
                        <a:rPr lang="en-US" sz="800"/>
                        <a:t>-04-27 17:00: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130302"/>
                  </a:ext>
                </a:extLst>
              </a:tr>
            </a:tbl>
          </a:graphicData>
        </a:graphic>
      </p:graphicFrame>
      <p:sp>
        <p:nvSpPr>
          <p:cNvPr id="44" name="Rectangle 4">
            <a:extLst>
              <a:ext uri="{FF2B5EF4-FFF2-40B4-BE49-F238E27FC236}">
                <a16:creationId xmlns:a16="http://schemas.microsoft.com/office/drawing/2014/main" id="{89B40DD7-F371-47B2-A1D8-F39B3E966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14" y="5081709"/>
            <a:ext cx="193835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kumimoji="0" lang="en-US" alt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te inconsistencies: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9D151A-3A78-48F3-8CC7-EEDBE0939BF2}"/>
              </a:ext>
            </a:extLst>
          </p:cNvPr>
          <p:cNvSpPr txBox="1"/>
          <p:nvPr/>
        </p:nvSpPr>
        <p:spPr>
          <a:xfrm>
            <a:off x="8960969" y="5369153"/>
            <a:ext cx="112851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Anomalous valu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9D4FA82-191D-40F0-A38B-A5371C2669DD}"/>
              </a:ext>
            </a:extLst>
          </p:cNvPr>
          <p:cNvSpPr txBox="1"/>
          <p:nvPr/>
        </p:nvSpPr>
        <p:spPr>
          <a:xfrm>
            <a:off x="4689638" y="5369153"/>
            <a:ext cx="1267976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Deadline &lt; Start dat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38256D8-DBB0-4B74-857F-883E239F1251}"/>
              </a:ext>
            </a:extLst>
          </p:cNvPr>
          <p:cNvSpPr txBox="1"/>
          <p:nvPr/>
        </p:nvSpPr>
        <p:spPr>
          <a:xfrm>
            <a:off x="547304" y="5369153"/>
            <a:ext cx="2919936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Missing deadlines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B2077215-C6B4-475A-9DAD-A5A3DCD4EA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4787582"/>
              </p:ext>
            </p:extLst>
          </p:nvPr>
        </p:nvGraphicFramePr>
        <p:xfrm>
          <a:off x="547304" y="5625648"/>
          <a:ext cx="3936858" cy="426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7290">
                  <a:extLst>
                    <a:ext uri="{9D8B030D-6E8A-4147-A177-3AD203B41FA5}">
                      <a16:colId xmlns:a16="http://schemas.microsoft.com/office/drawing/2014/main" val="3154183125"/>
                    </a:ext>
                  </a:extLst>
                </a:gridCol>
                <a:gridCol w="1363980">
                  <a:extLst>
                    <a:ext uri="{9D8B030D-6E8A-4147-A177-3AD203B41FA5}">
                      <a16:colId xmlns:a16="http://schemas.microsoft.com/office/drawing/2014/main" val="2556291422"/>
                    </a:ext>
                  </a:extLst>
                </a:gridCol>
                <a:gridCol w="1363980">
                  <a:extLst>
                    <a:ext uri="{9D8B030D-6E8A-4147-A177-3AD203B41FA5}">
                      <a16:colId xmlns:a16="http://schemas.microsoft.com/office/drawing/2014/main" val="3846754397"/>
                    </a:ext>
                  </a:extLst>
                </a:gridCol>
                <a:gridCol w="641608">
                  <a:extLst>
                    <a:ext uri="{9D8B030D-6E8A-4147-A177-3AD203B41FA5}">
                      <a16:colId xmlns:a16="http://schemas.microsoft.com/office/drawing/2014/main" val="19657546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800" err="1"/>
                        <a:t>Opp_id</a:t>
                      </a:r>
                      <a:endParaRPr lang="en-US" sz="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err="1"/>
                        <a:t>start_date</a:t>
                      </a:r>
                      <a:endParaRPr lang="en-US" sz="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close_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dead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9464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800"/>
                        <a:t>XX06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2022-07-09 09:56:54.7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2022-12-19 01:41:34.1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5321526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4766408B-EC0F-47A5-AB6C-0FFE6F6EE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665890"/>
              </p:ext>
            </p:extLst>
          </p:nvPr>
        </p:nvGraphicFramePr>
        <p:xfrm>
          <a:off x="556447" y="4431599"/>
          <a:ext cx="5148737" cy="457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46278">
                  <a:extLst>
                    <a:ext uri="{9D8B030D-6E8A-4147-A177-3AD203B41FA5}">
                      <a16:colId xmlns:a16="http://schemas.microsoft.com/office/drawing/2014/main" val="257304056"/>
                    </a:ext>
                  </a:extLst>
                </a:gridCol>
                <a:gridCol w="1260357">
                  <a:extLst>
                    <a:ext uri="{9D8B030D-6E8A-4147-A177-3AD203B41FA5}">
                      <a16:colId xmlns:a16="http://schemas.microsoft.com/office/drawing/2014/main" val="4293492661"/>
                    </a:ext>
                  </a:extLst>
                </a:gridCol>
                <a:gridCol w="1571051">
                  <a:extLst>
                    <a:ext uri="{9D8B030D-6E8A-4147-A177-3AD203B41FA5}">
                      <a16:colId xmlns:a16="http://schemas.microsoft.com/office/drawing/2014/main" val="1082955391"/>
                    </a:ext>
                  </a:extLst>
                </a:gridCol>
                <a:gridCol w="1571051">
                  <a:extLst>
                    <a:ext uri="{9D8B030D-6E8A-4147-A177-3AD203B41FA5}">
                      <a16:colId xmlns:a16="http://schemas.microsoft.com/office/drawing/2014/main" val="29062037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900" err="1"/>
                        <a:t>Opp_id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Ave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err="1"/>
                        <a:t>Upper</a:t>
                      </a:r>
                      <a:r>
                        <a:rPr lang="es-ES" sz="900"/>
                        <a:t> </a:t>
                      </a:r>
                      <a:r>
                        <a:rPr lang="es-ES" sz="900" err="1"/>
                        <a:t>Limit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TCV Value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5366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2876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359,977.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4,657,351.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rgbClr val="FF0000"/>
                          </a:solidFill>
                        </a:rPr>
                        <a:t>72,737,78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9247520"/>
                  </a:ext>
                </a:extLst>
              </a:tr>
            </a:tbl>
          </a:graphicData>
        </a:graphic>
      </p:graphicFrame>
      <p:sp>
        <p:nvSpPr>
          <p:cNvPr id="52" name="Rectangle 1">
            <a:extLst>
              <a:ext uri="{FF2B5EF4-FFF2-40B4-BE49-F238E27FC236}">
                <a16:creationId xmlns:a16="http://schemas.microsoft.com/office/drawing/2014/main" id="{6C275AB6-65E3-47F3-A0CB-CE57FDBC54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14" y="4088510"/>
            <a:ext cx="39740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kumimoji="0" lang="en-US" alt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utliers</a:t>
            </a:r>
            <a:endParaRPr lang="en-US" sz="1200" b="1"/>
          </a:p>
        </p:txBody>
      </p:sp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DE79021E-0BDA-42BB-9D86-0D57444F1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861253"/>
              </p:ext>
            </p:extLst>
          </p:nvPr>
        </p:nvGraphicFramePr>
        <p:xfrm>
          <a:off x="547304" y="3430814"/>
          <a:ext cx="2882728" cy="457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35184">
                  <a:extLst>
                    <a:ext uri="{9D8B030D-6E8A-4147-A177-3AD203B41FA5}">
                      <a16:colId xmlns:a16="http://schemas.microsoft.com/office/drawing/2014/main" val="3154183125"/>
                    </a:ext>
                  </a:extLst>
                </a:gridCol>
                <a:gridCol w="972128">
                  <a:extLst>
                    <a:ext uri="{9D8B030D-6E8A-4147-A177-3AD203B41FA5}">
                      <a16:colId xmlns:a16="http://schemas.microsoft.com/office/drawing/2014/main" val="2556291422"/>
                    </a:ext>
                  </a:extLst>
                </a:gridCol>
                <a:gridCol w="1275416">
                  <a:extLst>
                    <a:ext uri="{9D8B030D-6E8A-4147-A177-3AD203B41FA5}">
                      <a16:colId xmlns:a16="http://schemas.microsoft.com/office/drawing/2014/main" val="384675439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900" err="1"/>
                        <a:t>Opp_id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Stag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COE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9464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930090</a:t>
                      </a:r>
                      <a:endParaRPr lang="en-US" sz="900">
                        <a:highlight>
                          <a:srgbClr val="FFFF00"/>
                        </a:highlight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In-H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1">
                          <a:solidFill>
                            <a:srgbClr val="FF0000"/>
                          </a:solidFill>
                        </a:rPr>
                        <a:t>-</a:t>
                      </a:r>
                      <a:endParaRPr lang="en-US" sz="900" b="1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5321526"/>
                  </a:ext>
                </a:extLst>
              </a:tr>
            </a:tbl>
          </a:graphicData>
        </a:graphic>
      </p:graphicFrame>
      <p:sp>
        <p:nvSpPr>
          <p:cNvPr id="55" name="Rectangle 1">
            <a:extLst>
              <a:ext uri="{FF2B5EF4-FFF2-40B4-BE49-F238E27FC236}">
                <a16:creationId xmlns:a16="http://schemas.microsoft.com/office/drawing/2014/main" id="{B813CA04-F3E2-4C9B-87E2-3D2BA9B929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14" y="3095312"/>
            <a:ext cx="39740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kumimoji="0" lang="en-US" alt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ot populated fields</a:t>
            </a:r>
            <a:endParaRPr lang="en-US" sz="1200" b="1"/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829E0ED6-4C0D-4BB5-ADFD-E87434BB29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689146"/>
              </p:ext>
            </p:extLst>
          </p:nvPr>
        </p:nvGraphicFramePr>
        <p:xfrm>
          <a:off x="3644655" y="3430814"/>
          <a:ext cx="3150312" cy="457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56522">
                  <a:extLst>
                    <a:ext uri="{9D8B030D-6E8A-4147-A177-3AD203B41FA5}">
                      <a16:colId xmlns:a16="http://schemas.microsoft.com/office/drawing/2014/main" val="3154183125"/>
                    </a:ext>
                  </a:extLst>
                </a:gridCol>
                <a:gridCol w="1099986">
                  <a:extLst>
                    <a:ext uri="{9D8B030D-6E8A-4147-A177-3AD203B41FA5}">
                      <a16:colId xmlns:a16="http://schemas.microsoft.com/office/drawing/2014/main" val="2556291422"/>
                    </a:ext>
                  </a:extLst>
                </a:gridCol>
                <a:gridCol w="1393804">
                  <a:extLst>
                    <a:ext uri="{9D8B030D-6E8A-4147-A177-3AD203B41FA5}">
                      <a16:colId xmlns:a16="http://schemas.microsoft.com/office/drawing/2014/main" val="384675439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Opp_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Stag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Primary Loss Reas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9464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/>
                        <a:t>1007874</a:t>
                      </a:r>
                      <a:endParaRPr lang="en-US" sz="900">
                        <a:highlight>
                          <a:srgbClr val="FFFF00"/>
                        </a:highlight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7b. Closed L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1">
                          <a:solidFill>
                            <a:srgbClr val="FF0000"/>
                          </a:solidFill>
                        </a:rPr>
                        <a:t>-</a:t>
                      </a:r>
                      <a:endParaRPr lang="en-US" sz="900" b="1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5321526"/>
                  </a:ext>
                </a:extLst>
              </a:tr>
            </a:tbl>
          </a:graphicData>
        </a:graphic>
      </p:graphicFrame>
      <p:graphicFrame>
        <p:nvGraphicFramePr>
          <p:cNvPr id="62" name="Table 61">
            <a:extLst>
              <a:ext uri="{FF2B5EF4-FFF2-40B4-BE49-F238E27FC236}">
                <a16:creationId xmlns:a16="http://schemas.microsoft.com/office/drawing/2014/main" id="{5A1E3E85-B5F0-465A-A9B4-D2ED706AA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455825"/>
              </p:ext>
            </p:extLst>
          </p:nvPr>
        </p:nvGraphicFramePr>
        <p:xfrm>
          <a:off x="4641221" y="5625648"/>
          <a:ext cx="4099297" cy="44052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4271">
                  <a:extLst>
                    <a:ext uri="{9D8B030D-6E8A-4147-A177-3AD203B41FA5}">
                      <a16:colId xmlns:a16="http://schemas.microsoft.com/office/drawing/2014/main" val="3928056353"/>
                    </a:ext>
                  </a:extLst>
                </a:gridCol>
                <a:gridCol w="1336347">
                  <a:extLst>
                    <a:ext uri="{9D8B030D-6E8A-4147-A177-3AD203B41FA5}">
                      <a16:colId xmlns:a16="http://schemas.microsoft.com/office/drawing/2014/main" val="167754457"/>
                    </a:ext>
                  </a:extLst>
                </a:gridCol>
                <a:gridCol w="2078679">
                  <a:extLst>
                    <a:ext uri="{9D8B030D-6E8A-4147-A177-3AD203B41FA5}">
                      <a16:colId xmlns:a16="http://schemas.microsoft.com/office/drawing/2014/main" val="2967829263"/>
                    </a:ext>
                  </a:extLst>
                </a:gridCol>
              </a:tblGrid>
              <a:tr h="199557">
                <a:tc>
                  <a:txBody>
                    <a:bodyPr/>
                    <a:lstStyle/>
                    <a:p>
                      <a:r>
                        <a:rPr lang="en-US" sz="800" err="1"/>
                        <a:t>Opp_id</a:t>
                      </a:r>
                      <a:endParaRPr lang="en-US" sz="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start_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294268"/>
                  </a:ext>
                </a:extLst>
              </a:tr>
              <a:tr h="227163"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LL02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2021-</a:t>
                      </a:r>
                      <a:r>
                        <a:rPr lang="en-US" sz="800" b="1">
                          <a:solidFill>
                            <a:srgbClr val="C00000"/>
                          </a:solidFill>
                        </a:rPr>
                        <a:t>10-31</a:t>
                      </a:r>
                      <a:r>
                        <a:rPr lang="en-US" sz="800"/>
                        <a:t> 22:41:35.39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2021</a:t>
                      </a:r>
                      <a:r>
                        <a:rPr lang="en-US" sz="800">
                          <a:solidFill>
                            <a:srgbClr val="C00000"/>
                          </a:solidFill>
                        </a:rPr>
                        <a:t>-</a:t>
                      </a:r>
                      <a:r>
                        <a:rPr lang="en-US" sz="800" b="1">
                          <a:solidFill>
                            <a:srgbClr val="C00000"/>
                          </a:solidFill>
                        </a:rPr>
                        <a:t>05-13</a:t>
                      </a:r>
                      <a:r>
                        <a:rPr lang="en-US" sz="800"/>
                        <a:t> 22:00: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7804959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A2354F0-41A7-433A-AB98-47A9F5B137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6539" y="2320336"/>
            <a:ext cx="4886347" cy="27394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EAA4650-40DC-434F-987D-02BC3A416C30}"/>
              </a:ext>
            </a:extLst>
          </p:cNvPr>
          <p:cNvCxnSpPr>
            <a:cxnSpLocks/>
          </p:cNvCxnSpPr>
          <p:nvPr/>
        </p:nvCxnSpPr>
        <p:spPr>
          <a:xfrm>
            <a:off x="5957614" y="4670865"/>
            <a:ext cx="837353" cy="0"/>
          </a:xfrm>
          <a:prstGeom prst="straightConnector1">
            <a:avLst/>
          </a:prstGeom>
          <a:ln w="12700">
            <a:gradFill>
              <a:gsLst>
                <a:gs pos="0">
                  <a:schemeClr val="accent2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68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BC8371-81E2-47DA-84CA-F52DC34F5B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823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BC8371-81E2-47DA-84CA-F52DC34F5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972565-B463-4A0D-AE01-73E66F414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ata</a:t>
            </a:r>
          </a:p>
          <a:p>
            <a:r>
              <a:rPr lang="en-US"/>
              <a:t>ED&amp;A Projects</a:t>
            </a:r>
          </a:p>
          <a:p>
            <a:pPr lvl="1"/>
            <a:r>
              <a:rPr lang="en-US"/>
              <a:t>Overall Project Roadmap </a:t>
            </a:r>
          </a:p>
          <a:p>
            <a:pPr lvl="1"/>
            <a:r>
              <a:rPr lang="en-US"/>
              <a:t>Projects Walkthrough</a:t>
            </a:r>
          </a:p>
          <a:p>
            <a:pPr lvl="2"/>
            <a:r>
              <a:rPr lang="en-US" sz="1200"/>
              <a:t>USBU POD Reporting Automation </a:t>
            </a:r>
          </a:p>
          <a:p>
            <a:pPr lvl="2"/>
            <a:r>
              <a:rPr lang="en-US" sz="1200" err="1"/>
              <a:t>MedSci</a:t>
            </a:r>
            <a:r>
              <a:rPr lang="en-US" sz="1200"/>
              <a:t> Opportunity Tracker</a:t>
            </a:r>
          </a:p>
          <a:p>
            <a:pPr lvl="2"/>
            <a:r>
              <a:rPr lang="en-US" sz="1200"/>
              <a:t>USCAN </a:t>
            </a:r>
          </a:p>
          <a:p>
            <a:r>
              <a:rPr lang="en-US"/>
              <a:t>Analytics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2B8B85-2E5A-4FD5-B022-868DF0E3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0308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35952B-7D58-4000-B955-053953287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35952B-7D58-4000-B955-053953287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5D5DA1-DACE-4236-B2A5-D674B23E4F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Appendix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2D3331-0F5A-4344-9277-E609CEE8A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3329" y="3681765"/>
            <a:ext cx="6349838" cy="1195801"/>
          </a:xfrm>
        </p:spPr>
        <p:txBody>
          <a:bodyPr lIns="91440" tIns="45720" rIns="91440" bIns="45720" anchor="t">
            <a:noAutofit/>
          </a:bodyPr>
          <a:lstStyle/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D3829C4-94C0-4BB5-9A1D-5F87F52460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08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F13EE4-802A-4560-ABB1-541731A00C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339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F13EE4-802A-4560-ABB1-541731A00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1620A7-8101-433F-B946-1E105662E261}"/>
              </a:ext>
            </a:extLst>
          </p:cNvPr>
          <p:cNvSpPr/>
          <p:nvPr/>
        </p:nvSpPr>
        <p:spPr>
          <a:xfrm>
            <a:off x="512620" y="1577935"/>
            <a:ext cx="10598589" cy="480056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graphicFrame>
        <p:nvGraphicFramePr>
          <p:cNvPr id="30" name="Table 4">
            <a:extLst>
              <a:ext uri="{FF2B5EF4-FFF2-40B4-BE49-F238E27FC236}">
                <a16:creationId xmlns:a16="http://schemas.microsoft.com/office/drawing/2014/main" id="{8E34C5D7-B708-41C3-9560-E54882E0F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8686098"/>
              </p:ext>
            </p:extLst>
          </p:nvPr>
        </p:nvGraphicFramePr>
        <p:xfrm>
          <a:off x="521009" y="1659010"/>
          <a:ext cx="10576452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5484">
                  <a:extLst>
                    <a:ext uri="{9D8B030D-6E8A-4147-A177-3AD203B41FA5}">
                      <a16:colId xmlns:a16="http://schemas.microsoft.com/office/drawing/2014/main" val="2055988168"/>
                    </a:ext>
                  </a:extLst>
                </a:gridCol>
                <a:gridCol w="3525484">
                  <a:extLst>
                    <a:ext uri="{9D8B030D-6E8A-4147-A177-3AD203B41FA5}">
                      <a16:colId xmlns:a16="http://schemas.microsoft.com/office/drawing/2014/main" val="1290469317"/>
                    </a:ext>
                  </a:extLst>
                </a:gridCol>
                <a:gridCol w="3525484">
                  <a:extLst>
                    <a:ext uri="{9D8B030D-6E8A-4147-A177-3AD203B41FA5}">
                      <a16:colId xmlns:a16="http://schemas.microsoft.com/office/drawing/2014/main" val="2204415729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solidFill>
                            <a:schemeClr val="bg2"/>
                          </a:solidFill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solidFill>
                            <a:schemeClr val="bg2"/>
                          </a:solidFill>
                        </a:rPr>
                        <a:t>2023 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solidFill>
                            <a:schemeClr val="bg2"/>
                          </a:solidFill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198928"/>
                  </a:ext>
                </a:extLst>
              </a:tr>
            </a:tbl>
          </a:graphicData>
        </a:graphic>
      </p:graphicFrame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587AE47C-7D58-4012-961A-709BC4D2B8D4}"/>
              </a:ext>
            </a:extLst>
          </p:cNvPr>
          <p:cNvSpPr/>
          <p:nvPr/>
        </p:nvSpPr>
        <p:spPr>
          <a:xfrm>
            <a:off x="4178760" y="3162882"/>
            <a:ext cx="1097742" cy="270419"/>
          </a:xfrm>
          <a:prstGeom prst="chevron">
            <a:avLst>
              <a:gd name="adj" fmla="val 4908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CRM </a:t>
            </a: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B08ECDCA-F327-4304-89F1-8238FE2F7272}"/>
              </a:ext>
            </a:extLst>
          </p:cNvPr>
          <p:cNvSpPr/>
          <p:nvPr/>
        </p:nvSpPr>
        <p:spPr>
          <a:xfrm>
            <a:off x="5116216" y="4225815"/>
            <a:ext cx="1613150" cy="270419"/>
          </a:xfrm>
          <a:prstGeom prst="chevron">
            <a:avLst>
              <a:gd name="adj" fmla="val 4092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PeopleSof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535ADA-C1F4-4716-91EC-028E1190EF68}"/>
              </a:ext>
            </a:extLst>
          </p:cNvPr>
          <p:cNvCxnSpPr>
            <a:cxnSpLocks/>
          </p:cNvCxnSpPr>
          <p:nvPr/>
        </p:nvCxnSpPr>
        <p:spPr>
          <a:xfrm>
            <a:off x="4044929" y="1650081"/>
            <a:ext cx="0" cy="4728422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0F7500F-6F12-4A1A-9D03-B685594C4882}"/>
              </a:ext>
            </a:extLst>
          </p:cNvPr>
          <p:cNvCxnSpPr>
            <a:cxnSpLocks/>
          </p:cNvCxnSpPr>
          <p:nvPr/>
        </p:nvCxnSpPr>
        <p:spPr>
          <a:xfrm>
            <a:off x="7563883" y="1650081"/>
            <a:ext cx="0" cy="4728422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F8A97B15-9CB5-4E70-9DEC-FA08C3538364}"/>
              </a:ext>
            </a:extLst>
          </p:cNvPr>
          <p:cNvSpPr/>
          <p:nvPr/>
        </p:nvSpPr>
        <p:spPr>
          <a:xfrm>
            <a:off x="886370" y="2065121"/>
            <a:ext cx="1953085" cy="457200"/>
          </a:xfrm>
          <a:prstGeom prst="homePlate">
            <a:avLst/>
          </a:prstGeom>
          <a:solidFill>
            <a:srgbClr val="0070C0"/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C, Planning, Approval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FF52715E-2354-4827-8181-9026D62232C6}"/>
              </a:ext>
            </a:extLst>
          </p:cNvPr>
          <p:cNvSpPr/>
          <p:nvPr/>
        </p:nvSpPr>
        <p:spPr>
          <a:xfrm>
            <a:off x="2647417" y="2638893"/>
            <a:ext cx="1769400" cy="457200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Data Lake Setup</a:t>
            </a:r>
          </a:p>
          <a:p>
            <a:pPr algn="ctr"/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(Foundation)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B562010E-51B0-47C2-9268-BFF0B63AA438}"/>
              </a:ext>
            </a:extLst>
          </p:cNvPr>
          <p:cNvSpPr/>
          <p:nvPr/>
        </p:nvSpPr>
        <p:spPr>
          <a:xfrm>
            <a:off x="6445359" y="5602844"/>
            <a:ext cx="2869136" cy="457200"/>
          </a:xfrm>
          <a:prstGeom prst="chevron">
            <a:avLst/>
          </a:prstGeom>
          <a:solidFill>
            <a:srgbClr val="00B0F0"/>
          </a:solidFill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100">
                <a:solidFill>
                  <a:srgbClr val="FFFFFF"/>
                </a:solidFill>
                <a:latin typeface="Arial" panose="020B0604020202020204"/>
              </a:rPr>
              <a:t>Additional Sources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7DFF93C2-6829-4949-A627-762D0A00699C}"/>
              </a:ext>
            </a:extLst>
          </p:cNvPr>
          <p:cNvSpPr/>
          <p:nvPr/>
        </p:nvSpPr>
        <p:spPr>
          <a:xfrm>
            <a:off x="5153773" y="4950240"/>
            <a:ext cx="2220941" cy="270419"/>
          </a:xfrm>
          <a:prstGeom prst="chevron">
            <a:avLst>
              <a:gd name="adj" fmla="val 3819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MRDW Parallel Test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779EC091-1581-47B0-BBEE-35F13CC5ACB3}"/>
              </a:ext>
            </a:extLst>
          </p:cNvPr>
          <p:cNvSpPr/>
          <p:nvPr/>
        </p:nvSpPr>
        <p:spPr>
          <a:xfrm>
            <a:off x="4374120" y="3867729"/>
            <a:ext cx="1613150" cy="270419"/>
          </a:xfrm>
          <a:prstGeom prst="chevron">
            <a:avLst>
              <a:gd name="adj" fmla="val 4092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SAP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58644518-530A-451A-9DE8-36A983DF817F}"/>
              </a:ext>
            </a:extLst>
          </p:cNvPr>
          <p:cNvSpPr/>
          <p:nvPr/>
        </p:nvSpPr>
        <p:spPr>
          <a:xfrm>
            <a:off x="6220554" y="4604114"/>
            <a:ext cx="1289625" cy="270419"/>
          </a:xfrm>
          <a:prstGeom prst="chevron">
            <a:avLst>
              <a:gd name="adj" fmla="val 33704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000">
                <a:solidFill>
                  <a:schemeClr val="tx1"/>
                </a:solidFill>
                <a:latin typeface="Arial" panose="020B0604020202020204"/>
              </a:rPr>
              <a:t>MRDW Integration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8F5EC102-D04F-4182-9A63-DED20F7171C4}"/>
              </a:ext>
            </a:extLst>
          </p:cNvPr>
          <p:cNvSpPr/>
          <p:nvPr/>
        </p:nvSpPr>
        <p:spPr>
          <a:xfrm>
            <a:off x="5122828" y="3162882"/>
            <a:ext cx="1250183" cy="270419"/>
          </a:xfrm>
          <a:prstGeom prst="chevron">
            <a:avLst>
              <a:gd name="adj" fmla="val 4908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PSA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D2AA7ABC-CDDE-456D-9B3A-E2EC87F2DEC5}"/>
              </a:ext>
            </a:extLst>
          </p:cNvPr>
          <p:cNvSpPr/>
          <p:nvPr/>
        </p:nvSpPr>
        <p:spPr>
          <a:xfrm>
            <a:off x="4182299" y="3520238"/>
            <a:ext cx="1097742" cy="270419"/>
          </a:xfrm>
          <a:prstGeom prst="chevron">
            <a:avLst>
              <a:gd name="adj" fmla="val 4908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tx1"/>
                </a:solidFill>
                <a:latin typeface="Arial" panose="020B0604020202020204"/>
              </a:rPr>
              <a:t>HR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0CCF3B9D-FAE0-4E0D-BF33-8841A7835573}"/>
              </a:ext>
            </a:extLst>
          </p:cNvPr>
          <p:cNvSpPr/>
          <p:nvPr/>
        </p:nvSpPr>
        <p:spPr>
          <a:xfrm>
            <a:off x="4249352" y="4605589"/>
            <a:ext cx="1680294" cy="270419"/>
          </a:xfrm>
          <a:prstGeom prst="chevron">
            <a:avLst>
              <a:gd name="adj" fmla="val 3411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000">
                <a:solidFill>
                  <a:schemeClr val="tx1"/>
                </a:solidFill>
                <a:latin typeface="Arial" panose="020B0604020202020204"/>
              </a:rPr>
              <a:t>MRDW Snowflake Migr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5F1614-DECE-42C2-9C0C-C4A40C1A4AE8}"/>
              </a:ext>
            </a:extLst>
          </p:cNvPr>
          <p:cNvSpPr/>
          <p:nvPr/>
        </p:nvSpPr>
        <p:spPr>
          <a:xfrm>
            <a:off x="2651988" y="4583846"/>
            <a:ext cx="1328223" cy="12475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Scope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Workday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SAP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PeopleSof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SFDC CRM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SFDC PSA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EBX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CFC0F59-1EB2-4786-9096-5E5D591FD4C6}"/>
              </a:ext>
            </a:extLst>
          </p:cNvPr>
          <p:cNvCxnSpPr>
            <a:cxnSpLocks/>
          </p:cNvCxnSpPr>
          <p:nvPr/>
        </p:nvCxnSpPr>
        <p:spPr>
          <a:xfrm flipV="1">
            <a:off x="3329335" y="3100889"/>
            <a:ext cx="0" cy="1460969"/>
          </a:xfrm>
          <a:prstGeom prst="straightConnector1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B29BF13-03BD-46E8-94BD-E4DDF0316E6E}"/>
              </a:ext>
            </a:extLst>
          </p:cNvPr>
          <p:cNvSpPr/>
          <p:nvPr/>
        </p:nvSpPr>
        <p:spPr>
          <a:xfrm>
            <a:off x="7554277" y="3182234"/>
            <a:ext cx="188433" cy="2094613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568320-1F04-4096-9186-9FBBBEE61F52}"/>
              </a:ext>
            </a:extLst>
          </p:cNvPr>
          <p:cNvSpPr/>
          <p:nvPr/>
        </p:nvSpPr>
        <p:spPr>
          <a:xfrm>
            <a:off x="8022294" y="3937141"/>
            <a:ext cx="1328223" cy="5764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Data Curation and Data Mart Cre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3E77F76-0E3B-41B3-B6DC-8D040882FA8B}"/>
              </a:ext>
            </a:extLst>
          </p:cNvPr>
          <p:cNvSpPr/>
          <p:nvPr/>
        </p:nvSpPr>
        <p:spPr>
          <a:xfrm>
            <a:off x="1105034" y="3378700"/>
            <a:ext cx="1328223" cy="9111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100">
                <a:solidFill>
                  <a:schemeClr val="tx1"/>
                </a:solidFill>
              </a:rPr>
              <a:t>POC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Marketing ROI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MRDW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AR Reporting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E6491EE-65FB-4003-9806-669CA831867B}"/>
              </a:ext>
            </a:extLst>
          </p:cNvPr>
          <p:cNvCxnSpPr>
            <a:cxnSpLocks/>
          </p:cNvCxnSpPr>
          <p:nvPr/>
        </p:nvCxnSpPr>
        <p:spPr>
          <a:xfrm flipV="1">
            <a:off x="1759810" y="2524941"/>
            <a:ext cx="0" cy="834972"/>
          </a:xfrm>
          <a:prstGeom prst="straightConnector1">
            <a:avLst/>
          </a:prstGeom>
          <a:ln w="127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363E5B3-DE6A-4EA7-9905-D14BAD0D25CF}"/>
              </a:ext>
            </a:extLst>
          </p:cNvPr>
          <p:cNvSpPr txBox="1"/>
          <p:nvPr/>
        </p:nvSpPr>
        <p:spPr>
          <a:xfrm>
            <a:off x="7684982" y="4532494"/>
            <a:ext cx="2097951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2"/>
                </a:solidFill>
              </a:rPr>
              <a:t>*  2023 Plan Pending Approval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3FB0FF2A-9258-450A-949D-AB7FF6B7F1F3}"/>
              </a:ext>
            </a:extLst>
          </p:cNvPr>
          <p:cNvSpPr/>
          <p:nvPr/>
        </p:nvSpPr>
        <p:spPr>
          <a:xfrm>
            <a:off x="4414930" y="5395368"/>
            <a:ext cx="1512000" cy="270419"/>
          </a:xfrm>
          <a:prstGeom prst="chevron">
            <a:avLst>
              <a:gd name="adj" fmla="val 38193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bg1"/>
                </a:solidFill>
                <a:latin typeface="Arial" panose="020B0604020202020204"/>
              </a:rPr>
              <a:t>Eloqua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DB5CF41D-2805-4F96-AD0B-27D889881A2E}"/>
              </a:ext>
            </a:extLst>
          </p:cNvPr>
          <p:cNvSpPr/>
          <p:nvPr/>
        </p:nvSpPr>
        <p:spPr>
          <a:xfrm>
            <a:off x="4416817" y="5699259"/>
            <a:ext cx="1512000" cy="270419"/>
          </a:xfrm>
          <a:prstGeom prst="chevron">
            <a:avLst>
              <a:gd name="adj" fmla="val 38193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bg1"/>
                </a:solidFill>
                <a:latin typeface="Arial" panose="020B0604020202020204"/>
              </a:rPr>
              <a:t>Coupa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78EE4EBE-7490-4F62-96CA-EB096277AF77}"/>
              </a:ext>
            </a:extLst>
          </p:cNvPr>
          <p:cNvSpPr/>
          <p:nvPr/>
        </p:nvSpPr>
        <p:spPr>
          <a:xfrm>
            <a:off x="4418215" y="6002661"/>
            <a:ext cx="1512000" cy="270419"/>
          </a:xfrm>
          <a:prstGeom prst="chevron">
            <a:avLst>
              <a:gd name="adj" fmla="val 38193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100">
                <a:solidFill>
                  <a:schemeClr val="bg1"/>
                </a:solidFill>
                <a:latin typeface="Arial" panose="020B0604020202020204"/>
              </a:rPr>
              <a:t>S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D6D934B-A5F6-4BBB-8FBF-5AF55C73EEEC}"/>
              </a:ext>
            </a:extLst>
          </p:cNvPr>
          <p:cNvSpPr/>
          <p:nvPr/>
        </p:nvSpPr>
        <p:spPr>
          <a:xfrm>
            <a:off x="2455361" y="112844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s-ES" sz="2400"/>
              <a:t>Enterprise Cloud Data </a:t>
            </a:r>
            <a:r>
              <a:rPr lang="es-ES" sz="2400" err="1"/>
              <a:t>Platform</a:t>
            </a:r>
            <a:r>
              <a:rPr lang="es-ES" sz="2400"/>
              <a:t> (ECDP)</a:t>
            </a:r>
            <a:endParaRPr lang="es-ES" sz="2400" kern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2159B7B-3F26-40F1-BAAC-007576F62972}"/>
              </a:ext>
            </a:extLst>
          </p:cNvPr>
          <p:cNvSpPr/>
          <p:nvPr/>
        </p:nvSpPr>
        <p:spPr>
          <a:xfrm>
            <a:off x="-5290" y="116403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4C5F2B41-1E71-40EF-A6CC-11689FA5E4B1}"/>
              </a:ext>
            </a:extLst>
          </p:cNvPr>
          <p:cNvSpPr txBox="1">
            <a:spLocks/>
          </p:cNvSpPr>
          <p:nvPr/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i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imeline: After initial Data Lake setup, data mart sequencing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1706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06705B7E-91AE-4BC4-9EAE-8E3BC2406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7750" y="8763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4C6A30-C67D-44FB-824B-7D9A7BA1299A}"/>
              </a:ext>
            </a:extLst>
          </p:cNvPr>
          <p:cNvGrpSpPr/>
          <p:nvPr/>
        </p:nvGrpSpPr>
        <p:grpSpPr>
          <a:xfrm>
            <a:off x="334191" y="1463016"/>
            <a:ext cx="11523618" cy="5085492"/>
            <a:chOff x="319591" y="968841"/>
            <a:chExt cx="11523618" cy="508549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371DE15-890B-4FC9-A258-A962A5485AAF}"/>
                </a:ext>
              </a:extLst>
            </p:cNvPr>
            <p:cNvSpPr/>
            <p:nvPr/>
          </p:nvSpPr>
          <p:spPr>
            <a:xfrm>
              <a:off x="2166152" y="1429317"/>
              <a:ext cx="8060924" cy="45364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0F49ACE-627A-43E7-92CB-309CCD6457F8}"/>
                </a:ext>
              </a:extLst>
            </p:cNvPr>
            <p:cNvSpPr/>
            <p:nvPr/>
          </p:nvSpPr>
          <p:spPr>
            <a:xfrm>
              <a:off x="319591" y="4060228"/>
              <a:ext cx="1197747" cy="1905578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FUTURE DATA SOURC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9DE1C96-4A42-453F-806B-56592E0FE65B}"/>
                </a:ext>
              </a:extLst>
            </p:cNvPr>
            <p:cNvSpPr/>
            <p:nvPr/>
          </p:nvSpPr>
          <p:spPr>
            <a:xfrm>
              <a:off x="10530391" y="1429317"/>
              <a:ext cx="1136342" cy="14617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BUSINESS INTELLIGEN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AE12093-14E9-4B77-92A5-F627C73C8290}"/>
                </a:ext>
              </a:extLst>
            </p:cNvPr>
            <p:cNvSpPr/>
            <p:nvPr/>
          </p:nvSpPr>
          <p:spPr>
            <a:xfrm>
              <a:off x="3600440" y="4822071"/>
              <a:ext cx="6477166" cy="94103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GOVERNANC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F500358-98D0-43EA-A15B-3E22EB8C3CC4}"/>
                </a:ext>
              </a:extLst>
            </p:cNvPr>
            <p:cNvSpPr/>
            <p:nvPr/>
          </p:nvSpPr>
          <p:spPr>
            <a:xfrm>
              <a:off x="3622275" y="2167950"/>
              <a:ext cx="1260000" cy="260077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 LAK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E814243-968B-4DD9-A6D0-6AA30AED4E36}"/>
                </a:ext>
              </a:extLst>
            </p:cNvPr>
            <p:cNvSpPr/>
            <p:nvPr/>
          </p:nvSpPr>
          <p:spPr>
            <a:xfrm>
              <a:off x="4953499" y="2154325"/>
              <a:ext cx="1260000" cy="2600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TRANSFORMATION</a:t>
              </a:r>
              <a:r>
                <a:rPr lang="en-AU" sz="1000" b="1">
                  <a:solidFill>
                    <a:schemeClr val="accent2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SERVICE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2BED4EB-9C5D-4785-9FCF-9F57D9F80024}"/>
                </a:ext>
              </a:extLst>
            </p:cNvPr>
            <p:cNvSpPr/>
            <p:nvPr/>
          </p:nvSpPr>
          <p:spPr>
            <a:xfrm>
              <a:off x="6219941" y="2154325"/>
              <a:ext cx="1260000" cy="2600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 MART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AFF65A-4AD0-4179-A1E0-5574D704196E}"/>
                </a:ext>
              </a:extLst>
            </p:cNvPr>
            <p:cNvSpPr/>
            <p:nvPr/>
          </p:nvSpPr>
          <p:spPr>
            <a:xfrm>
              <a:off x="7518774" y="2160570"/>
              <a:ext cx="1260000" cy="2600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 ACCESS SERVICE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1A993A-5C12-4029-A98A-E76D659F1459}"/>
                </a:ext>
              </a:extLst>
            </p:cNvPr>
            <p:cNvSpPr/>
            <p:nvPr/>
          </p:nvSpPr>
          <p:spPr>
            <a:xfrm>
              <a:off x="2339267" y="1748919"/>
              <a:ext cx="1100831" cy="4092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</a:t>
              </a:r>
              <a:r>
                <a:rPr lang="en-AU" sz="1000" b="1">
                  <a:solidFill>
                    <a:schemeClr val="accent1"/>
                  </a:solidFill>
                  <a:latin typeface="Abadi" panose="020B0604020104020204" pitchFamily="34" charset="0"/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INTEGRAT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88C41C-0F81-4F84-A35E-679E15AF1257}"/>
                </a:ext>
              </a:extLst>
            </p:cNvPr>
            <p:cNvSpPr/>
            <p:nvPr/>
          </p:nvSpPr>
          <p:spPr>
            <a:xfrm>
              <a:off x="8817606" y="2178240"/>
              <a:ext cx="1260000" cy="2600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NALYSE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15B7CAC6-8E28-4E1A-8130-4B65911C0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9874" y="5583945"/>
              <a:ext cx="940775" cy="470388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35BC5EB0-E61C-48A7-8F37-8EF31A4EF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8052" y="4471779"/>
              <a:ext cx="618585" cy="331824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129DD0F8-181F-4CC0-B398-FD3792D87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2072" y="4892130"/>
              <a:ext cx="849050" cy="265241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E616755-AB24-4B38-AEA0-3D3BB6539576}"/>
                </a:ext>
              </a:extLst>
            </p:cNvPr>
            <p:cNvSpPr/>
            <p:nvPr/>
          </p:nvSpPr>
          <p:spPr>
            <a:xfrm>
              <a:off x="1619440" y="1410266"/>
              <a:ext cx="334383" cy="45031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t" anchorCtr="0"/>
            <a:lstStyle/>
            <a:p>
              <a:pPr algn="l"/>
              <a:r>
                <a:rPr lang="en-AU" sz="1000" b="1">
                  <a:solidFill>
                    <a:schemeClr val="accent2"/>
                  </a:solidFill>
                </a:rPr>
                <a:t>Distribution</a:t>
              </a:r>
              <a:r>
                <a:rPr lang="en-AU" sz="1000" b="1">
                  <a:solidFill>
                    <a:schemeClr val="tx1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</a:rPr>
                <a:t>Services</a:t>
              </a: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112448A2-6BA2-4695-AA27-BCDBCAA98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6200000">
              <a:off x="1213652" y="3383721"/>
              <a:ext cx="1143000" cy="5715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F40397E-46B2-41F7-9329-C6257C9BF7C4}"/>
                </a:ext>
              </a:extLst>
            </p:cNvPr>
            <p:cNvSpPr/>
            <p:nvPr/>
          </p:nvSpPr>
          <p:spPr>
            <a:xfrm>
              <a:off x="327096" y="1429316"/>
              <a:ext cx="1196040" cy="2549549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CORE DATA SOURCES</a:t>
              </a:r>
            </a:p>
          </p:txBody>
        </p:sp>
        <p:pic>
          <p:nvPicPr>
            <p:cNvPr id="25" name="Picture 32" descr="Image result for SAP logo">
              <a:extLst>
                <a:ext uri="{FF2B5EF4-FFF2-40B4-BE49-F238E27FC236}">
                  <a16:creationId xmlns:a16="http://schemas.microsoft.com/office/drawing/2014/main" id="{1DC316CE-5131-4150-B44B-2CD39093B8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473" y="1840870"/>
              <a:ext cx="552860" cy="274320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Zoho People and MailerLite Integration + Automation | Tray.io">
              <a:extLst>
                <a:ext uri="{FF2B5EF4-FFF2-40B4-BE49-F238E27FC236}">
                  <a16:creationId xmlns:a16="http://schemas.microsoft.com/office/drawing/2014/main" id="{27F9EDB0-9031-40E9-B67B-791490AED3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717" y="2435259"/>
              <a:ext cx="408372" cy="408372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4" descr="Tibco EBX">
              <a:extLst>
                <a:ext uri="{FF2B5EF4-FFF2-40B4-BE49-F238E27FC236}">
                  <a16:creationId xmlns:a16="http://schemas.microsoft.com/office/drawing/2014/main" id="{B428CF7F-D672-4843-A2AD-1BCEEA35422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91" t="41376" r="17598" b="44711"/>
            <a:stretch/>
          </p:blipFill>
          <p:spPr bwMode="auto">
            <a:xfrm>
              <a:off x="492703" y="2183591"/>
              <a:ext cx="914400" cy="19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F242ED54-7E1A-4974-A2BA-CF21437B4319}"/>
                </a:ext>
              </a:extLst>
            </p:cNvPr>
            <p:cNvSpPr/>
            <p:nvPr/>
          </p:nvSpPr>
          <p:spPr>
            <a:xfrm>
              <a:off x="2013758" y="2344908"/>
              <a:ext cx="316266" cy="175374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D30D770-0BB5-44B4-BA33-77495A150599}"/>
                </a:ext>
              </a:extLst>
            </p:cNvPr>
            <p:cNvSpPr/>
            <p:nvPr/>
          </p:nvSpPr>
          <p:spPr>
            <a:xfrm>
              <a:off x="2030766" y="3338201"/>
              <a:ext cx="316266" cy="175374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30" name="Arrow: Right 29">
              <a:extLst>
                <a:ext uri="{FF2B5EF4-FFF2-40B4-BE49-F238E27FC236}">
                  <a16:creationId xmlns:a16="http://schemas.microsoft.com/office/drawing/2014/main" id="{2693FDE6-B0DF-4DB6-89A7-7F9A37F57080}"/>
                </a:ext>
              </a:extLst>
            </p:cNvPr>
            <p:cNvSpPr/>
            <p:nvPr/>
          </p:nvSpPr>
          <p:spPr>
            <a:xfrm>
              <a:off x="2013757" y="4356185"/>
              <a:ext cx="316266" cy="175374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grpSp>
          <p:nvGrpSpPr>
            <p:cNvPr id="31" name="Graphic 241">
              <a:extLst>
                <a:ext uri="{FF2B5EF4-FFF2-40B4-BE49-F238E27FC236}">
                  <a16:creationId xmlns:a16="http://schemas.microsoft.com/office/drawing/2014/main" id="{3534C5B6-0A31-4151-AC84-9DA12EA0DD05}"/>
                </a:ext>
              </a:extLst>
            </p:cNvPr>
            <p:cNvGrpSpPr/>
            <p:nvPr/>
          </p:nvGrpSpPr>
          <p:grpSpPr>
            <a:xfrm>
              <a:off x="5360473" y="2658765"/>
              <a:ext cx="480029" cy="516544"/>
              <a:chOff x="4985958" y="2354297"/>
              <a:chExt cx="986772" cy="913502"/>
            </a:xfrm>
            <a:solidFill>
              <a:schemeClr val="accent2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2291F051-4529-44C1-AEEB-9FFD56339C71}"/>
                  </a:ext>
                </a:extLst>
              </p:cNvPr>
              <p:cNvSpPr/>
              <p:nvPr/>
            </p:nvSpPr>
            <p:spPr>
              <a:xfrm>
                <a:off x="5834172" y="2692535"/>
                <a:ext cx="35694" cy="35688"/>
              </a:xfrm>
              <a:custGeom>
                <a:avLst/>
                <a:gdLst>
                  <a:gd name="connsiteX0" fmla="*/ 35694 w 35694"/>
                  <a:gd name="connsiteY0" fmla="*/ 17842 h 35688"/>
                  <a:gd name="connsiteX1" fmla="*/ 17847 w 35694"/>
                  <a:gd name="connsiteY1" fmla="*/ 35689 h 35688"/>
                  <a:gd name="connsiteX2" fmla="*/ 0 w 35694"/>
                  <a:gd name="connsiteY2" fmla="*/ 17842 h 35688"/>
                  <a:gd name="connsiteX3" fmla="*/ 17847 w 35694"/>
                  <a:gd name="connsiteY3" fmla="*/ 0 h 35688"/>
                  <a:gd name="connsiteX4" fmla="*/ 35694 w 35694"/>
                  <a:gd name="connsiteY4" fmla="*/ 17842 h 3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4" h="35688">
                    <a:moveTo>
                      <a:pt x="35694" y="17842"/>
                    </a:moveTo>
                    <a:cubicBezTo>
                      <a:pt x="35694" y="27701"/>
                      <a:pt x="27706" y="35689"/>
                      <a:pt x="17847" y="35689"/>
                    </a:cubicBezTo>
                    <a:cubicBezTo>
                      <a:pt x="7993" y="35689"/>
                      <a:pt x="0" y="27701"/>
                      <a:pt x="0" y="17842"/>
                    </a:cubicBezTo>
                    <a:cubicBezTo>
                      <a:pt x="0" y="7988"/>
                      <a:pt x="7993" y="0"/>
                      <a:pt x="17847" y="0"/>
                    </a:cubicBezTo>
                    <a:cubicBezTo>
                      <a:pt x="27706" y="0"/>
                      <a:pt x="35694" y="7988"/>
                      <a:pt x="35694" y="17842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DFC9F4E-C189-4C7A-9F22-1FB02569B7B3}"/>
                  </a:ext>
                </a:extLst>
              </p:cNvPr>
              <p:cNvSpPr/>
              <p:nvPr/>
            </p:nvSpPr>
            <p:spPr>
              <a:xfrm>
                <a:off x="5773569" y="2713575"/>
                <a:ext cx="35357" cy="35357"/>
              </a:xfrm>
              <a:custGeom>
                <a:avLst/>
                <a:gdLst>
                  <a:gd name="connsiteX0" fmla="*/ 35357 w 35357"/>
                  <a:gd name="connsiteY0" fmla="*/ 17676 h 35357"/>
                  <a:gd name="connsiteX1" fmla="*/ 17676 w 35357"/>
                  <a:gd name="connsiteY1" fmla="*/ 35357 h 35357"/>
                  <a:gd name="connsiteX2" fmla="*/ 0 w 35357"/>
                  <a:gd name="connsiteY2" fmla="*/ 17676 h 35357"/>
                  <a:gd name="connsiteX3" fmla="*/ 17676 w 35357"/>
                  <a:gd name="connsiteY3" fmla="*/ 0 h 35357"/>
                  <a:gd name="connsiteX4" fmla="*/ 35357 w 35357"/>
                  <a:gd name="connsiteY4" fmla="*/ 17676 h 35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57" h="35357">
                    <a:moveTo>
                      <a:pt x="35357" y="17676"/>
                    </a:moveTo>
                    <a:cubicBezTo>
                      <a:pt x="35357" y="27441"/>
                      <a:pt x="27441" y="35357"/>
                      <a:pt x="17676" y="35357"/>
                    </a:cubicBezTo>
                    <a:cubicBezTo>
                      <a:pt x="7916" y="35357"/>
                      <a:pt x="0" y="27441"/>
                      <a:pt x="0" y="17676"/>
                    </a:cubicBezTo>
                    <a:cubicBezTo>
                      <a:pt x="0" y="7916"/>
                      <a:pt x="7916" y="0"/>
                      <a:pt x="17676" y="0"/>
                    </a:cubicBezTo>
                    <a:cubicBezTo>
                      <a:pt x="27441" y="0"/>
                      <a:pt x="35357" y="7916"/>
                      <a:pt x="35357" y="17676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3D2F808-7988-474D-B512-C64909FCCE5E}"/>
                  </a:ext>
                </a:extLst>
              </p:cNvPr>
              <p:cNvSpPr/>
              <p:nvPr/>
            </p:nvSpPr>
            <p:spPr>
              <a:xfrm>
                <a:off x="5712610" y="2726203"/>
                <a:ext cx="35694" cy="35694"/>
              </a:xfrm>
              <a:custGeom>
                <a:avLst/>
                <a:gdLst>
                  <a:gd name="connsiteX0" fmla="*/ 35694 w 35694"/>
                  <a:gd name="connsiteY0" fmla="*/ 17847 h 35694"/>
                  <a:gd name="connsiteX1" fmla="*/ 17847 w 35694"/>
                  <a:gd name="connsiteY1" fmla="*/ 35694 h 35694"/>
                  <a:gd name="connsiteX2" fmla="*/ 0 w 35694"/>
                  <a:gd name="connsiteY2" fmla="*/ 17847 h 35694"/>
                  <a:gd name="connsiteX3" fmla="*/ 17847 w 35694"/>
                  <a:gd name="connsiteY3" fmla="*/ 0 h 35694"/>
                  <a:gd name="connsiteX4" fmla="*/ 35694 w 35694"/>
                  <a:gd name="connsiteY4" fmla="*/ 17847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4" h="35694">
                    <a:moveTo>
                      <a:pt x="35694" y="17847"/>
                    </a:moveTo>
                    <a:cubicBezTo>
                      <a:pt x="35694" y="27706"/>
                      <a:pt x="27706" y="35694"/>
                      <a:pt x="17847" y="35694"/>
                    </a:cubicBezTo>
                    <a:cubicBezTo>
                      <a:pt x="7993" y="35694"/>
                      <a:pt x="0" y="27706"/>
                      <a:pt x="0" y="17847"/>
                    </a:cubicBezTo>
                    <a:cubicBezTo>
                      <a:pt x="0" y="7993"/>
                      <a:pt x="7993" y="0"/>
                      <a:pt x="17847" y="0"/>
                    </a:cubicBezTo>
                    <a:cubicBezTo>
                      <a:pt x="27706" y="0"/>
                      <a:pt x="35694" y="7993"/>
                      <a:pt x="35694" y="17847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210B56-881B-4DC8-940E-4ECF04E92507}"/>
                  </a:ext>
                </a:extLst>
              </p:cNvPr>
              <p:cNvSpPr/>
              <p:nvPr/>
            </p:nvSpPr>
            <p:spPr>
              <a:xfrm>
                <a:off x="5834172" y="2884117"/>
                <a:ext cx="35694" cy="35688"/>
              </a:xfrm>
              <a:custGeom>
                <a:avLst/>
                <a:gdLst>
                  <a:gd name="connsiteX0" fmla="*/ 35694 w 35694"/>
                  <a:gd name="connsiteY0" fmla="*/ 17847 h 35688"/>
                  <a:gd name="connsiteX1" fmla="*/ 17847 w 35694"/>
                  <a:gd name="connsiteY1" fmla="*/ 35689 h 35688"/>
                  <a:gd name="connsiteX2" fmla="*/ 0 w 35694"/>
                  <a:gd name="connsiteY2" fmla="*/ 17847 h 35688"/>
                  <a:gd name="connsiteX3" fmla="*/ 17847 w 35694"/>
                  <a:gd name="connsiteY3" fmla="*/ 0 h 35688"/>
                  <a:gd name="connsiteX4" fmla="*/ 35694 w 35694"/>
                  <a:gd name="connsiteY4" fmla="*/ 17847 h 35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4" h="35688">
                    <a:moveTo>
                      <a:pt x="35694" y="17847"/>
                    </a:moveTo>
                    <a:cubicBezTo>
                      <a:pt x="35694" y="27701"/>
                      <a:pt x="27706" y="35689"/>
                      <a:pt x="17847" y="35689"/>
                    </a:cubicBezTo>
                    <a:cubicBezTo>
                      <a:pt x="7993" y="35689"/>
                      <a:pt x="0" y="27701"/>
                      <a:pt x="0" y="17847"/>
                    </a:cubicBezTo>
                    <a:cubicBezTo>
                      <a:pt x="0" y="7988"/>
                      <a:pt x="7993" y="0"/>
                      <a:pt x="17847" y="0"/>
                    </a:cubicBezTo>
                    <a:cubicBezTo>
                      <a:pt x="27706" y="0"/>
                      <a:pt x="35694" y="7988"/>
                      <a:pt x="35694" y="17847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D62B557-0FC5-42C5-AAC5-EBB7756743EC}"/>
                  </a:ext>
                </a:extLst>
              </p:cNvPr>
              <p:cNvSpPr/>
              <p:nvPr/>
            </p:nvSpPr>
            <p:spPr>
              <a:xfrm>
                <a:off x="5773569" y="2905163"/>
                <a:ext cx="35357" cy="35357"/>
              </a:xfrm>
              <a:custGeom>
                <a:avLst/>
                <a:gdLst>
                  <a:gd name="connsiteX0" fmla="*/ 35357 w 35357"/>
                  <a:gd name="connsiteY0" fmla="*/ 17676 h 35357"/>
                  <a:gd name="connsiteX1" fmla="*/ 17676 w 35357"/>
                  <a:gd name="connsiteY1" fmla="*/ 35357 h 35357"/>
                  <a:gd name="connsiteX2" fmla="*/ 0 w 35357"/>
                  <a:gd name="connsiteY2" fmla="*/ 17676 h 35357"/>
                  <a:gd name="connsiteX3" fmla="*/ 17676 w 35357"/>
                  <a:gd name="connsiteY3" fmla="*/ 0 h 35357"/>
                  <a:gd name="connsiteX4" fmla="*/ 35357 w 35357"/>
                  <a:gd name="connsiteY4" fmla="*/ 17676 h 35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57" h="35357">
                    <a:moveTo>
                      <a:pt x="35357" y="17676"/>
                    </a:moveTo>
                    <a:cubicBezTo>
                      <a:pt x="35357" y="27441"/>
                      <a:pt x="27441" y="35357"/>
                      <a:pt x="17676" y="35357"/>
                    </a:cubicBezTo>
                    <a:cubicBezTo>
                      <a:pt x="7916" y="35357"/>
                      <a:pt x="0" y="27441"/>
                      <a:pt x="0" y="17676"/>
                    </a:cubicBezTo>
                    <a:cubicBezTo>
                      <a:pt x="0" y="7916"/>
                      <a:pt x="7916" y="0"/>
                      <a:pt x="17676" y="0"/>
                    </a:cubicBezTo>
                    <a:cubicBezTo>
                      <a:pt x="27441" y="0"/>
                      <a:pt x="35357" y="7916"/>
                      <a:pt x="35357" y="17676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9419E8A8-BF19-4799-94F8-492C77E1ECC5}"/>
                  </a:ext>
                </a:extLst>
              </p:cNvPr>
              <p:cNvSpPr/>
              <p:nvPr/>
            </p:nvSpPr>
            <p:spPr>
              <a:xfrm>
                <a:off x="5712610" y="2917790"/>
                <a:ext cx="35694" cy="35694"/>
              </a:xfrm>
              <a:custGeom>
                <a:avLst/>
                <a:gdLst>
                  <a:gd name="connsiteX0" fmla="*/ 35694 w 35694"/>
                  <a:gd name="connsiteY0" fmla="*/ 17847 h 35694"/>
                  <a:gd name="connsiteX1" fmla="*/ 17847 w 35694"/>
                  <a:gd name="connsiteY1" fmla="*/ 35694 h 35694"/>
                  <a:gd name="connsiteX2" fmla="*/ 0 w 35694"/>
                  <a:gd name="connsiteY2" fmla="*/ 17847 h 35694"/>
                  <a:gd name="connsiteX3" fmla="*/ 17847 w 35694"/>
                  <a:gd name="connsiteY3" fmla="*/ 0 h 35694"/>
                  <a:gd name="connsiteX4" fmla="*/ 35694 w 35694"/>
                  <a:gd name="connsiteY4" fmla="*/ 17847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4" h="35694">
                    <a:moveTo>
                      <a:pt x="35694" y="17847"/>
                    </a:moveTo>
                    <a:cubicBezTo>
                      <a:pt x="35694" y="27706"/>
                      <a:pt x="27706" y="35694"/>
                      <a:pt x="17847" y="35694"/>
                    </a:cubicBezTo>
                    <a:cubicBezTo>
                      <a:pt x="7993" y="35694"/>
                      <a:pt x="0" y="27706"/>
                      <a:pt x="0" y="17847"/>
                    </a:cubicBezTo>
                    <a:cubicBezTo>
                      <a:pt x="0" y="7993"/>
                      <a:pt x="7993" y="0"/>
                      <a:pt x="17847" y="0"/>
                    </a:cubicBezTo>
                    <a:cubicBezTo>
                      <a:pt x="27706" y="0"/>
                      <a:pt x="35694" y="7993"/>
                      <a:pt x="35694" y="17847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0E0D323C-8D30-4028-90EE-D0CA39DC73BF}"/>
                  </a:ext>
                </a:extLst>
              </p:cNvPr>
              <p:cNvSpPr/>
              <p:nvPr/>
            </p:nvSpPr>
            <p:spPr>
              <a:xfrm>
                <a:off x="5839557" y="3075214"/>
                <a:ext cx="35694" cy="35694"/>
              </a:xfrm>
              <a:custGeom>
                <a:avLst/>
                <a:gdLst>
                  <a:gd name="connsiteX0" fmla="*/ 35694 w 35694"/>
                  <a:gd name="connsiteY0" fmla="*/ 17847 h 35694"/>
                  <a:gd name="connsiteX1" fmla="*/ 17847 w 35694"/>
                  <a:gd name="connsiteY1" fmla="*/ 35694 h 35694"/>
                  <a:gd name="connsiteX2" fmla="*/ 0 w 35694"/>
                  <a:gd name="connsiteY2" fmla="*/ 17847 h 35694"/>
                  <a:gd name="connsiteX3" fmla="*/ 17847 w 35694"/>
                  <a:gd name="connsiteY3" fmla="*/ 0 h 35694"/>
                  <a:gd name="connsiteX4" fmla="*/ 35694 w 35694"/>
                  <a:gd name="connsiteY4" fmla="*/ 17847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4" h="35694">
                    <a:moveTo>
                      <a:pt x="35694" y="17847"/>
                    </a:moveTo>
                    <a:cubicBezTo>
                      <a:pt x="35694" y="27706"/>
                      <a:pt x="27706" y="35694"/>
                      <a:pt x="17847" y="35694"/>
                    </a:cubicBezTo>
                    <a:cubicBezTo>
                      <a:pt x="7993" y="35694"/>
                      <a:pt x="0" y="27706"/>
                      <a:pt x="0" y="17847"/>
                    </a:cubicBezTo>
                    <a:cubicBezTo>
                      <a:pt x="0" y="7993"/>
                      <a:pt x="7993" y="0"/>
                      <a:pt x="17847" y="0"/>
                    </a:cubicBezTo>
                    <a:cubicBezTo>
                      <a:pt x="27706" y="0"/>
                      <a:pt x="35694" y="7993"/>
                      <a:pt x="35694" y="17847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3C579030-0497-4CE0-B7BD-2C6BFC42C01D}"/>
                  </a:ext>
                </a:extLst>
              </p:cNvPr>
              <p:cNvSpPr/>
              <p:nvPr/>
            </p:nvSpPr>
            <p:spPr>
              <a:xfrm>
                <a:off x="5778608" y="3096089"/>
                <a:ext cx="35688" cy="35694"/>
              </a:xfrm>
              <a:custGeom>
                <a:avLst/>
                <a:gdLst>
                  <a:gd name="connsiteX0" fmla="*/ 35689 w 35688"/>
                  <a:gd name="connsiteY0" fmla="*/ 17847 h 35694"/>
                  <a:gd name="connsiteX1" fmla="*/ 17847 w 35688"/>
                  <a:gd name="connsiteY1" fmla="*/ 35694 h 35694"/>
                  <a:gd name="connsiteX2" fmla="*/ 0 w 35688"/>
                  <a:gd name="connsiteY2" fmla="*/ 17847 h 35694"/>
                  <a:gd name="connsiteX3" fmla="*/ 17847 w 35688"/>
                  <a:gd name="connsiteY3" fmla="*/ 0 h 35694"/>
                  <a:gd name="connsiteX4" fmla="*/ 35689 w 35688"/>
                  <a:gd name="connsiteY4" fmla="*/ 17847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88" h="35694">
                    <a:moveTo>
                      <a:pt x="35689" y="17847"/>
                    </a:moveTo>
                    <a:cubicBezTo>
                      <a:pt x="35689" y="27706"/>
                      <a:pt x="27701" y="35694"/>
                      <a:pt x="17847" y="35694"/>
                    </a:cubicBezTo>
                    <a:cubicBezTo>
                      <a:pt x="7988" y="35694"/>
                      <a:pt x="0" y="27706"/>
                      <a:pt x="0" y="17847"/>
                    </a:cubicBezTo>
                    <a:cubicBezTo>
                      <a:pt x="0" y="7988"/>
                      <a:pt x="7988" y="0"/>
                      <a:pt x="17847" y="0"/>
                    </a:cubicBezTo>
                    <a:cubicBezTo>
                      <a:pt x="27701" y="0"/>
                      <a:pt x="35689" y="7988"/>
                      <a:pt x="35689" y="17847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3BCE5AD-7A61-4CC8-9D4F-46576F3CCC63}"/>
                  </a:ext>
                </a:extLst>
              </p:cNvPr>
              <p:cNvSpPr/>
              <p:nvPr/>
            </p:nvSpPr>
            <p:spPr>
              <a:xfrm>
                <a:off x="5717999" y="3109218"/>
                <a:ext cx="35357" cy="35357"/>
              </a:xfrm>
              <a:custGeom>
                <a:avLst/>
                <a:gdLst>
                  <a:gd name="connsiteX0" fmla="*/ 35357 w 35357"/>
                  <a:gd name="connsiteY0" fmla="*/ 17676 h 35357"/>
                  <a:gd name="connsiteX1" fmla="*/ 17681 w 35357"/>
                  <a:gd name="connsiteY1" fmla="*/ 35357 h 35357"/>
                  <a:gd name="connsiteX2" fmla="*/ 0 w 35357"/>
                  <a:gd name="connsiteY2" fmla="*/ 17676 h 35357"/>
                  <a:gd name="connsiteX3" fmla="*/ 17681 w 35357"/>
                  <a:gd name="connsiteY3" fmla="*/ 0 h 35357"/>
                  <a:gd name="connsiteX4" fmla="*/ 35357 w 35357"/>
                  <a:gd name="connsiteY4" fmla="*/ 17676 h 35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57" h="35357">
                    <a:moveTo>
                      <a:pt x="35357" y="17676"/>
                    </a:moveTo>
                    <a:cubicBezTo>
                      <a:pt x="35357" y="27441"/>
                      <a:pt x="27441" y="35357"/>
                      <a:pt x="17681" y="35357"/>
                    </a:cubicBezTo>
                    <a:cubicBezTo>
                      <a:pt x="7916" y="35357"/>
                      <a:pt x="0" y="27441"/>
                      <a:pt x="0" y="17676"/>
                    </a:cubicBezTo>
                    <a:cubicBezTo>
                      <a:pt x="0" y="7916"/>
                      <a:pt x="7916" y="0"/>
                      <a:pt x="17681" y="0"/>
                    </a:cubicBezTo>
                    <a:cubicBezTo>
                      <a:pt x="27441" y="0"/>
                      <a:pt x="35357" y="7916"/>
                      <a:pt x="35357" y="17676"/>
                    </a:cubicBezTo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BB41A0A-561A-47BB-89E8-1C0E4F1DD3F9}"/>
                  </a:ext>
                </a:extLst>
              </p:cNvPr>
              <p:cNvSpPr/>
              <p:nvPr/>
            </p:nvSpPr>
            <p:spPr>
              <a:xfrm>
                <a:off x="4985958" y="2750443"/>
                <a:ext cx="359668" cy="354836"/>
              </a:xfrm>
              <a:custGeom>
                <a:avLst/>
                <a:gdLst>
                  <a:gd name="connsiteX0" fmla="*/ 186562 w 359668"/>
                  <a:gd name="connsiteY0" fmla="*/ 318706 h 354836"/>
                  <a:gd name="connsiteX1" fmla="*/ 207605 w 359668"/>
                  <a:gd name="connsiteY1" fmla="*/ 349179 h 354836"/>
                  <a:gd name="connsiteX2" fmla="*/ 222758 w 359668"/>
                  <a:gd name="connsiteY2" fmla="*/ 354059 h 354836"/>
                  <a:gd name="connsiteX3" fmla="*/ 259463 w 359668"/>
                  <a:gd name="connsiteY3" fmla="*/ 340761 h 354836"/>
                  <a:gd name="connsiteX4" fmla="*/ 267882 w 359668"/>
                  <a:gd name="connsiteY4" fmla="*/ 327292 h 354836"/>
                  <a:gd name="connsiteX5" fmla="*/ 264349 w 359668"/>
                  <a:gd name="connsiteY5" fmla="*/ 290421 h 354836"/>
                  <a:gd name="connsiteX6" fmla="*/ 266535 w 359668"/>
                  <a:gd name="connsiteY6" fmla="*/ 285370 h 354836"/>
                  <a:gd name="connsiteX7" fmla="*/ 269394 w 359668"/>
                  <a:gd name="connsiteY7" fmla="*/ 283013 h 354836"/>
                  <a:gd name="connsiteX8" fmla="*/ 274783 w 359668"/>
                  <a:gd name="connsiteY8" fmla="*/ 281837 h 354836"/>
                  <a:gd name="connsiteX9" fmla="*/ 310477 w 359668"/>
                  <a:gd name="connsiteY9" fmla="*/ 291767 h 354836"/>
                  <a:gd name="connsiteX10" fmla="*/ 325123 w 359668"/>
                  <a:gd name="connsiteY10" fmla="*/ 285707 h 354836"/>
                  <a:gd name="connsiteX11" fmla="*/ 344654 w 359668"/>
                  <a:gd name="connsiteY11" fmla="*/ 251866 h 354836"/>
                  <a:gd name="connsiteX12" fmla="*/ 342467 w 359668"/>
                  <a:gd name="connsiteY12" fmla="*/ 236039 h 354836"/>
                  <a:gd name="connsiteX13" fmla="*/ 316035 w 359668"/>
                  <a:gd name="connsiteY13" fmla="*/ 210110 h 354836"/>
                  <a:gd name="connsiteX14" fmla="*/ 314352 w 359668"/>
                  <a:gd name="connsiteY14" fmla="*/ 204893 h 354836"/>
                  <a:gd name="connsiteX15" fmla="*/ 315026 w 359668"/>
                  <a:gd name="connsiteY15" fmla="*/ 201188 h 354836"/>
                  <a:gd name="connsiteX16" fmla="*/ 318393 w 359668"/>
                  <a:gd name="connsiteY16" fmla="*/ 196812 h 354836"/>
                  <a:gd name="connsiteX17" fmla="*/ 352068 w 359668"/>
                  <a:gd name="connsiteY17" fmla="*/ 181492 h 354836"/>
                  <a:gd name="connsiteX18" fmla="*/ 359476 w 359668"/>
                  <a:gd name="connsiteY18" fmla="*/ 167349 h 354836"/>
                  <a:gd name="connsiteX19" fmla="*/ 352741 w 359668"/>
                  <a:gd name="connsiteY19" fmla="*/ 128962 h 354836"/>
                  <a:gd name="connsiteX20" fmla="*/ 340955 w 359668"/>
                  <a:gd name="connsiteY20" fmla="*/ 118186 h 354836"/>
                  <a:gd name="connsiteX21" fmla="*/ 304085 w 359668"/>
                  <a:gd name="connsiteY21" fmla="*/ 115325 h 354836"/>
                  <a:gd name="connsiteX22" fmla="*/ 299370 w 359668"/>
                  <a:gd name="connsiteY22" fmla="*/ 112295 h 354836"/>
                  <a:gd name="connsiteX23" fmla="*/ 297521 w 359668"/>
                  <a:gd name="connsiteY23" fmla="*/ 109099 h 354836"/>
                  <a:gd name="connsiteX24" fmla="*/ 297184 w 359668"/>
                  <a:gd name="connsiteY24" fmla="*/ 103546 h 354836"/>
                  <a:gd name="connsiteX25" fmla="*/ 313011 w 359668"/>
                  <a:gd name="connsiteY25" fmla="*/ 70208 h 354836"/>
                  <a:gd name="connsiteX26" fmla="*/ 309644 w 359668"/>
                  <a:gd name="connsiteY26" fmla="*/ 54718 h 354836"/>
                  <a:gd name="connsiteX27" fmla="*/ 279845 w 359668"/>
                  <a:gd name="connsiteY27" fmla="*/ 29633 h 354836"/>
                  <a:gd name="connsiteX28" fmla="*/ 264018 w 359668"/>
                  <a:gd name="connsiteY28" fmla="*/ 28960 h 354836"/>
                  <a:gd name="connsiteX29" fmla="*/ 233882 w 359668"/>
                  <a:gd name="connsiteY29" fmla="*/ 50340 h 354836"/>
                  <a:gd name="connsiteX30" fmla="*/ 228493 w 359668"/>
                  <a:gd name="connsiteY30" fmla="*/ 51014 h 354836"/>
                  <a:gd name="connsiteX31" fmla="*/ 224960 w 359668"/>
                  <a:gd name="connsiteY31" fmla="*/ 49666 h 354836"/>
                  <a:gd name="connsiteX32" fmla="*/ 221256 w 359668"/>
                  <a:gd name="connsiteY32" fmla="*/ 45625 h 354836"/>
                  <a:gd name="connsiteX33" fmla="*/ 211997 w 359668"/>
                  <a:gd name="connsiteY33" fmla="*/ 9765 h 354836"/>
                  <a:gd name="connsiteX34" fmla="*/ 199373 w 359668"/>
                  <a:gd name="connsiteY34" fmla="*/ 0 h 354836"/>
                  <a:gd name="connsiteX35" fmla="*/ 160296 w 359668"/>
                  <a:gd name="connsiteY35" fmla="*/ 0 h 354836"/>
                  <a:gd name="connsiteX36" fmla="*/ 147670 w 359668"/>
                  <a:gd name="connsiteY36" fmla="*/ 9765 h 354836"/>
                  <a:gd name="connsiteX37" fmla="*/ 138413 w 359668"/>
                  <a:gd name="connsiteY37" fmla="*/ 45625 h 354836"/>
                  <a:gd name="connsiteX38" fmla="*/ 134708 w 359668"/>
                  <a:gd name="connsiteY38" fmla="*/ 49666 h 354836"/>
                  <a:gd name="connsiteX39" fmla="*/ 131175 w 359668"/>
                  <a:gd name="connsiteY39" fmla="*/ 51014 h 354836"/>
                  <a:gd name="connsiteX40" fmla="*/ 125787 w 359668"/>
                  <a:gd name="connsiteY40" fmla="*/ 50340 h 354836"/>
                  <a:gd name="connsiteX41" fmla="*/ 95651 w 359668"/>
                  <a:gd name="connsiteY41" fmla="*/ 28960 h 354836"/>
                  <a:gd name="connsiteX42" fmla="*/ 79824 w 359668"/>
                  <a:gd name="connsiteY42" fmla="*/ 29633 h 354836"/>
                  <a:gd name="connsiteX43" fmla="*/ 50024 w 359668"/>
                  <a:gd name="connsiteY43" fmla="*/ 54718 h 354836"/>
                  <a:gd name="connsiteX44" fmla="*/ 46657 w 359668"/>
                  <a:gd name="connsiteY44" fmla="*/ 70208 h 354836"/>
                  <a:gd name="connsiteX45" fmla="*/ 62484 w 359668"/>
                  <a:gd name="connsiteY45" fmla="*/ 103546 h 354836"/>
                  <a:gd name="connsiteX46" fmla="*/ 62148 w 359668"/>
                  <a:gd name="connsiteY46" fmla="*/ 109099 h 354836"/>
                  <a:gd name="connsiteX47" fmla="*/ 60299 w 359668"/>
                  <a:gd name="connsiteY47" fmla="*/ 112295 h 354836"/>
                  <a:gd name="connsiteX48" fmla="*/ 55584 w 359668"/>
                  <a:gd name="connsiteY48" fmla="*/ 115325 h 354836"/>
                  <a:gd name="connsiteX49" fmla="*/ 18713 w 359668"/>
                  <a:gd name="connsiteY49" fmla="*/ 118186 h 354836"/>
                  <a:gd name="connsiteX50" fmla="*/ 6927 w 359668"/>
                  <a:gd name="connsiteY50" fmla="*/ 128962 h 354836"/>
                  <a:gd name="connsiteX51" fmla="*/ 193 w 359668"/>
                  <a:gd name="connsiteY51" fmla="*/ 167349 h 354836"/>
                  <a:gd name="connsiteX52" fmla="*/ 7601 w 359668"/>
                  <a:gd name="connsiteY52" fmla="*/ 181492 h 354836"/>
                  <a:gd name="connsiteX53" fmla="*/ 41275 w 359668"/>
                  <a:gd name="connsiteY53" fmla="*/ 196812 h 354836"/>
                  <a:gd name="connsiteX54" fmla="*/ 44643 w 359668"/>
                  <a:gd name="connsiteY54" fmla="*/ 201188 h 354836"/>
                  <a:gd name="connsiteX55" fmla="*/ 45316 w 359668"/>
                  <a:gd name="connsiteY55" fmla="*/ 204893 h 354836"/>
                  <a:gd name="connsiteX56" fmla="*/ 43633 w 359668"/>
                  <a:gd name="connsiteY56" fmla="*/ 210110 h 354836"/>
                  <a:gd name="connsiteX57" fmla="*/ 17201 w 359668"/>
                  <a:gd name="connsiteY57" fmla="*/ 236039 h 354836"/>
                  <a:gd name="connsiteX58" fmla="*/ 15015 w 359668"/>
                  <a:gd name="connsiteY58" fmla="*/ 251866 h 354836"/>
                  <a:gd name="connsiteX59" fmla="*/ 34546 w 359668"/>
                  <a:gd name="connsiteY59" fmla="*/ 285707 h 354836"/>
                  <a:gd name="connsiteX60" fmla="*/ 49192 w 359668"/>
                  <a:gd name="connsiteY60" fmla="*/ 291767 h 354836"/>
                  <a:gd name="connsiteX61" fmla="*/ 87916 w 359668"/>
                  <a:gd name="connsiteY61" fmla="*/ 280992 h 354836"/>
                  <a:gd name="connsiteX62" fmla="*/ 93134 w 359668"/>
                  <a:gd name="connsiteY62" fmla="*/ 285370 h 354836"/>
                  <a:gd name="connsiteX63" fmla="*/ 95319 w 359668"/>
                  <a:gd name="connsiteY63" fmla="*/ 290421 h 354836"/>
                  <a:gd name="connsiteX64" fmla="*/ 91786 w 359668"/>
                  <a:gd name="connsiteY64" fmla="*/ 327292 h 354836"/>
                  <a:gd name="connsiteX65" fmla="*/ 100205 w 359668"/>
                  <a:gd name="connsiteY65" fmla="*/ 340761 h 354836"/>
                  <a:gd name="connsiteX66" fmla="*/ 136910 w 359668"/>
                  <a:gd name="connsiteY66" fmla="*/ 354059 h 354836"/>
                  <a:gd name="connsiteX67" fmla="*/ 152064 w 359668"/>
                  <a:gd name="connsiteY67" fmla="*/ 349179 h 354836"/>
                  <a:gd name="connsiteX68" fmla="*/ 173107 w 359668"/>
                  <a:gd name="connsiteY68" fmla="*/ 318706 h 354836"/>
                  <a:gd name="connsiteX69" fmla="*/ 177987 w 359668"/>
                  <a:gd name="connsiteY69" fmla="*/ 316184 h 354836"/>
                  <a:gd name="connsiteX70" fmla="*/ 179836 w 359668"/>
                  <a:gd name="connsiteY70" fmla="*/ 316184 h 354836"/>
                  <a:gd name="connsiteX71" fmla="*/ 181686 w 359668"/>
                  <a:gd name="connsiteY71" fmla="*/ 316184 h 354836"/>
                  <a:gd name="connsiteX72" fmla="*/ 186560 w 359668"/>
                  <a:gd name="connsiteY72" fmla="*/ 318706 h 354836"/>
                  <a:gd name="connsiteX73" fmla="*/ 179827 w 359668"/>
                  <a:gd name="connsiteY73" fmla="*/ 262812 h 354836"/>
                  <a:gd name="connsiteX74" fmla="*/ 94638 w 359668"/>
                  <a:gd name="connsiteY74" fmla="*/ 177623 h 354836"/>
                  <a:gd name="connsiteX75" fmla="*/ 179827 w 359668"/>
                  <a:gd name="connsiteY75" fmla="*/ 92433 h 354836"/>
                  <a:gd name="connsiteX76" fmla="*/ 265016 w 359668"/>
                  <a:gd name="connsiteY76" fmla="*/ 177623 h 354836"/>
                  <a:gd name="connsiteX77" fmla="*/ 179827 w 359668"/>
                  <a:gd name="connsiteY77" fmla="*/ 262812 h 354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59668" h="354836">
                    <a:moveTo>
                      <a:pt x="186562" y="318706"/>
                    </a:moveTo>
                    <a:cubicBezTo>
                      <a:pt x="193633" y="328808"/>
                      <a:pt x="200533" y="339076"/>
                      <a:pt x="207605" y="349179"/>
                    </a:cubicBezTo>
                    <a:cubicBezTo>
                      <a:pt x="210972" y="354059"/>
                      <a:pt x="217199" y="356079"/>
                      <a:pt x="222758" y="354059"/>
                    </a:cubicBezTo>
                    <a:cubicBezTo>
                      <a:pt x="235047" y="349682"/>
                      <a:pt x="247169" y="345138"/>
                      <a:pt x="259463" y="340761"/>
                    </a:cubicBezTo>
                    <a:cubicBezTo>
                      <a:pt x="265018" y="338740"/>
                      <a:pt x="268556" y="333187"/>
                      <a:pt x="267882" y="327292"/>
                    </a:cubicBezTo>
                    <a:cubicBezTo>
                      <a:pt x="266706" y="315003"/>
                      <a:pt x="265524" y="302710"/>
                      <a:pt x="264349" y="290421"/>
                    </a:cubicBezTo>
                    <a:cubicBezTo>
                      <a:pt x="264183" y="288400"/>
                      <a:pt x="265022" y="286551"/>
                      <a:pt x="266535" y="285370"/>
                    </a:cubicBezTo>
                    <a:cubicBezTo>
                      <a:pt x="267545" y="284530"/>
                      <a:pt x="268385" y="283857"/>
                      <a:pt x="269394" y="283013"/>
                    </a:cubicBezTo>
                    <a:cubicBezTo>
                      <a:pt x="270907" y="281666"/>
                      <a:pt x="272927" y="281329"/>
                      <a:pt x="274783" y="281837"/>
                    </a:cubicBezTo>
                    <a:cubicBezTo>
                      <a:pt x="286733" y="285204"/>
                      <a:pt x="298520" y="288400"/>
                      <a:pt x="310477" y="291767"/>
                    </a:cubicBezTo>
                    <a:cubicBezTo>
                      <a:pt x="316201" y="293281"/>
                      <a:pt x="322262" y="290929"/>
                      <a:pt x="325123" y="285707"/>
                    </a:cubicBezTo>
                    <a:cubicBezTo>
                      <a:pt x="331686" y="274428"/>
                      <a:pt x="338084" y="263145"/>
                      <a:pt x="344654" y="251866"/>
                    </a:cubicBezTo>
                    <a:cubicBezTo>
                      <a:pt x="347684" y="246816"/>
                      <a:pt x="346674" y="240251"/>
                      <a:pt x="342467" y="236039"/>
                    </a:cubicBezTo>
                    <a:cubicBezTo>
                      <a:pt x="333713" y="227454"/>
                      <a:pt x="324957" y="218700"/>
                      <a:pt x="316035" y="210110"/>
                    </a:cubicBezTo>
                    <a:cubicBezTo>
                      <a:pt x="314689" y="208762"/>
                      <a:pt x="314015" y="206743"/>
                      <a:pt x="314352" y="204893"/>
                    </a:cubicBezTo>
                    <a:cubicBezTo>
                      <a:pt x="314518" y="203717"/>
                      <a:pt x="314855" y="202370"/>
                      <a:pt x="315026" y="201188"/>
                    </a:cubicBezTo>
                    <a:cubicBezTo>
                      <a:pt x="315363" y="199340"/>
                      <a:pt x="316538" y="197655"/>
                      <a:pt x="318393" y="196812"/>
                    </a:cubicBezTo>
                    <a:cubicBezTo>
                      <a:pt x="329672" y="191760"/>
                      <a:pt x="340784" y="186543"/>
                      <a:pt x="352068" y="181492"/>
                    </a:cubicBezTo>
                    <a:cubicBezTo>
                      <a:pt x="357455" y="178969"/>
                      <a:pt x="360485" y="173245"/>
                      <a:pt x="359476" y="167349"/>
                    </a:cubicBezTo>
                    <a:cubicBezTo>
                      <a:pt x="357289" y="154553"/>
                      <a:pt x="354932" y="141757"/>
                      <a:pt x="352741" y="128962"/>
                    </a:cubicBezTo>
                    <a:cubicBezTo>
                      <a:pt x="351731" y="123071"/>
                      <a:pt x="346850" y="118693"/>
                      <a:pt x="340955" y="118186"/>
                    </a:cubicBezTo>
                    <a:cubicBezTo>
                      <a:pt x="328666" y="117175"/>
                      <a:pt x="316373" y="116165"/>
                      <a:pt x="304085" y="115325"/>
                    </a:cubicBezTo>
                    <a:cubicBezTo>
                      <a:pt x="302063" y="115160"/>
                      <a:pt x="300380" y="113979"/>
                      <a:pt x="299370" y="112295"/>
                    </a:cubicBezTo>
                    <a:cubicBezTo>
                      <a:pt x="298696" y="111286"/>
                      <a:pt x="298193" y="110109"/>
                      <a:pt x="297521" y="109099"/>
                    </a:cubicBezTo>
                    <a:cubicBezTo>
                      <a:pt x="296510" y="107416"/>
                      <a:pt x="296345" y="105394"/>
                      <a:pt x="297184" y="103546"/>
                    </a:cubicBezTo>
                    <a:cubicBezTo>
                      <a:pt x="302400" y="92433"/>
                      <a:pt x="307789" y="81321"/>
                      <a:pt x="313011" y="70208"/>
                    </a:cubicBezTo>
                    <a:cubicBezTo>
                      <a:pt x="315534" y="64820"/>
                      <a:pt x="314186" y="58422"/>
                      <a:pt x="309644" y="54718"/>
                    </a:cubicBezTo>
                    <a:cubicBezTo>
                      <a:pt x="299712" y="46299"/>
                      <a:pt x="289777" y="38052"/>
                      <a:pt x="279845" y="29633"/>
                    </a:cubicBezTo>
                    <a:cubicBezTo>
                      <a:pt x="275301" y="25763"/>
                      <a:pt x="268732" y="25592"/>
                      <a:pt x="264018" y="28960"/>
                    </a:cubicBezTo>
                    <a:cubicBezTo>
                      <a:pt x="253914" y="36031"/>
                      <a:pt x="243985" y="43268"/>
                      <a:pt x="233882" y="50340"/>
                    </a:cubicBezTo>
                    <a:cubicBezTo>
                      <a:pt x="232368" y="51515"/>
                      <a:pt x="230177" y="51686"/>
                      <a:pt x="228493" y="51014"/>
                    </a:cubicBezTo>
                    <a:cubicBezTo>
                      <a:pt x="227317" y="50511"/>
                      <a:pt x="226136" y="50174"/>
                      <a:pt x="224960" y="49666"/>
                    </a:cubicBezTo>
                    <a:cubicBezTo>
                      <a:pt x="223110" y="48992"/>
                      <a:pt x="221764" y="47480"/>
                      <a:pt x="221256" y="45625"/>
                    </a:cubicBezTo>
                    <a:cubicBezTo>
                      <a:pt x="218225" y="33673"/>
                      <a:pt x="215029" y="21717"/>
                      <a:pt x="211997" y="9765"/>
                    </a:cubicBezTo>
                    <a:cubicBezTo>
                      <a:pt x="210486" y="4041"/>
                      <a:pt x="205263" y="0"/>
                      <a:pt x="199373" y="0"/>
                    </a:cubicBezTo>
                    <a:lnTo>
                      <a:pt x="160296" y="0"/>
                    </a:lnTo>
                    <a:cubicBezTo>
                      <a:pt x="154406" y="0"/>
                      <a:pt x="149183" y="4041"/>
                      <a:pt x="147670" y="9765"/>
                    </a:cubicBezTo>
                    <a:cubicBezTo>
                      <a:pt x="144639" y="21717"/>
                      <a:pt x="141443" y="33673"/>
                      <a:pt x="138413" y="45625"/>
                    </a:cubicBezTo>
                    <a:cubicBezTo>
                      <a:pt x="137910" y="47475"/>
                      <a:pt x="136563" y="48992"/>
                      <a:pt x="134708" y="49666"/>
                    </a:cubicBezTo>
                    <a:cubicBezTo>
                      <a:pt x="133532" y="50003"/>
                      <a:pt x="132352" y="50506"/>
                      <a:pt x="131175" y="51014"/>
                    </a:cubicBezTo>
                    <a:cubicBezTo>
                      <a:pt x="129325" y="51686"/>
                      <a:pt x="127305" y="51515"/>
                      <a:pt x="125787" y="50340"/>
                    </a:cubicBezTo>
                    <a:cubicBezTo>
                      <a:pt x="115685" y="43268"/>
                      <a:pt x="105754" y="36031"/>
                      <a:pt x="95651" y="28960"/>
                    </a:cubicBezTo>
                    <a:cubicBezTo>
                      <a:pt x="90772" y="25592"/>
                      <a:pt x="84374" y="25763"/>
                      <a:pt x="79824" y="29633"/>
                    </a:cubicBezTo>
                    <a:cubicBezTo>
                      <a:pt x="69893" y="38051"/>
                      <a:pt x="59957" y="46299"/>
                      <a:pt x="50024" y="54718"/>
                    </a:cubicBezTo>
                    <a:cubicBezTo>
                      <a:pt x="45482" y="58588"/>
                      <a:pt x="44135" y="64985"/>
                      <a:pt x="46657" y="70208"/>
                    </a:cubicBezTo>
                    <a:cubicBezTo>
                      <a:pt x="51875" y="81319"/>
                      <a:pt x="57262" y="92433"/>
                      <a:pt x="62484" y="103546"/>
                    </a:cubicBezTo>
                    <a:cubicBezTo>
                      <a:pt x="63324" y="105229"/>
                      <a:pt x="63158" y="107416"/>
                      <a:pt x="62148" y="109099"/>
                    </a:cubicBezTo>
                    <a:cubicBezTo>
                      <a:pt x="61475" y="110109"/>
                      <a:pt x="60973" y="111284"/>
                      <a:pt x="60299" y="112295"/>
                    </a:cubicBezTo>
                    <a:cubicBezTo>
                      <a:pt x="59288" y="113979"/>
                      <a:pt x="57605" y="115154"/>
                      <a:pt x="55584" y="115325"/>
                    </a:cubicBezTo>
                    <a:cubicBezTo>
                      <a:pt x="43296" y="116336"/>
                      <a:pt x="31002" y="117346"/>
                      <a:pt x="18713" y="118186"/>
                    </a:cubicBezTo>
                    <a:cubicBezTo>
                      <a:pt x="12824" y="118689"/>
                      <a:pt x="7938" y="123065"/>
                      <a:pt x="6927" y="128962"/>
                    </a:cubicBezTo>
                    <a:cubicBezTo>
                      <a:pt x="4742" y="141757"/>
                      <a:pt x="2385" y="154554"/>
                      <a:pt x="193" y="167349"/>
                    </a:cubicBezTo>
                    <a:cubicBezTo>
                      <a:pt x="-817" y="173239"/>
                      <a:pt x="2214" y="178963"/>
                      <a:pt x="7601" y="181492"/>
                    </a:cubicBezTo>
                    <a:cubicBezTo>
                      <a:pt x="18879" y="186543"/>
                      <a:pt x="29992" y="191760"/>
                      <a:pt x="41275" y="196812"/>
                    </a:cubicBezTo>
                    <a:cubicBezTo>
                      <a:pt x="43125" y="197651"/>
                      <a:pt x="44306" y="199334"/>
                      <a:pt x="44643" y="201188"/>
                    </a:cubicBezTo>
                    <a:cubicBezTo>
                      <a:pt x="44808" y="202365"/>
                      <a:pt x="44979" y="203712"/>
                      <a:pt x="45316" y="204893"/>
                    </a:cubicBezTo>
                    <a:cubicBezTo>
                      <a:pt x="45653" y="206743"/>
                      <a:pt x="45151" y="208762"/>
                      <a:pt x="43633" y="210110"/>
                    </a:cubicBezTo>
                    <a:cubicBezTo>
                      <a:pt x="34878" y="218695"/>
                      <a:pt x="26123" y="227449"/>
                      <a:pt x="17201" y="236039"/>
                    </a:cubicBezTo>
                    <a:cubicBezTo>
                      <a:pt x="12995" y="240246"/>
                      <a:pt x="12150" y="246644"/>
                      <a:pt x="15015" y="251866"/>
                    </a:cubicBezTo>
                    <a:cubicBezTo>
                      <a:pt x="21578" y="263145"/>
                      <a:pt x="27977" y="274428"/>
                      <a:pt x="34546" y="285707"/>
                    </a:cubicBezTo>
                    <a:cubicBezTo>
                      <a:pt x="37578" y="290758"/>
                      <a:pt x="43639" y="293281"/>
                      <a:pt x="49192" y="291767"/>
                    </a:cubicBezTo>
                    <a:cubicBezTo>
                      <a:pt x="62154" y="288234"/>
                      <a:pt x="74950" y="284696"/>
                      <a:pt x="87916" y="280992"/>
                    </a:cubicBezTo>
                    <a:cubicBezTo>
                      <a:pt x="89601" y="282505"/>
                      <a:pt x="91284" y="284024"/>
                      <a:pt x="93134" y="285370"/>
                    </a:cubicBezTo>
                    <a:cubicBezTo>
                      <a:pt x="94647" y="286546"/>
                      <a:pt x="95490" y="288566"/>
                      <a:pt x="95319" y="290421"/>
                    </a:cubicBezTo>
                    <a:cubicBezTo>
                      <a:pt x="94144" y="302709"/>
                      <a:pt x="92963" y="315003"/>
                      <a:pt x="91786" y="327292"/>
                    </a:cubicBezTo>
                    <a:cubicBezTo>
                      <a:pt x="91284" y="333182"/>
                      <a:pt x="94646" y="338741"/>
                      <a:pt x="100205" y="340761"/>
                    </a:cubicBezTo>
                    <a:cubicBezTo>
                      <a:pt x="112494" y="345139"/>
                      <a:pt x="124616" y="349682"/>
                      <a:pt x="136910" y="354059"/>
                    </a:cubicBezTo>
                    <a:cubicBezTo>
                      <a:pt x="142463" y="356079"/>
                      <a:pt x="148696" y="354059"/>
                      <a:pt x="152064" y="349179"/>
                    </a:cubicBezTo>
                    <a:cubicBezTo>
                      <a:pt x="159135" y="339077"/>
                      <a:pt x="166035" y="328809"/>
                      <a:pt x="173107" y="318706"/>
                    </a:cubicBezTo>
                    <a:cubicBezTo>
                      <a:pt x="174283" y="317023"/>
                      <a:pt x="176137" y="316184"/>
                      <a:pt x="177987" y="316184"/>
                    </a:cubicBezTo>
                    <a:lnTo>
                      <a:pt x="179836" y="316184"/>
                    </a:lnTo>
                    <a:lnTo>
                      <a:pt x="181686" y="316184"/>
                    </a:lnTo>
                    <a:cubicBezTo>
                      <a:pt x="183530" y="316184"/>
                      <a:pt x="185380" y="317193"/>
                      <a:pt x="186560" y="318706"/>
                    </a:cubicBezTo>
                    <a:close/>
                    <a:moveTo>
                      <a:pt x="179827" y="262812"/>
                    </a:moveTo>
                    <a:cubicBezTo>
                      <a:pt x="132854" y="262812"/>
                      <a:pt x="94638" y="224761"/>
                      <a:pt x="94638" y="177623"/>
                    </a:cubicBezTo>
                    <a:cubicBezTo>
                      <a:pt x="94638" y="130650"/>
                      <a:pt x="132689" y="92433"/>
                      <a:pt x="179827" y="92433"/>
                    </a:cubicBezTo>
                    <a:cubicBezTo>
                      <a:pt x="226800" y="92433"/>
                      <a:pt x="265016" y="130484"/>
                      <a:pt x="265016" y="177623"/>
                    </a:cubicBezTo>
                    <a:cubicBezTo>
                      <a:pt x="265016" y="224595"/>
                      <a:pt x="226800" y="262812"/>
                      <a:pt x="179827" y="262812"/>
                    </a:cubicBezTo>
                    <a:close/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6B0CBA3C-1963-4115-8C8D-00C33E901AF9}"/>
                  </a:ext>
                </a:extLst>
              </p:cNvPr>
              <p:cNvSpPr/>
              <p:nvPr/>
            </p:nvSpPr>
            <p:spPr>
              <a:xfrm>
                <a:off x="5298997" y="2599442"/>
                <a:ext cx="248132" cy="245113"/>
              </a:xfrm>
              <a:custGeom>
                <a:avLst/>
                <a:gdLst>
                  <a:gd name="connsiteX0" fmla="*/ 41543 w 248132"/>
                  <a:gd name="connsiteY0" fmla="*/ 77765 h 245113"/>
                  <a:gd name="connsiteX1" fmla="*/ 38346 w 248132"/>
                  <a:gd name="connsiteY1" fmla="*/ 79785 h 245113"/>
                  <a:gd name="connsiteX2" fmla="*/ 12925 w 248132"/>
                  <a:gd name="connsiteY2" fmla="*/ 81806 h 245113"/>
                  <a:gd name="connsiteX3" fmla="*/ 4843 w 248132"/>
                  <a:gd name="connsiteY3" fmla="*/ 89214 h 245113"/>
                  <a:gd name="connsiteX4" fmla="*/ 128 w 248132"/>
                  <a:gd name="connsiteY4" fmla="*/ 115646 h 245113"/>
                  <a:gd name="connsiteX5" fmla="*/ 5180 w 248132"/>
                  <a:gd name="connsiteY5" fmla="*/ 125411 h 245113"/>
                  <a:gd name="connsiteX6" fmla="*/ 28416 w 248132"/>
                  <a:gd name="connsiteY6" fmla="*/ 136016 h 245113"/>
                  <a:gd name="connsiteX7" fmla="*/ 30772 w 248132"/>
                  <a:gd name="connsiteY7" fmla="*/ 139046 h 245113"/>
                  <a:gd name="connsiteX8" fmla="*/ 31275 w 248132"/>
                  <a:gd name="connsiteY8" fmla="*/ 141570 h 245113"/>
                  <a:gd name="connsiteX9" fmla="*/ 30099 w 248132"/>
                  <a:gd name="connsiteY9" fmla="*/ 145274 h 245113"/>
                  <a:gd name="connsiteX10" fmla="*/ 11915 w 248132"/>
                  <a:gd name="connsiteY10" fmla="*/ 163122 h 245113"/>
                  <a:gd name="connsiteX11" fmla="*/ 10403 w 248132"/>
                  <a:gd name="connsiteY11" fmla="*/ 174063 h 245113"/>
                  <a:gd name="connsiteX12" fmla="*/ 23872 w 248132"/>
                  <a:gd name="connsiteY12" fmla="*/ 197299 h 245113"/>
                  <a:gd name="connsiteX13" fmla="*/ 33974 w 248132"/>
                  <a:gd name="connsiteY13" fmla="*/ 201504 h 245113"/>
                  <a:gd name="connsiteX14" fmla="*/ 60743 w 248132"/>
                  <a:gd name="connsiteY14" fmla="*/ 194097 h 245113"/>
                  <a:gd name="connsiteX15" fmla="*/ 64276 w 248132"/>
                  <a:gd name="connsiteY15" fmla="*/ 197127 h 245113"/>
                  <a:gd name="connsiteX16" fmla="*/ 65789 w 248132"/>
                  <a:gd name="connsiteY16" fmla="*/ 200661 h 245113"/>
                  <a:gd name="connsiteX17" fmla="*/ 63431 w 248132"/>
                  <a:gd name="connsiteY17" fmla="*/ 226082 h 245113"/>
                  <a:gd name="connsiteX18" fmla="*/ 69322 w 248132"/>
                  <a:gd name="connsiteY18" fmla="*/ 235339 h 245113"/>
                  <a:gd name="connsiteX19" fmla="*/ 94577 w 248132"/>
                  <a:gd name="connsiteY19" fmla="*/ 244597 h 245113"/>
                  <a:gd name="connsiteX20" fmla="*/ 105016 w 248132"/>
                  <a:gd name="connsiteY20" fmla="*/ 241230 h 245113"/>
                  <a:gd name="connsiteX21" fmla="*/ 119496 w 248132"/>
                  <a:gd name="connsiteY21" fmla="*/ 220187 h 245113"/>
                  <a:gd name="connsiteX22" fmla="*/ 122863 w 248132"/>
                  <a:gd name="connsiteY22" fmla="*/ 218502 h 245113"/>
                  <a:gd name="connsiteX23" fmla="*/ 124040 w 248132"/>
                  <a:gd name="connsiteY23" fmla="*/ 218502 h 245113"/>
                  <a:gd name="connsiteX24" fmla="*/ 125215 w 248132"/>
                  <a:gd name="connsiteY24" fmla="*/ 218502 h 245113"/>
                  <a:gd name="connsiteX25" fmla="*/ 128583 w 248132"/>
                  <a:gd name="connsiteY25" fmla="*/ 220187 h 245113"/>
                  <a:gd name="connsiteX26" fmla="*/ 143063 w 248132"/>
                  <a:gd name="connsiteY26" fmla="*/ 241230 h 245113"/>
                  <a:gd name="connsiteX27" fmla="*/ 153502 w 248132"/>
                  <a:gd name="connsiteY27" fmla="*/ 244597 h 245113"/>
                  <a:gd name="connsiteX28" fmla="*/ 178758 w 248132"/>
                  <a:gd name="connsiteY28" fmla="*/ 235339 h 245113"/>
                  <a:gd name="connsiteX29" fmla="*/ 184647 w 248132"/>
                  <a:gd name="connsiteY29" fmla="*/ 226082 h 245113"/>
                  <a:gd name="connsiteX30" fmla="*/ 182291 w 248132"/>
                  <a:gd name="connsiteY30" fmla="*/ 200661 h 245113"/>
                  <a:gd name="connsiteX31" fmla="*/ 183803 w 248132"/>
                  <a:gd name="connsiteY31" fmla="*/ 197127 h 245113"/>
                  <a:gd name="connsiteX32" fmla="*/ 185824 w 248132"/>
                  <a:gd name="connsiteY32" fmla="*/ 195443 h 245113"/>
                  <a:gd name="connsiteX33" fmla="*/ 189528 w 248132"/>
                  <a:gd name="connsiteY33" fmla="*/ 194604 h 245113"/>
                  <a:gd name="connsiteX34" fmla="*/ 214110 w 248132"/>
                  <a:gd name="connsiteY34" fmla="*/ 201340 h 245113"/>
                  <a:gd name="connsiteX35" fmla="*/ 224212 w 248132"/>
                  <a:gd name="connsiteY35" fmla="*/ 197133 h 245113"/>
                  <a:gd name="connsiteX36" fmla="*/ 237681 w 248132"/>
                  <a:gd name="connsiteY36" fmla="*/ 173897 h 245113"/>
                  <a:gd name="connsiteX37" fmla="*/ 236168 w 248132"/>
                  <a:gd name="connsiteY37" fmla="*/ 162956 h 245113"/>
                  <a:gd name="connsiteX38" fmla="*/ 217984 w 248132"/>
                  <a:gd name="connsiteY38" fmla="*/ 145109 h 245113"/>
                  <a:gd name="connsiteX39" fmla="*/ 216808 w 248132"/>
                  <a:gd name="connsiteY39" fmla="*/ 141404 h 245113"/>
                  <a:gd name="connsiteX40" fmla="*/ 217311 w 248132"/>
                  <a:gd name="connsiteY40" fmla="*/ 138881 h 245113"/>
                  <a:gd name="connsiteX41" fmla="*/ 219668 w 248132"/>
                  <a:gd name="connsiteY41" fmla="*/ 135850 h 245113"/>
                  <a:gd name="connsiteX42" fmla="*/ 242904 w 248132"/>
                  <a:gd name="connsiteY42" fmla="*/ 125246 h 245113"/>
                  <a:gd name="connsiteX43" fmla="*/ 247954 w 248132"/>
                  <a:gd name="connsiteY43" fmla="*/ 115481 h 245113"/>
                  <a:gd name="connsiteX44" fmla="*/ 243240 w 248132"/>
                  <a:gd name="connsiteY44" fmla="*/ 89049 h 245113"/>
                  <a:gd name="connsiteX45" fmla="*/ 235158 w 248132"/>
                  <a:gd name="connsiteY45" fmla="*/ 81640 h 245113"/>
                  <a:gd name="connsiteX46" fmla="*/ 209737 w 248132"/>
                  <a:gd name="connsiteY46" fmla="*/ 79619 h 245113"/>
                  <a:gd name="connsiteX47" fmla="*/ 206541 w 248132"/>
                  <a:gd name="connsiteY47" fmla="*/ 77599 h 245113"/>
                  <a:gd name="connsiteX48" fmla="*/ 205193 w 248132"/>
                  <a:gd name="connsiteY48" fmla="*/ 75414 h 245113"/>
                  <a:gd name="connsiteX49" fmla="*/ 205028 w 248132"/>
                  <a:gd name="connsiteY49" fmla="*/ 71544 h 245113"/>
                  <a:gd name="connsiteX50" fmla="*/ 215969 w 248132"/>
                  <a:gd name="connsiteY50" fmla="*/ 48479 h 245113"/>
                  <a:gd name="connsiteX51" fmla="*/ 213612 w 248132"/>
                  <a:gd name="connsiteY51" fmla="*/ 37703 h 245113"/>
                  <a:gd name="connsiteX52" fmla="*/ 193072 w 248132"/>
                  <a:gd name="connsiteY52" fmla="*/ 20364 h 245113"/>
                  <a:gd name="connsiteX53" fmla="*/ 182130 w 248132"/>
                  <a:gd name="connsiteY53" fmla="*/ 19862 h 245113"/>
                  <a:gd name="connsiteX54" fmla="*/ 161424 w 248132"/>
                  <a:gd name="connsiteY54" fmla="*/ 34678 h 245113"/>
                  <a:gd name="connsiteX55" fmla="*/ 157720 w 248132"/>
                  <a:gd name="connsiteY55" fmla="*/ 35181 h 245113"/>
                  <a:gd name="connsiteX56" fmla="*/ 155361 w 248132"/>
                  <a:gd name="connsiteY56" fmla="*/ 34342 h 245113"/>
                  <a:gd name="connsiteX57" fmla="*/ 152839 w 248132"/>
                  <a:gd name="connsiteY57" fmla="*/ 31482 h 245113"/>
                  <a:gd name="connsiteX58" fmla="*/ 146441 w 248132"/>
                  <a:gd name="connsiteY58" fmla="*/ 6735 h 245113"/>
                  <a:gd name="connsiteX59" fmla="*/ 137685 w 248132"/>
                  <a:gd name="connsiteY59" fmla="*/ 0 h 245113"/>
                  <a:gd name="connsiteX60" fmla="*/ 110747 w 248132"/>
                  <a:gd name="connsiteY60" fmla="*/ 0 h 245113"/>
                  <a:gd name="connsiteX61" fmla="*/ 101992 w 248132"/>
                  <a:gd name="connsiteY61" fmla="*/ 6735 h 245113"/>
                  <a:gd name="connsiteX62" fmla="*/ 95595 w 248132"/>
                  <a:gd name="connsiteY62" fmla="*/ 31482 h 245113"/>
                  <a:gd name="connsiteX63" fmla="*/ 93071 w 248132"/>
                  <a:gd name="connsiteY63" fmla="*/ 34342 h 245113"/>
                  <a:gd name="connsiteX64" fmla="*/ 90714 w 248132"/>
                  <a:gd name="connsiteY64" fmla="*/ 35181 h 245113"/>
                  <a:gd name="connsiteX65" fmla="*/ 87010 w 248132"/>
                  <a:gd name="connsiteY65" fmla="*/ 34678 h 245113"/>
                  <a:gd name="connsiteX66" fmla="*/ 66303 w 248132"/>
                  <a:gd name="connsiteY66" fmla="*/ 19862 h 245113"/>
                  <a:gd name="connsiteX67" fmla="*/ 55362 w 248132"/>
                  <a:gd name="connsiteY67" fmla="*/ 20364 h 245113"/>
                  <a:gd name="connsiteX68" fmla="*/ 34821 w 248132"/>
                  <a:gd name="connsiteY68" fmla="*/ 37703 h 245113"/>
                  <a:gd name="connsiteX69" fmla="*/ 32465 w 248132"/>
                  <a:gd name="connsiteY69" fmla="*/ 48479 h 245113"/>
                  <a:gd name="connsiteX70" fmla="*/ 43406 w 248132"/>
                  <a:gd name="connsiteY70" fmla="*/ 71544 h 245113"/>
                  <a:gd name="connsiteX71" fmla="*/ 43240 w 248132"/>
                  <a:gd name="connsiteY71" fmla="*/ 75414 h 245113"/>
                  <a:gd name="connsiteX72" fmla="*/ 41545 w 248132"/>
                  <a:gd name="connsiteY72" fmla="*/ 77765 h 245113"/>
                  <a:gd name="connsiteX73" fmla="*/ 124038 w 248132"/>
                  <a:gd name="connsiteY73" fmla="*/ 63959 h 245113"/>
                  <a:gd name="connsiteX74" fmla="*/ 182797 w 248132"/>
                  <a:gd name="connsiteY74" fmla="*/ 122718 h 245113"/>
                  <a:gd name="connsiteX75" fmla="*/ 124038 w 248132"/>
                  <a:gd name="connsiteY75" fmla="*/ 181477 h 245113"/>
                  <a:gd name="connsiteX76" fmla="*/ 65280 w 248132"/>
                  <a:gd name="connsiteY76" fmla="*/ 122718 h 245113"/>
                  <a:gd name="connsiteX77" fmla="*/ 124038 w 248132"/>
                  <a:gd name="connsiteY77" fmla="*/ 63959 h 245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248132" h="245113">
                    <a:moveTo>
                      <a:pt x="41543" y="77765"/>
                    </a:moveTo>
                    <a:cubicBezTo>
                      <a:pt x="40869" y="78941"/>
                      <a:pt x="39693" y="79785"/>
                      <a:pt x="38346" y="79785"/>
                    </a:cubicBezTo>
                    <a:cubicBezTo>
                      <a:pt x="29928" y="80459"/>
                      <a:pt x="21344" y="81132"/>
                      <a:pt x="12925" y="81806"/>
                    </a:cubicBezTo>
                    <a:cubicBezTo>
                      <a:pt x="8884" y="82143"/>
                      <a:pt x="5517" y="85173"/>
                      <a:pt x="4843" y="89214"/>
                    </a:cubicBezTo>
                    <a:cubicBezTo>
                      <a:pt x="3330" y="97969"/>
                      <a:pt x="1813" y="106891"/>
                      <a:pt x="128" y="115646"/>
                    </a:cubicBezTo>
                    <a:cubicBezTo>
                      <a:pt x="-545" y="119687"/>
                      <a:pt x="1476" y="123728"/>
                      <a:pt x="5180" y="125411"/>
                    </a:cubicBezTo>
                    <a:cubicBezTo>
                      <a:pt x="12925" y="128944"/>
                      <a:pt x="20670" y="132483"/>
                      <a:pt x="28416" y="136016"/>
                    </a:cubicBezTo>
                    <a:cubicBezTo>
                      <a:pt x="29592" y="136519"/>
                      <a:pt x="30435" y="137700"/>
                      <a:pt x="30772" y="139046"/>
                    </a:cubicBezTo>
                    <a:cubicBezTo>
                      <a:pt x="30938" y="139886"/>
                      <a:pt x="31109" y="140731"/>
                      <a:pt x="31275" y="141570"/>
                    </a:cubicBezTo>
                    <a:cubicBezTo>
                      <a:pt x="31441" y="142916"/>
                      <a:pt x="31109" y="144264"/>
                      <a:pt x="30099" y="145274"/>
                    </a:cubicBezTo>
                    <a:cubicBezTo>
                      <a:pt x="24038" y="151164"/>
                      <a:pt x="17977" y="157225"/>
                      <a:pt x="11915" y="163122"/>
                    </a:cubicBezTo>
                    <a:cubicBezTo>
                      <a:pt x="9055" y="165981"/>
                      <a:pt x="8382" y="170530"/>
                      <a:pt x="10403" y="174063"/>
                    </a:cubicBezTo>
                    <a:cubicBezTo>
                      <a:pt x="14946" y="181807"/>
                      <a:pt x="19323" y="189553"/>
                      <a:pt x="23872" y="197299"/>
                    </a:cubicBezTo>
                    <a:cubicBezTo>
                      <a:pt x="25892" y="200832"/>
                      <a:pt x="30099" y="202515"/>
                      <a:pt x="33974" y="201504"/>
                    </a:cubicBezTo>
                    <a:cubicBezTo>
                      <a:pt x="42895" y="198982"/>
                      <a:pt x="51821" y="196625"/>
                      <a:pt x="60743" y="194097"/>
                    </a:cubicBezTo>
                    <a:cubicBezTo>
                      <a:pt x="61919" y="195106"/>
                      <a:pt x="63099" y="196117"/>
                      <a:pt x="64276" y="197127"/>
                    </a:cubicBezTo>
                    <a:cubicBezTo>
                      <a:pt x="65286" y="197967"/>
                      <a:pt x="65789" y="199313"/>
                      <a:pt x="65789" y="200661"/>
                    </a:cubicBezTo>
                    <a:cubicBezTo>
                      <a:pt x="64949" y="209080"/>
                      <a:pt x="64105" y="217663"/>
                      <a:pt x="63431" y="226082"/>
                    </a:cubicBezTo>
                    <a:cubicBezTo>
                      <a:pt x="63094" y="230123"/>
                      <a:pt x="65452" y="233993"/>
                      <a:pt x="69322" y="235339"/>
                    </a:cubicBezTo>
                    <a:cubicBezTo>
                      <a:pt x="77740" y="238371"/>
                      <a:pt x="86159" y="241401"/>
                      <a:pt x="94577" y="244597"/>
                    </a:cubicBezTo>
                    <a:cubicBezTo>
                      <a:pt x="98447" y="245945"/>
                      <a:pt x="102660" y="244597"/>
                      <a:pt x="105016" y="241230"/>
                    </a:cubicBezTo>
                    <a:cubicBezTo>
                      <a:pt x="109897" y="234159"/>
                      <a:pt x="114610" y="227258"/>
                      <a:pt x="119496" y="220187"/>
                    </a:cubicBezTo>
                    <a:cubicBezTo>
                      <a:pt x="120336" y="219010"/>
                      <a:pt x="121516" y="218502"/>
                      <a:pt x="122863" y="218502"/>
                    </a:cubicBezTo>
                    <a:lnTo>
                      <a:pt x="124040" y="218502"/>
                    </a:lnTo>
                    <a:lnTo>
                      <a:pt x="125215" y="218502"/>
                    </a:lnTo>
                    <a:cubicBezTo>
                      <a:pt x="126562" y="218502"/>
                      <a:pt x="127910" y="219176"/>
                      <a:pt x="128583" y="220187"/>
                    </a:cubicBezTo>
                    <a:cubicBezTo>
                      <a:pt x="133463" y="227258"/>
                      <a:pt x="138177" y="234159"/>
                      <a:pt x="143063" y="241230"/>
                    </a:cubicBezTo>
                    <a:cubicBezTo>
                      <a:pt x="145420" y="244597"/>
                      <a:pt x="149627" y="245945"/>
                      <a:pt x="153502" y="244597"/>
                    </a:cubicBezTo>
                    <a:cubicBezTo>
                      <a:pt x="161920" y="241567"/>
                      <a:pt x="170339" y="238537"/>
                      <a:pt x="178758" y="235339"/>
                    </a:cubicBezTo>
                    <a:cubicBezTo>
                      <a:pt x="182628" y="233993"/>
                      <a:pt x="184984" y="230123"/>
                      <a:pt x="184647" y="226082"/>
                    </a:cubicBezTo>
                    <a:cubicBezTo>
                      <a:pt x="183808" y="217663"/>
                      <a:pt x="182964" y="209080"/>
                      <a:pt x="182291" y="200661"/>
                    </a:cubicBezTo>
                    <a:cubicBezTo>
                      <a:pt x="182125" y="199313"/>
                      <a:pt x="182793" y="197967"/>
                      <a:pt x="183803" y="197127"/>
                    </a:cubicBezTo>
                    <a:cubicBezTo>
                      <a:pt x="184476" y="196625"/>
                      <a:pt x="185150" y="196117"/>
                      <a:pt x="185824" y="195443"/>
                    </a:cubicBezTo>
                    <a:cubicBezTo>
                      <a:pt x="186833" y="194604"/>
                      <a:pt x="188180" y="194268"/>
                      <a:pt x="189528" y="194604"/>
                    </a:cubicBezTo>
                    <a:cubicBezTo>
                      <a:pt x="197776" y="196791"/>
                      <a:pt x="205856" y="199147"/>
                      <a:pt x="214110" y="201340"/>
                    </a:cubicBezTo>
                    <a:cubicBezTo>
                      <a:pt x="217980" y="202349"/>
                      <a:pt x="222192" y="200666"/>
                      <a:pt x="224212" y="197133"/>
                    </a:cubicBezTo>
                    <a:cubicBezTo>
                      <a:pt x="228755" y="189388"/>
                      <a:pt x="233133" y="181642"/>
                      <a:pt x="237681" y="173897"/>
                    </a:cubicBezTo>
                    <a:cubicBezTo>
                      <a:pt x="239701" y="170364"/>
                      <a:pt x="239194" y="165815"/>
                      <a:pt x="236168" y="162956"/>
                    </a:cubicBezTo>
                    <a:cubicBezTo>
                      <a:pt x="230107" y="157065"/>
                      <a:pt x="224046" y="151004"/>
                      <a:pt x="217984" y="145109"/>
                    </a:cubicBezTo>
                    <a:cubicBezTo>
                      <a:pt x="216974" y="144098"/>
                      <a:pt x="216637" y="142751"/>
                      <a:pt x="216808" y="141404"/>
                    </a:cubicBezTo>
                    <a:cubicBezTo>
                      <a:pt x="216974" y="140565"/>
                      <a:pt x="217145" y="139720"/>
                      <a:pt x="217311" y="138881"/>
                    </a:cubicBezTo>
                    <a:cubicBezTo>
                      <a:pt x="217477" y="137534"/>
                      <a:pt x="218320" y="136358"/>
                      <a:pt x="219668" y="135850"/>
                    </a:cubicBezTo>
                    <a:cubicBezTo>
                      <a:pt x="227413" y="132317"/>
                      <a:pt x="235158" y="128779"/>
                      <a:pt x="242904" y="125246"/>
                    </a:cubicBezTo>
                    <a:cubicBezTo>
                      <a:pt x="246608" y="123563"/>
                      <a:pt x="248793" y="119522"/>
                      <a:pt x="247954" y="115481"/>
                    </a:cubicBezTo>
                    <a:cubicBezTo>
                      <a:pt x="246442" y="106725"/>
                      <a:pt x="244923" y="97804"/>
                      <a:pt x="243240" y="89049"/>
                    </a:cubicBezTo>
                    <a:cubicBezTo>
                      <a:pt x="242567" y="85008"/>
                      <a:pt x="239199" y="81977"/>
                      <a:pt x="235158" y="81640"/>
                    </a:cubicBezTo>
                    <a:cubicBezTo>
                      <a:pt x="226739" y="80967"/>
                      <a:pt x="218156" y="80293"/>
                      <a:pt x="209737" y="79619"/>
                    </a:cubicBezTo>
                    <a:cubicBezTo>
                      <a:pt x="208390" y="79453"/>
                      <a:pt x="207215" y="78781"/>
                      <a:pt x="206541" y="77599"/>
                    </a:cubicBezTo>
                    <a:cubicBezTo>
                      <a:pt x="206204" y="76926"/>
                      <a:pt x="205701" y="76086"/>
                      <a:pt x="205193" y="75414"/>
                    </a:cubicBezTo>
                    <a:cubicBezTo>
                      <a:pt x="204520" y="74237"/>
                      <a:pt x="204354" y="72890"/>
                      <a:pt x="205028" y="71544"/>
                    </a:cubicBezTo>
                    <a:cubicBezTo>
                      <a:pt x="208732" y="63799"/>
                      <a:pt x="212265" y="56224"/>
                      <a:pt x="215969" y="48479"/>
                    </a:cubicBezTo>
                    <a:cubicBezTo>
                      <a:pt x="217653" y="44775"/>
                      <a:pt x="216808" y="40397"/>
                      <a:pt x="213612" y="37703"/>
                    </a:cubicBezTo>
                    <a:cubicBezTo>
                      <a:pt x="206712" y="31978"/>
                      <a:pt x="199806" y="26254"/>
                      <a:pt x="193072" y="20364"/>
                    </a:cubicBezTo>
                    <a:cubicBezTo>
                      <a:pt x="189875" y="17669"/>
                      <a:pt x="185497" y="17504"/>
                      <a:pt x="182130" y="19862"/>
                    </a:cubicBezTo>
                    <a:cubicBezTo>
                      <a:pt x="175230" y="24741"/>
                      <a:pt x="168324" y="29793"/>
                      <a:pt x="161424" y="34678"/>
                    </a:cubicBezTo>
                    <a:cubicBezTo>
                      <a:pt x="160247" y="35518"/>
                      <a:pt x="158901" y="35688"/>
                      <a:pt x="157720" y="35181"/>
                    </a:cubicBezTo>
                    <a:cubicBezTo>
                      <a:pt x="156880" y="34844"/>
                      <a:pt x="156035" y="34507"/>
                      <a:pt x="155361" y="34342"/>
                    </a:cubicBezTo>
                    <a:cubicBezTo>
                      <a:pt x="154015" y="33839"/>
                      <a:pt x="153176" y="32828"/>
                      <a:pt x="152839" y="31482"/>
                    </a:cubicBezTo>
                    <a:cubicBezTo>
                      <a:pt x="150653" y="23234"/>
                      <a:pt x="148632" y="14982"/>
                      <a:pt x="146441" y="6735"/>
                    </a:cubicBezTo>
                    <a:cubicBezTo>
                      <a:pt x="145431" y="2865"/>
                      <a:pt x="141898" y="0"/>
                      <a:pt x="137685" y="0"/>
                    </a:cubicBezTo>
                    <a:lnTo>
                      <a:pt x="110747" y="0"/>
                    </a:lnTo>
                    <a:cubicBezTo>
                      <a:pt x="106707" y="0"/>
                      <a:pt x="103174" y="2694"/>
                      <a:pt x="101992" y="6735"/>
                    </a:cubicBezTo>
                    <a:cubicBezTo>
                      <a:pt x="99805" y="14981"/>
                      <a:pt x="97786" y="23234"/>
                      <a:pt x="95595" y="31482"/>
                    </a:cubicBezTo>
                    <a:cubicBezTo>
                      <a:pt x="95258" y="32828"/>
                      <a:pt x="94247" y="33839"/>
                      <a:pt x="93071" y="34342"/>
                    </a:cubicBezTo>
                    <a:cubicBezTo>
                      <a:pt x="92231" y="34678"/>
                      <a:pt x="91388" y="34844"/>
                      <a:pt x="90714" y="35181"/>
                    </a:cubicBezTo>
                    <a:cubicBezTo>
                      <a:pt x="89538" y="35684"/>
                      <a:pt x="88021" y="35518"/>
                      <a:pt x="87010" y="34678"/>
                    </a:cubicBezTo>
                    <a:cubicBezTo>
                      <a:pt x="80110" y="29798"/>
                      <a:pt x="73204" y="24746"/>
                      <a:pt x="66303" y="19862"/>
                    </a:cubicBezTo>
                    <a:cubicBezTo>
                      <a:pt x="62936" y="17504"/>
                      <a:pt x="58393" y="17675"/>
                      <a:pt x="55362" y="20364"/>
                    </a:cubicBezTo>
                    <a:cubicBezTo>
                      <a:pt x="48462" y="26088"/>
                      <a:pt x="41556" y="31812"/>
                      <a:pt x="34821" y="37703"/>
                    </a:cubicBezTo>
                    <a:cubicBezTo>
                      <a:pt x="31625" y="40397"/>
                      <a:pt x="30780" y="44775"/>
                      <a:pt x="32465" y="48479"/>
                    </a:cubicBezTo>
                    <a:cubicBezTo>
                      <a:pt x="36169" y="56223"/>
                      <a:pt x="39702" y="63799"/>
                      <a:pt x="43406" y="71544"/>
                    </a:cubicBezTo>
                    <a:cubicBezTo>
                      <a:pt x="43909" y="72719"/>
                      <a:pt x="43909" y="74237"/>
                      <a:pt x="43240" y="75414"/>
                    </a:cubicBezTo>
                    <a:cubicBezTo>
                      <a:pt x="42390" y="76253"/>
                      <a:pt x="41882" y="76926"/>
                      <a:pt x="41545" y="77765"/>
                    </a:cubicBezTo>
                    <a:close/>
                    <a:moveTo>
                      <a:pt x="124038" y="63959"/>
                    </a:moveTo>
                    <a:cubicBezTo>
                      <a:pt x="156531" y="63959"/>
                      <a:pt x="182797" y="90225"/>
                      <a:pt x="182797" y="122718"/>
                    </a:cubicBezTo>
                    <a:cubicBezTo>
                      <a:pt x="182797" y="155210"/>
                      <a:pt x="156531" y="181477"/>
                      <a:pt x="124038" y="181477"/>
                    </a:cubicBezTo>
                    <a:cubicBezTo>
                      <a:pt x="91546" y="181477"/>
                      <a:pt x="65280" y="155210"/>
                      <a:pt x="65280" y="122718"/>
                    </a:cubicBezTo>
                    <a:cubicBezTo>
                      <a:pt x="65280" y="90225"/>
                      <a:pt x="91546" y="63959"/>
                      <a:pt x="124038" y="63959"/>
                    </a:cubicBezTo>
                    <a:close/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7EADFAC-8647-44F4-AB90-DCF26D0785B3}"/>
                  </a:ext>
                </a:extLst>
              </p:cNvPr>
              <p:cNvSpPr/>
              <p:nvPr/>
            </p:nvSpPr>
            <p:spPr>
              <a:xfrm>
                <a:off x="5366039" y="2879905"/>
                <a:ext cx="195299" cy="192028"/>
              </a:xfrm>
              <a:custGeom>
                <a:avLst/>
                <a:gdLst>
                  <a:gd name="connsiteX0" fmla="*/ 169961 w 195299"/>
                  <a:gd name="connsiteY0" fmla="*/ 37881 h 192028"/>
                  <a:gd name="connsiteX1" fmla="*/ 168111 w 195299"/>
                  <a:gd name="connsiteY1" fmla="*/ 29462 h 192028"/>
                  <a:gd name="connsiteX2" fmla="*/ 151948 w 195299"/>
                  <a:gd name="connsiteY2" fmla="*/ 15827 h 192028"/>
                  <a:gd name="connsiteX3" fmla="*/ 143364 w 195299"/>
                  <a:gd name="connsiteY3" fmla="*/ 15490 h 192028"/>
                  <a:gd name="connsiteX4" fmla="*/ 127035 w 195299"/>
                  <a:gd name="connsiteY4" fmla="*/ 27106 h 192028"/>
                  <a:gd name="connsiteX5" fmla="*/ 124005 w 195299"/>
                  <a:gd name="connsiteY5" fmla="*/ 27442 h 192028"/>
                  <a:gd name="connsiteX6" fmla="*/ 122155 w 195299"/>
                  <a:gd name="connsiteY6" fmla="*/ 26769 h 192028"/>
                  <a:gd name="connsiteX7" fmla="*/ 120135 w 195299"/>
                  <a:gd name="connsiteY7" fmla="*/ 24583 h 192028"/>
                  <a:gd name="connsiteX8" fmla="*/ 115083 w 195299"/>
                  <a:gd name="connsiteY8" fmla="*/ 5223 h 192028"/>
                  <a:gd name="connsiteX9" fmla="*/ 108183 w 195299"/>
                  <a:gd name="connsiteY9" fmla="*/ 5 h 192028"/>
                  <a:gd name="connsiteX10" fmla="*/ 87123 w 195299"/>
                  <a:gd name="connsiteY10" fmla="*/ 0 h 192028"/>
                  <a:gd name="connsiteX11" fmla="*/ 80223 w 195299"/>
                  <a:gd name="connsiteY11" fmla="*/ 5217 h 192028"/>
                  <a:gd name="connsiteX12" fmla="*/ 75171 w 195299"/>
                  <a:gd name="connsiteY12" fmla="*/ 24578 h 192028"/>
                  <a:gd name="connsiteX13" fmla="*/ 73152 w 195299"/>
                  <a:gd name="connsiteY13" fmla="*/ 26763 h 192028"/>
                  <a:gd name="connsiteX14" fmla="*/ 71301 w 195299"/>
                  <a:gd name="connsiteY14" fmla="*/ 27437 h 192028"/>
                  <a:gd name="connsiteX15" fmla="*/ 68271 w 195299"/>
                  <a:gd name="connsiteY15" fmla="*/ 27100 h 192028"/>
                  <a:gd name="connsiteX16" fmla="*/ 51942 w 195299"/>
                  <a:gd name="connsiteY16" fmla="*/ 15486 h 192028"/>
                  <a:gd name="connsiteX17" fmla="*/ 43359 w 195299"/>
                  <a:gd name="connsiteY17" fmla="*/ 15822 h 192028"/>
                  <a:gd name="connsiteX18" fmla="*/ 27195 w 195299"/>
                  <a:gd name="connsiteY18" fmla="*/ 29457 h 192028"/>
                  <a:gd name="connsiteX19" fmla="*/ 25345 w 195299"/>
                  <a:gd name="connsiteY19" fmla="*/ 37876 h 192028"/>
                  <a:gd name="connsiteX20" fmla="*/ 33930 w 195299"/>
                  <a:gd name="connsiteY20" fmla="*/ 56060 h 192028"/>
                  <a:gd name="connsiteX21" fmla="*/ 33764 w 195299"/>
                  <a:gd name="connsiteY21" fmla="*/ 59090 h 192028"/>
                  <a:gd name="connsiteX22" fmla="*/ 32753 w 195299"/>
                  <a:gd name="connsiteY22" fmla="*/ 60775 h 192028"/>
                  <a:gd name="connsiteX23" fmla="*/ 30231 w 195299"/>
                  <a:gd name="connsiteY23" fmla="*/ 62458 h 192028"/>
                  <a:gd name="connsiteX24" fmla="*/ 10198 w 195299"/>
                  <a:gd name="connsiteY24" fmla="*/ 63971 h 192028"/>
                  <a:gd name="connsiteX25" fmla="*/ 3799 w 195299"/>
                  <a:gd name="connsiteY25" fmla="*/ 69695 h 192028"/>
                  <a:gd name="connsiteX26" fmla="*/ 95 w 195299"/>
                  <a:gd name="connsiteY26" fmla="*/ 90573 h 192028"/>
                  <a:gd name="connsiteX27" fmla="*/ 4136 w 195299"/>
                  <a:gd name="connsiteY27" fmla="*/ 98147 h 192028"/>
                  <a:gd name="connsiteX28" fmla="*/ 22320 w 195299"/>
                  <a:gd name="connsiteY28" fmla="*/ 106395 h 192028"/>
                  <a:gd name="connsiteX29" fmla="*/ 24170 w 195299"/>
                  <a:gd name="connsiteY29" fmla="*/ 108751 h 192028"/>
                  <a:gd name="connsiteX30" fmla="*/ 24507 w 195299"/>
                  <a:gd name="connsiteY30" fmla="*/ 110772 h 192028"/>
                  <a:gd name="connsiteX31" fmla="*/ 23667 w 195299"/>
                  <a:gd name="connsiteY31" fmla="*/ 113632 h 192028"/>
                  <a:gd name="connsiteX32" fmla="*/ 9358 w 195299"/>
                  <a:gd name="connsiteY32" fmla="*/ 127775 h 192028"/>
                  <a:gd name="connsiteX33" fmla="*/ 8182 w 195299"/>
                  <a:gd name="connsiteY33" fmla="*/ 136359 h 192028"/>
                  <a:gd name="connsiteX34" fmla="*/ 18787 w 195299"/>
                  <a:gd name="connsiteY34" fmla="*/ 154709 h 192028"/>
                  <a:gd name="connsiteX35" fmla="*/ 26698 w 195299"/>
                  <a:gd name="connsiteY35" fmla="*/ 157905 h 192028"/>
                  <a:gd name="connsiteX36" fmla="*/ 47741 w 195299"/>
                  <a:gd name="connsiteY36" fmla="*/ 152014 h 192028"/>
                  <a:gd name="connsiteX37" fmla="*/ 50600 w 195299"/>
                  <a:gd name="connsiteY37" fmla="*/ 154372 h 192028"/>
                  <a:gd name="connsiteX38" fmla="*/ 51777 w 195299"/>
                  <a:gd name="connsiteY38" fmla="*/ 157066 h 192028"/>
                  <a:gd name="connsiteX39" fmla="*/ 49928 w 195299"/>
                  <a:gd name="connsiteY39" fmla="*/ 177099 h 192028"/>
                  <a:gd name="connsiteX40" fmla="*/ 54470 w 195299"/>
                  <a:gd name="connsiteY40" fmla="*/ 184336 h 192028"/>
                  <a:gd name="connsiteX41" fmla="*/ 74337 w 195299"/>
                  <a:gd name="connsiteY41" fmla="*/ 191573 h 192028"/>
                  <a:gd name="connsiteX42" fmla="*/ 82585 w 195299"/>
                  <a:gd name="connsiteY42" fmla="*/ 188880 h 192028"/>
                  <a:gd name="connsiteX43" fmla="*/ 94034 w 195299"/>
                  <a:gd name="connsiteY43" fmla="*/ 172380 h 192028"/>
                  <a:gd name="connsiteX44" fmla="*/ 96728 w 195299"/>
                  <a:gd name="connsiteY44" fmla="*/ 171032 h 192028"/>
                  <a:gd name="connsiteX45" fmla="*/ 97739 w 195299"/>
                  <a:gd name="connsiteY45" fmla="*/ 171032 h 192028"/>
                  <a:gd name="connsiteX46" fmla="*/ 98749 w 195299"/>
                  <a:gd name="connsiteY46" fmla="*/ 171032 h 192028"/>
                  <a:gd name="connsiteX47" fmla="*/ 101443 w 195299"/>
                  <a:gd name="connsiteY47" fmla="*/ 172380 h 192028"/>
                  <a:gd name="connsiteX48" fmla="*/ 112892 w 195299"/>
                  <a:gd name="connsiteY48" fmla="*/ 188880 h 192028"/>
                  <a:gd name="connsiteX49" fmla="*/ 121139 w 195299"/>
                  <a:gd name="connsiteY49" fmla="*/ 191573 h 192028"/>
                  <a:gd name="connsiteX50" fmla="*/ 141006 w 195299"/>
                  <a:gd name="connsiteY50" fmla="*/ 184336 h 192028"/>
                  <a:gd name="connsiteX51" fmla="*/ 145549 w 195299"/>
                  <a:gd name="connsiteY51" fmla="*/ 177099 h 192028"/>
                  <a:gd name="connsiteX52" fmla="*/ 143701 w 195299"/>
                  <a:gd name="connsiteY52" fmla="*/ 157066 h 192028"/>
                  <a:gd name="connsiteX53" fmla="*/ 144876 w 195299"/>
                  <a:gd name="connsiteY53" fmla="*/ 154372 h 192028"/>
                  <a:gd name="connsiteX54" fmla="*/ 146389 w 195299"/>
                  <a:gd name="connsiteY54" fmla="*/ 153025 h 192028"/>
                  <a:gd name="connsiteX55" fmla="*/ 149248 w 195299"/>
                  <a:gd name="connsiteY55" fmla="*/ 152351 h 192028"/>
                  <a:gd name="connsiteX56" fmla="*/ 168609 w 195299"/>
                  <a:gd name="connsiteY56" fmla="*/ 157740 h 192028"/>
                  <a:gd name="connsiteX57" fmla="*/ 176520 w 195299"/>
                  <a:gd name="connsiteY57" fmla="*/ 154543 h 192028"/>
                  <a:gd name="connsiteX58" fmla="*/ 187124 w 195299"/>
                  <a:gd name="connsiteY58" fmla="*/ 136194 h 192028"/>
                  <a:gd name="connsiteX59" fmla="*/ 185948 w 195299"/>
                  <a:gd name="connsiteY59" fmla="*/ 127609 h 192028"/>
                  <a:gd name="connsiteX60" fmla="*/ 171639 w 195299"/>
                  <a:gd name="connsiteY60" fmla="*/ 113466 h 192028"/>
                  <a:gd name="connsiteX61" fmla="*/ 170801 w 195299"/>
                  <a:gd name="connsiteY61" fmla="*/ 110607 h 192028"/>
                  <a:gd name="connsiteX62" fmla="*/ 171138 w 195299"/>
                  <a:gd name="connsiteY62" fmla="*/ 108585 h 192028"/>
                  <a:gd name="connsiteX63" fmla="*/ 172986 w 195299"/>
                  <a:gd name="connsiteY63" fmla="*/ 106229 h 192028"/>
                  <a:gd name="connsiteX64" fmla="*/ 191170 w 195299"/>
                  <a:gd name="connsiteY64" fmla="*/ 97981 h 192028"/>
                  <a:gd name="connsiteX65" fmla="*/ 195212 w 195299"/>
                  <a:gd name="connsiteY65" fmla="*/ 90407 h 192028"/>
                  <a:gd name="connsiteX66" fmla="*/ 191507 w 195299"/>
                  <a:gd name="connsiteY66" fmla="*/ 69529 h 192028"/>
                  <a:gd name="connsiteX67" fmla="*/ 185110 w 195299"/>
                  <a:gd name="connsiteY67" fmla="*/ 63805 h 192028"/>
                  <a:gd name="connsiteX68" fmla="*/ 165077 w 195299"/>
                  <a:gd name="connsiteY68" fmla="*/ 62292 h 192028"/>
                  <a:gd name="connsiteX69" fmla="*/ 162553 w 195299"/>
                  <a:gd name="connsiteY69" fmla="*/ 60609 h 192028"/>
                  <a:gd name="connsiteX70" fmla="*/ 161544 w 195299"/>
                  <a:gd name="connsiteY70" fmla="*/ 58925 h 192028"/>
                  <a:gd name="connsiteX71" fmla="*/ 161378 w 195299"/>
                  <a:gd name="connsiteY71" fmla="*/ 55894 h 192028"/>
                  <a:gd name="connsiteX72" fmla="*/ 169961 w 195299"/>
                  <a:gd name="connsiteY72" fmla="*/ 37881 h 192028"/>
                  <a:gd name="connsiteX73" fmla="*/ 97562 w 195299"/>
                  <a:gd name="connsiteY73" fmla="*/ 142265 h 192028"/>
                  <a:gd name="connsiteX74" fmla="*/ 51429 w 195299"/>
                  <a:gd name="connsiteY74" fmla="*/ 96132 h 192028"/>
                  <a:gd name="connsiteX75" fmla="*/ 97562 w 195299"/>
                  <a:gd name="connsiteY75" fmla="*/ 49999 h 192028"/>
                  <a:gd name="connsiteX76" fmla="*/ 143695 w 195299"/>
                  <a:gd name="connsiteY76" fmla="*/ 96132 h 192028"/>
                  <a:gd name="connsiteX77" fmla="*/ 97562 w 195299"/>
                  <a:gd name="connsiteY77" fmla="*/ 142265 h 19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95299" h="192028">
                    <a:moveTo>
                      <a:pt x="169961" y="37881"/>
                    </a:moveTo>
                    <a:cubicBezTo>
                      <a:pt x="171309" y="35022"/>
                      <a:pt x="170635" y="31483"/>
                      <a:pt x="168111" y="29462"/>
                    </a:cubicBezTo>
                    <a:cubicBezTo>
                      <a:pt x="162724" y="24919"/>
                      <a:pt x="157336" y="20371"/>
                      <a:pt x="151948" y="15827"/>
                    </a:cubicBezTo>
                    <a:cubicBezTo>
                      <a:pt x="149425" y="13807"/>
                      <a:pt x="145886" y="13642"/>
                      <a:pt x="143364" y="15490"/>
                    </a:cubicBezTo>
                    <a:cubicBezTo>
                      <a:pt x="137975" y="19360"/>
                      <a:pt x="132422" y="23236"/>
                      <a:pt x="127035" y="27106"/>
                    </a:cubicBezTo>
                    <a:cubicBezTo>
                      <a:pt x="126196" y="27779"/>
                      <a:pt x="125014" y="27779"/>
                      <a:pt x="124005" y="27442"/>
                    </a:cubicBezTo>
                    <a:cubicBezTo>
                      <a:pt x="123331" y="27277"/>
                      <a:pt x="122657" y="26940"/>
                      <a:pt x="122155" y="26769"/>
                    </a:cubicBezTo>
                    <a:cubicBezTo>
                      <a:pt x="121144" y="26432"/>
                      <a:pt x="120472" y="25594"/>
                      <a:pt x="120135" y="24583"/>
                    </a:cubicBezTo>
                    <a:cubicBezTo>
                      <a:pt x="118450" y="18185"/>
                      <a:pt x="116767" y="11622"/>
                      <a:pt x="115083" y="5223"/>
                    </a:cubicBezTo>
                    <a:cubicBezTo>
                      <a:pt x="114244" y="2192"/>
                      <a:pt x="111550" y="5"/>
                      <a:pt x="108183" y="5"/>
                    </a:cubicBezTo>
                    <a:lnTo>
                      <a:pt x="87123" y="0"/>
                    </a:lnTo>
                    <a:cubicBezTo>
                      <a:pt x="83927" y="0"/>
                      <a:pt x="81063" y="2187"/>
                      <a:pt x="80223" y="5217"/>
                    </a:cubicBezTo>
                    <a:cubicBezTo>
                      <a:pt x="78539" y="11615"/>
                      <a:pt x="76856" y="18179"/>
                      <a:pt x="75171" y="24578"/>
                    </a:cubicBezTo>
                    <a:cubicBezTo>
                      <a:pt x="74835" y="25588"/>
                      <a:pt x="74162" y="26428"/>
                      <a:pt x="73152" y="26763"/>
                    </a:cubicBezTo>
                    <a:cubicBezTo>
                      <a:pt x="72478" y="26929"/>
                      <a:pt x="71804" y="27266"/>
                      <a:pt x="71301" y="27437"/>
                    </a:cubicBezTo>
                    <a:cubicBezTo>
                      <a:pt x="70292" y="27774"/>
                      <a:pt x="69282" y="27603"/>
                      <a:pt x="68271" y="27100"/>
                    </a:cubicBezTo>
                    <a:cubicBezTo>
                      <a:pt x="62884" y="23230"/>
                      <a:pt x="57330" y="19355"/>
                      <a:pt x="51942" y="15486"/>
                    </a:cubicBezTo>
                    <a:cubicBezTo>
                      <a:pt x="49249" y="13636"/>
                      <a:pt x="45716" y="13802"/>
                      <a:pt x="43359" y="15822"/>
                    </a:cubicBezTo>
                    <a:cubicBezTo>
                      <a:pt x="37971" y="20366"/>
                      <a:pt x="32583" y="24915"/>
                      <a:pt x="27195" y="29457"/>
                    </a:cubicBezTo>
                    <a:cubicBezTo>
                      <a:pt x="24671" y="31478"/>
                      <a:pt x="23997" y="35011"/>
                      <a:pt x="25345" y="37876"/>
                    </a:cubicBezTo>
                    <a:cubicBezTo>
                      <a:pt x="28204" y="43937"/>
                      <a:pt x="31069" y="49999"/>
                      <a:pt x="33930" y="56060"/>
                    </a:cubicBezTo>
                    <a:cubicBezTo>
                      <a:pt x="34432" y="57070"/>
                      <a:pt x="34266" y="58081"/>
                      <a:pt x="33764" y="59090"/>
                    </a:cubicBezTo>
                    <a:cubicBezTo>
                      <a:pt x="33427" y="59593"/>
                      <a:pt x="33090" y="60267"/>
                      <a:pt x="32753" y="60775"/>
                    </a:cubicBezTo>
                    <a:cubicBezTo>
                      <a:pt x="32251" y="61614"/>
                      <a:pt x="31240" y="62287"/>
                      <a:pt x="30231" y="62458"/>
                    </a:cubicBezTo>
                    <a:cubicBezTo>
                      <a:pt x="23496" y="62960"/>
                      <a:pt x="16932" y="63468"/>
                      <a:pt x="10198" y="63971"/>
                    </a:cubicBezTo>
                    <a:cubicBezTo>
                      <a:pt x="7000" y="64308"/>
                      <a:pt x="4307" y="66664"/>
                      <a:pt x="3799" y="69695"/>
                    </a:cubicBezTo>
                    <a:cubicBezTo>
                      <a:pt x="2624" y="76595"/>
                      <a:pt x="1276" y="83501"/>
                      <a:pt x="95" y="90573"/>
                    </a:cubicBezTo>
                    <a:cubicBezTo>
                      <a:pt x="-407" y="93769"/>
                      <a:pt x="1105" y="96801"/>
                      <a:pt x="4136" y="98147"/>
                    </a:cubicBezTo>
                    <a:cubicBezTo>
                      <a:pt x="10198" y="100840"/>
                      <a:pt x="16259" y="103701"/>
                      <a:pt x="22320" y="106395"/>
                    </a:cubicBezTo>
                    <a:cubicBezTo>
                      <a:pt x="23330" y="106897"/>
                      <a:pt x="24004" y="107742"/>
                      <a:pt x="24170" y="108751"/>
                    </a:cubicBezTo>
                    <a:cubicBezTo>
                      <a:pt x="24336" y="109425"/>
                      <a:pt x="24336" y="110099"/>
                      <a:pt x="24507" y="110772"/>
                    </a:cubicBezTo>
                    <a:cubicBezTo>
                      <a:pt x="24672" y="111782"/>
                      <a:pt x="24341" y="112958"/>
                      <a:pt x="23667" y="113632"/>
                    </a:cubicBezTo>
                    <a:cubicBezTo>
                      <a:pt x="18952" y="118346"/>
                      <a:pt x="14073" y="123060"/>
                      <a:pt x="9358" y="127775"/>
                    </a:cubicBezTo>
                    <a:cubicBezTo>
                      <a:pt x="7002" y="129960"/>
                      <a:pt x="6665" y="133499"/>
                      <a:pt x="8182" y="136359"/>
                    </a:cubicBezTo>
                    <a:cubicBezTo>
                      <a:pt x="11715" y="142420"/>
                      <a:pt x="15253" y="148647"/>
                      <a:pt x="18787" y="154709"/>
                    </a:cubicBezTo>
                    <a:cubicBezTo>
                      <a:pt x="20471" y="157569"/>
                      <a:pt x="23667" y="158916"/>
                      <a:pt x="26698" y="157905"/>
                    </a:cubicBezTo>
                    <a:cubicBezTo>
                      <a:pt x="33769" y="155884"/>
                      <a:pt x="40669" y="154036"/>
                      <a:pt x="47741" y="152014"/>
                    </a:cubicBezTo>
                    <a:cubicBezTo>
                      <a:pt x="48580" y="152854"/>
                      <a:pt x="49591" y="153699"/>
                      <a:pt x="50600" y="154372"/>
                    </a:cubicBezTo>
                    <a:cubicBezTo>
                      <a:pt x="51440" y="155045"/>
                      <a:pt x="51777" y="156055"/>
                      <a:pt x="51777" y="157066"/>
                    </a:cubicBezTo>
                    <a:cubicBezTo>
                      <a:pt x="51103" y="163801"/>
                      <a:pt x="50429" y="170364"/>
                      <a:pt x="49928" y="177099"/>
                    </a:cubicBezTo>
                    <a:cubicBezTo>
                      <a:pt x="49591" y="180295"/>
                      <a:pt x="51440" y="183325"/>
                      <a:pt x="54470" y="184336"/>
                    </a:cubicBezTo>
                    <a:cubicBezTo>
                      <a:pt x="61035" y="186693"/>
                      <a:pt x="67768" y="189216"/>
                      <a:pt x="74337" y="191573"/>
                    </a:cubicBezTo>
                    <a:cubicBezTo>
                      <a:pt x="77369" y="192750"/>
                      <a:pt x="80736" y="191573"/>
                      <a:pt x="82585" y="188880"/>
                    </a:cubicBezTo>
                    <a:cubicBezTo>
                      <a:pt x="86455" y="183325"/>
                      <a:pt x="90159" y="177938"/>
                      <a:pt x="94034" y="172380"/>
                    </a:cubicBezTo>
                    <a:cubicBezTo>
                      <a:pt x="94708" y="171540"/>
                      <a:pt x="95717" y="171032"/>
                      <a:pt x="96728" y="171032"/>
                    </a:cubicBezTo>
                    <a:lnTo>
                      <a:pt x="97739" y="171032"/>
                    </a:lnTo>
                    <a:lnTo>
                      <a:pt x="98749" y="171032"/>
                    </a:lnTo>
                    <a:cubicBezTo>
                      <a:pt x="99758" y="171032"/>
                      <a:pt x="100769" y="171535"/>
                      <a:pt x="101443" y="172380"/>
                    </a:cubicBezTo>
                    <a:cubicBezTo>
                      <a:pt x="105313" y="177933"/>
                      <a:pt x="109017" y="183321"/>
                      <a:pt x="112892" y="188880"/>
                    </a:cubicBezTo>
                    <a:cubicBezTo>
                      <a:pt x="114741" y="191573"/>
                      <a:pt x="118108" y="192584"/>
                      <a:pt x="121139" y="191573"/>
                    </a:cubicBezTo>
                    <a:cubicBezTo>
                      <a:pt x="127704" y="189216"/>
                      <a:pt x="134437" y="186693"/>
                      <a:pt x="141006" y="184336"/>
                    </a:cubicBezTo>
                    <a:cubicBezTo>
                      <a:pt x="144037" y="183160"/>
                      <a:pt x="145886" y="180295"/>
                      <a:pt x="145549" y="177099"/>
                    </a:cubicBezTo>
                    <a:cubicBezTo>
                      <a:pt x="144876" y="170364"/>
                      <a:pt x="144203" y="163801"/>
                      <a:pt x="143701" y="157066"/>
                    </a:cubicBezTo>
                    <a:cubicBezTo>
                      <a:pt x="143535" y="156055"/>
                      <a:pt x="144037" y="155045"/>
                      <a:pt x="144876" y="154372"/>
                    </a:cubicBezTo>
                    <a:cubicBezTo>
                      <a:pt x="145378" y="153870"/>
                      <a:pt x="145886" y="153533"/>
                      <a:pt x="146389" y="153025"/>
                    </a:cubicBezTo>
                    <a:cubicBezTo>
                      <a:pt x="147228" y="152351"/>
                      <a:pt x="148239" y="152014"/>
                      <a:pt x="149248" y="152351"/>
                    </a:cubicBezTo>
                    <a:cubicBezTo>
                      <a:pt x="155646" y="154201"/>
                      <a:pt x="162211" y="155884"/>
                      <a:pt x="168609" y="157740"/>
                    </a:cubicBezTo>
                    <a:cubicBezTo>
                      <a:pt x="171639" y="158579"/>
                      <a:pt x="175006" y="157237"/>
                      <a:pt x="176520" y="154543"/>
                    </a:cubicBezTo>
                    <a:cubicBezTo>
                      <a:pt x="180053" y="148481"/>
                      <a:pt x="183591" y="142255"/>
                      <a:pt x="187124" y="136194"/>
                    </a:cubicBezTo>
                    <a:cubicBezTo>
                      <a:pt x="188808" y="133333"/>
                      <a:pt x="188301" y="129966"/>
                      <a:pt x="185948" y="127609"/>
                    </a:cubicBezTo>
                    <a:cubicBezTo>
                      <a:pt x="181234" y="122894"/>
                      <a:pt x="176354" y="118179"/>
                      <a:pt x="171639" y="113466"/>
                    </a:cubicBezTo>
                    <a:cubicBezTo>
                      <a:pt x="170967" y="112792"/>
                      <a:pt x="170630" y="111616"/>
                      <a:pt x="170801" y="110607"/>
                    </a:cubicBezTo>
                    <a:cubicBezTo>
                      <a:pt x="170967" y="109933"/>
                      <a:pt x="170967" y="109259"/>
                      <a:pt x="171138" y="108585"/>
                    </a:cubicBezTo>
                    <a:cubicBezTo>
                      <a:pt x="171303" y="107576"/>
                      <a:pt x="171976" y="106566"/>
                      <a:pt x="172986" y="106229"/>
                    </a:cubicBezTo>
                    <a:cubicBezTo>
                      <a:pt x="179047" y="103535"/>
                      <a:pt x="185110" y="100674"/>
                      <a:pt x="191170" y="97981"/>
                    </a:cubicBezTo>
                    <a:cubicBezTo>
                      <a:pt x="194030" y="96635"/>
                      <a:pt x="195714" y="93437"/>
                      <a:pt x="195212" y="90407"/>
                    </a:cubicBezTo>
                    <a:cubicBezTo>
                      <a:pt x="194035" y="83506"/>
                      <a:pt x="192689" y="76601"/>
                      <a:pt x="191507" y="69529"/>
                    </a:cubicBezTo>
                    <a:cubicBezTo>
                      <a:pt x="191005" y="66333"/>
                      <a:pt x="188311" y="63976"/>
                      <a:pt x="185110" y="63805"/>
                    </a:cubicBezTo>
                    <a:cubicBezTo>
                      <a:pt x="178375" y="63303"/>
                      <a:pt x="171811" y="62795"/>
                      <a:pt x="165077" y="62292"/>
                    </a:cubicBezTo>
                    <a:cubicBezTo>
                      <a:pt x="164066" y="62292"/>
                      <a:pt x="163056" y="61618"/>
                      <a:pt x="162553" y="60609"/>
                    </a:cubicBezTo>
                    <a:cubicBezTo>
                      <a:pt x="162216" y="60106"/>
                      <a:pt x="161881" y="59433"/>
                      <a:pt x="161544" y="58925"/>
                    </a:cubicBezTo>
                    <a:cubicBezTo>
                      <a:pt x="161041" y="58085"/>
                      <a:pt x="160870" y="56905"/>
                      <a:pt x="161378" y="55894"/>
                    </a:cubicBezTo>
                    <a:cubicBezTo>
                      <a:pt x="164237" y="50004"/>
                      <a:pt x="167097" y="43942"/>
                      <a:pt x="169961" y="37881"/>
                    </a:cubicBezTo>
                    <a:close/>
                    <a:moveTo>
                      <a:pt x="97562" y="142265"/>
                    </a:moveTo>
                    <a:cubicBezTo>
                      <a:pt x="71970" y="142265"/>
                      <a:pt x="51429" y="121559"/>
                      <a:pt x="51429" y="96132"/>
                    </a:cubicBezTo>
                    <a:cubicBezTo>
                      <a:pt x="51429" y="70711"/>
                      <a:pt x="72136" y="49999"/>
                      <a:pt x="97562" y="49999"/>
                    </a:cubicBezTo>
                    <a:cubicBezTo>
                      <a:pt x="122984" y="49999"/>
                      <a:pt x="143695" y="70706"/>
                      <a:pt x="143695" y="96132"/>
                    </a:cubicBezTo>
                    <a:cubicBezTo>
                      <a:pt x="143695" y="121559"/>
                      <a:pt x="123155" y="142265"/>
                      <a:pt x="97562" y="142265"/>
                    </a:cubicBezTo>
                    <a:close/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BF4628C-46D1-4E25-804E-E23AB1F877C9}"/>
                  </a:ext>
                </a:extLst>
              </p:cNvPr>
              <p:cNvSpPr/>
              <p:nvPr/>
            </p:nvSpPr>
            <p:spPr>
              <a:xfrm>
                <a:off x="5170651" y="2354297"/>
                <a:ext cx="802079" cy="913502"/>
              </a:xfrm>
              <a:custGeom>
                <a:avLst/>
                <a:gdLst>
                  <a:gd name="connsiteX0" fmla="*/ 802079 w 802079"/>
                  <a:gd name="connsiteY0" fmla="*/ 159266 h 913502"/>
                  <a:gd name="connsiteX1" fmla="*/ 763188 w 802079"/>
                  <a:gd name="connsiteY1" fmla="*/ 90913 h 913502"/>
                  <a:gd name="connsiteX2" fmla="*/ 674460 w 802079"/>
                  <a:gd name="connsiteY2" fmla="*/ 41921 h 913502"/>
                  <a:gd name="connsiteX3" fmla="*/ 401376 w 802079"/>
                  <a:gd name="connsiteY3" fmla="*/ 0 h 913502"/>
                  <a:gd name="connsiteX4" fmla="*/ 128291 w 802079"/>
                  <a:gd name="connsiteY4" fmla="*/ 41921 h 913502"/>
                  <a:gd name="connsiteX5" fmla="*/ 39563 w 802079"/>
                  <a:gd name="connsiteY5" fmla="*/ 90913 h 913502"/>
                  <a:gd name="connsiteX6" fmla="*/ 672 w 802079"/>
                  <a:gd name="connsiteY6" fmla="*/ 159266 h 913502"/>
                  <a:gd name="connsiteX7" fmla="*/ 336 w 802079"/>
                  <a:gd name="connsiteY7" fmla="*/ 159266 h 913502"/>
                  <a:gd name="connsiteX8" fmla="*/ 336 w 802079"/>
                  <a:gd name="connsiteY8" fmla="*/ 376954 h 913502"/>
                  <a:gd name="connsiteX9" fmla="*/ 14644 w 802079"/>
                  <a:gd name="connsiteY9" fmla="*/ 376954 h 913502"/>
                  <a:gd name="connsiteX10" fmla="*/ 46126 w 802079"/>
                  <a:gd name="connsiteY10" fmla="*/ 401365 h 913502"/>
                  <a:gd name="connsiteX11" fmla="*/ 51344 w 802079"/>
                  <a:gd name="connsiteY11" fmla="*/ 421232 h 913502"/>
                  <a:gd name="connsiteX12" fmla="*/ 68009 w 802079"/>
                  <a:gd name="connsiteY12" fmla="*/ 409280 h 913502"/>
                  <a:gd name="connsiteX13" fmla="*/ 93094 w 802079"/>
                  <a:gd name="connsiteY13" fmla="*/ 403893 h 913502"/>
                  <a:gd name="connsiteX14" fmla="*/ 58581 w 802079"/>
                  <a:gd name="connsiteY14" fmla="*/ 360961 h 913502"/>
                  <a:gd name="connsiteX15" fmla="*/ 58747 w 802079"/>
                  <a:gd name="connsiteY15" fmla="*/ 358102 h 913502"/>
                  <a:gd name="connsiteX16" fmla="*/ 58581 w 802079"/>
                  <a:gd name="connsiteY16" fmla="*/ 358102 h 913502"/>
                  <a:gd name="connsiteX17" fmla="*/ 58581 w 802079"/>
                  <a:gd name="connsiteY17" fmla="*/ 256075 h 913502"/>
                  <a:gd name="connsiteX18" fmla="*/ 128281 w 802079"/>
                  <a:gd name="connsiteY18" fmla="*/ 290421 h 913502"/>
                  <a:gd name="connsiteX19" fmla="*/ 140403 w 802079"/>
                  <a:gd name="connsiteY19" fmla="*/ 294627 h 913502"/>
                  <a:gd name="connsiteX20" fmla="*/ 150170 w 802079"/>
                  <a:gd name="connsiteY20" fmla="*/ 267858 h 913502"/>
                  <a:gd name="connsiteX21" fmla="*/ 170710 w 802079"/>
                  <a:gd name="connsiteY21" fmla="*/ 250519 h 913502"/>
                  <a:gd name="connsiteX22" fmla="*/ 178957 w 802079"/>
                  <a:gd name="connsiteY22" fmla="*/ 245640 h 913502"/>
                  <a:gd name="connsiteX23" fmla="*/ 148314 w 802079"/>
                  <a:gd name="connsiteY23" fmla="*/ 235538 h 913502"/>
                  <a:gd name="connsiteX24" fmla="*/ 58592 w 802079"/>
                  <a:gd name="connsiteY24" fmla="*/ 166335 h 913502"/>
                  <a:gd name="connsiteX25" fmla="*/ 148496 w 802079"/>
                  <a:gd name="connsiteY25" fmla="*/ 96801 h 913502"/>
                  <a:gd name="connsiteX26" fmla="*/ 401382 w 802079"/>
                  <a:gd name="connsiteY26" fmla="*/ 58413 h 913502"/>
                  <a:gd name="connsiteX27" fmla="*/ 654269 w 802079"/>
                  <a:gd name="connsiteY27" fmla="*/ 96801 h 913502"/>
                  <a:gd name="connsiteX28" fmla="*/ 744173 w 802079"/>
                  <a:gd name="connsiteY28" fmla="*/ 166335 h 913502"/>
                  <a:gd name="connsiteX29" fmla="*/ 654269 w 802079"/>
                  <a:gd name="connsiteY29" fmla="*/ 235869 h 913502"/>
                  <a:gd name="connsiteX30" fmla="*/ 401382 w 802079"/>
                  <a:gd name="connsiteY30" fmla="*/ 274257 h 913502"/>
                  <a:gd name="connsiteX31" fmla="*/ 359627 w 802079"/>
                  <a:gd name="connsiteY31" fmla="*/ 273418 h 913502"/>
                  <a:gd name="connsiteX32" fmla="*/ 362151 w 802079"/>
                  <a:gd name="connsiteY32" fmla="*/ 302377 h 913502"/>
                  <a:gd name="connsiteX33" fmla="*/ 359793 w 802079"/>
                  <a:gd name="connsiteY33" fmla="*/ 307091 h 913502"/>
                  <a:gd name="connsiteX34" fmla="*/ 365010 w 802079"/>
                  <a:gd name="connsiteY34" fmla="*/ 307428 h 913502"/>
                  <a:gd name="connsiteX35" fmla="*/ 390939 w 802079"/>
                  <a:gd name="connsiteY35" fmla="*/ 330999 h 913502"/>
                  <a:gd name="connsiteX36" fmla="*/ 391276 w 802079"/>
                  <a:gd name="connsiteY36" fmla="*/ 332512 h 913502"/>
                  <a:gd name="connsiteX37" fmla="*/ 401378 w 802079"/>
                  <a:gd name="connsiteY37" fmla="*/ 332512 h 913502"/>
                  <a:gd name="connsiteX38" fmla="*/ 674463 w 802079"/>
                  <a:gd name="connsiteY38" fmla="*/ 290591 h 913502"/>
                  <a:gd name="connsiteX39" fmla="*/ 744163 w 802079"/>
                  <a:gd name="connsiteY39" fmla="*/ 256244 h 913502"/>
                  <a:gd name="connsiteX40" fmla="*/ 744169 w 802079"/>
                  <a:gd name="connsiteY40" fmla="*/ 357421 h 913502"/>
                  <a:gd name="connsiteX41" fmla="*/ 743832 w 802079"/>
                  <a:gd name="connsiteY41" fmla="*/ 357421 h 913502"/>
                  <a:gd name="connsiteX42" fmla="*/ 744169 w 802079"/>
                  <a:gd name="connsiteY42" fmla="*/ 360955 h 913502"/>
                  <a:gd name="connsiteX43" fmla="*/ 654264 w 802079"/>
                  <a:gd name="connsiteY43" fmla="*/ 430489 h 913502"/>
                  <a:gd name="connsiteX44" fmla="*/ 401378 w 802079"/>
                  <a:gd name="connsiteY44" fmla="*/ 468877 h 913502"/>
                  <a:gd name="connsiteX45" fmla="*/ 332352 w 802079"/>
                  <a:gd name="connsiteY45" fmla="*/ 466520 h 913502"/>
                  <a:gd name="connsiteX46" fmla="*/ 332689 w 802079"/>
                  <a:gd name="connsiteY46" fmla="*/ 469380 h 913502"/>
                  <a:gd name="connsiteX47" fmla="*/ 314002 w 802079"/>
                  <a:gd name="connsiteY47" fmla="*/ 498842 h 913502"/>
                  <a:gd name="connsiteX48" fmla="*/ 294135 w 802079"/>
                  <a:gd name="connsiteY48" fmla="*/ 506079 h 913502"/>
                  <a:gd name="connsiteX49" fmla="*/ 303563 w 802079"/>
                  <a:gd name="connsiteY49" fmla="*/ 506079 h 913502"/>
                  <a:gd name="connsiteX50" fmla="*/ 328819 w 802079"/>
                  <a:gd name="connsiteY50" fmla="*/ 524263 h 913502"/>
                  <a:gd name="connsiteX51" fmla="*/ 359461 w 802079"/>
                  <a:gd name="connsiteY51" fmla="*/ 526283 h 913502"/>
                  <a:gd name="connsiteX52" fmla="*/ 401216 w 802079"/>
                  <a:gd name="connsiteY52" fmla="*/ 527122 h 913502"/>
                  <a:gd name="connsiteX53" fmla="*/ 674301 w 802079"/>
                  <a:gd name="connsiteY53" fmla="*/ 485201 h 913502"/>
                  <a:gd name="connsiteX54" fmla="*/ 744001 w 802079"/>
                  <a:gd name="connsiteY54" fmla="*/ 450855 h 913502"/>
                  <a:gd name="connsiteX55" fmla="*/ 744001 w 802079"/>
                  <a:gd name="connsiteY55" fmla="*/ 550524 h 913502"/>
                  <a:gd name="connsiteX56" fmla="*/ 743665 w 802079"/>
                  <a:gd name="connsiteY56" fmla="*/ 550524 h 913502"/>
                  <a:gd name="connsiteX57" fmla="*/ 744001 w 802079"/>
                  <a:gd name="connsiteY57" fmla="*/ 554057 h 913502"/>
                  <a:gd name="connsiteX58" fmla="*/ 654097 w 802079"/>
                  <a:gd name="connsiteY58" fmla="*/ 623591 h 913502"/>
                  <a:gd name="connsiteX59" fmla="*/ 402564 w 802079"/>
                  <a:gd name="connsiteY59" fmla="*/ 661979 h 913502"/>
                  <a:gd name="connsiteX60" fmla="*/ 399197 w 802079"/>
                  <a:gd name="connsiteY60" fmla="*/ 671911 h 913502"/>
                  <a:gd name="connsiteX61" fmla="*/ 388592 w 802079"/>
                  <a:gd name="connsiteY61" fmla="*/ 690261 h 913502"/>
                  <a:gd name="connsiteX62" fmla="*/ 360140 w 802079"/>
                  <a:gd name="connsiteY62" fmla="*/ 703057 h 913502"/>
                  <a:gd name="connsiteX63" fmla="*/ 355090 w 802079"/>
                  <a:gd name="connsiteY63" fmla="*/ 719385 h 913502"/>
                  <a:gd name="connsiteX64" fmla="*/ 401052 w 802079"/>
                  <a:gd name="connsiteY64" fmla="*/ 720396 h 913502"/>
                  <a:gd name="connsiteX65" fmla="*/ 674135 w 802079"/>
                  <a:gd name="connsiteY65" fmla="*/ 678475 h 913502"/>
                  <a:gd name="connsiteX66" fmla="*/ 743836 w 802079"/>
                  <a:gd name="connsiteY66" fmla="*/ 644128 h 913502"/>
                  <a:gd name="connsiteX67" fmla="*/ 743836 w 802079"/>
                  <a:gd name="connsiteY67" fmla="*/ 743797 h 913502"/>
                  <a:gd name="connsiteX68" fmla="*/ 743500 w 802079"/>
                  <a:gd name="connsiteY68" fmla="*/ 743797 h 913502"/>
                  <a:gd name="connsiteX69" fmla="*/ 743836 w 802079"/>
                  <a:gd name="connsiteY69" fmla="*/ 747330 h 913502"/>
                  <a:gd name="connsiteX70" fmla="*/ 653932 w 802079"/>
                  <a:gd name="connsiteY70" fmla="*/ 816865 h 913502"/>
                  <a:gd name="connsiteX71" fmla="*/ 401045 w 802079"/>
                  <a:gd name="connsiteY71" fmla="*/ 855253 h 913502"/>
                  <a:gd name="connsiteX72" fmla="*/ 148160 w 802079"/>
                  <a:gd name="connsiteY72" fmla="*/ 816865 h 913502"/>
                  <a:gd name="connsiteX73" fmla="*/ 62971 w 802079"/>
                  <a:gd name="connsiteY73" fmla="*/ 761981 h 913502"/>
                  <a:gd name="connsiteX74" fmla="*/ 44450 w 802079"/>
                  <a:gd name="connsiteY74" fmla="*/ 768716 h 913502"/>
                  <a:gd name="connsiteX75" fmla="*/ 6399 w 802079"/>
                  <a:gd name="connsiteY75" fmla="*/ 756593 h 913502"/>
                  <a:gd name="connsiteX76" fmla="*/ 0 w 802079"/>
                  <a:gd name="connsiteY76" fmla="*/ 747165 h 913502"/>
                  <a:gd name="connsiteX77" fmla="*/ 0 w 802079"/>
                  <a:gd name="connsiteY77" fmla="*/ 747330 h 913502"/>
                  <a:gd name="connsiteX78" fmla="*/ 39227 w 802079"/>
                  <a:gd name="connsiteY78" fmla="*/ 822589 h 913502"/>
                  <a:gd name="connsiteX79" fmla="*/ 127955 w 802079"/>
                  <a:gd name="connsiteY79" fmla="*/ 871581 h 913502"/>
                  <a:gd name="connsiteX80" fmla="*/ 401040 w 802079"/>
                  <a:gd name="connsiteY80" fmla="*/ 913502 h 913502"/>
                  <a:gd name="connsiteX81" fmla="*/ 674125 w 802079"/>
                  <a:gd name="connsiteY81" fmla="*/ 871581 h 913502"/>
                  <a:gd name="connsiteX82" fmla="*/ 762853 w 802079"/>
                  <a:gd name="connsiteY82" fmla="*/ 822589 h 913502"/>
                  <a:gd name="connsiteX83" fmla="*/ 802080 w 802079"/>
                  <a:gd name="connsiteY83" fmla="*/ 747330 h 913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802079" h="913502">
                    <a:moveTo>
                      <a:pt x="802079" y="159266"/>
                    </a:moveTo>
                    <a:cubicBezTo>
                      <a:pt x="800394" y="140916"/>
                      <a:pt x="791811" y="115827"/>
                      <a:pt x="763188" y="90913"/>
                    </a:cubicBezTo>
                    <a:cubicBezTo>
                      <a:pt x="741808" y="72227"/>
                      <a:pt x="711838" y="55727"/>
                      <a:pt x="674460" y="41921"/>
                    </a:cubicBezTo>
                    <a:cubicBezTo>
                      <a:pt x="601056" y="14815"/>
                      <a:pt x="504079" y="0"/>
                      <a:pt x="401376" y="0"/>
                    </a:cubicBezTo>
                    <a:cubicBezTo>
                      <a:pt x="298672" y="0"/>
                      <a:pt x="201698" y="14817"/>
                      <a:pt x="128291" y="41921"/>
                    </a:cubicBezTo>
                    <a:cubicBezTo>
                      <a:pt x="90746" y="55727"/>
                      <a:pt x="60948" y="72228"/>
                      <a:pt x="39563" y="90913"/>
                    </a:cubicBezTo>
                    <a:cubicBezTo>
                      <a:pt x="10940" y="115832"/>
                      <a:pt x="2355" y="140751"/>
                      <a:pt x="672" y="159266"/>
                    </a:cubicBezTo>
                    <a:lnTo>
                      <a:pt x="336" y="159266"/>
                    </a:lnTo>
                    <a:lnTo>
                      <a:pt x="336" y="376954"/>
                    </a:lnTo>
                    <a:lnTo>
                      <a:pt x="14644" y="376954"/>
                    </a:lnTo>
                    <a:cubicBezTo>
                      <a:pt x="29461" y="376954"/>
                      <a:pt x="42422" y="387056"/>
                      <a:pt x="46126" y="401365"/>
                    </a:cubicBezTo>
                    <a:lnTo>
                      <a:pt x="51344" y="421232"/>
                    </a:lnTo>
                    <a:lnTo>
                      <a:pt x="68009" y="409280"/>
                    </a:lnTo>
                    <a:cubicBezTo>
                      <a:pt x="75418" y="403893"/>
                      <a:pt x="84509" y="402208"/>
                      <a:pt x="93094" y="403893"/>
                    </a:cubicBezTo>
                    <a:cubicBezTo>
                      <a:pt x="68512" y="387900"/>
                      <a:pt x="58581" y="372411"/>
                      <a:pt x="58581" y="360961"/>
                    </a:cubicBezTo>
                    <a:cubicBezTo>
                      <a:pt x="58581" y="359951"/>
                      <a:pt x="58581" y="359111"/>
                      <a:pt x="58747" y="358102"/>
                    </a:cubicBezTo>
                    <a:lnTo>
                      <a:pt x="58581" y="358102"/>
                    </a:lnTo>
                    <a:lnTo>
                      <a:pt x="58581" y="256075"/>
                    </a:lnTo>
                    <a:cubicBezTo>
                      <a:pt x="77605" y="268870"/>
                      <a:pt x="100839" y="280320"/>
                      <a:pt x="128281" y="290421"/>
                    </a:cubicBezTo>
                    <a:cubicBezTo>
                      <a:pt x="132322" y="291933"/>
                      <a:pt x="136362" y="293281"/>
                      <a:pt x="140403" y="294627"/>
                    </a:cubicBezTo>
                    <a:cubicBezTo>
                      <a:pt x="138720" y="284862"/>
                      <a:pt x="142253" y="274595"/>
                      <a:pt x="150170" y="267858"/>
                    </a:cubicBezTo>
                    <a:lnTo>
                      <a:pt x="170710" y="250519"/>
                    </a:lnTo>
                    <a:cubicBezTo>
                      <a:pt x="173233" y="248333"/>
                      <a:pt x="176097" y="246815"/>
                      <a:pt x="178957" y="245640"/>
                    </a:cubicBezTo>
                    <a:cubicBezTo>
                      <a:pt x="168352" y="242444"/>
                      <a:pt x="158079" y="239242"/>
                      <a:pt x="148314" y="235538"/>
                    </a:cubicBezTo>
                    <a:cubicBezTo>
                      <a:pt x="82158" y="211453"/>
                      <a:pt x="58592" y="183845"/>
                      <a:pt x="58592" y="166335"/>
                    </a:cubicBezTo>
                    <a:cubicBezTo>
                      <a:pt x="58592" y="148659"/>
                      <a:pt x="82163" y="121213"/>
                      <a:pt x="148496" y="96801"/>
                    </a:cubicBezTo>
                    <a:cubicBezTo>
                      <a:pt x="215672" y="72053"/>
                      <a:pt x="305403" y="58413"/>
                      <a:pt x="401382" y="58413"/>
                    </a:cubicBezTo>
                    <a:cubicBezTo>
                      <a:pt x="497347" y="58413"/>
                      <a:pt x="587254" y="72048"/>
                      <a:pt x="654269" y="96801"/>
                    </a:cubicBezTo>
                    <a:cubicBezTo>
                      <a:pt x="720601" y="121211"/>
                      <a:pt x="744173" y="148659"/>
                      <a:pt x="744173" y="166335"/>
                    </a:cubicBezTo>
                    <a:cubicBezTo>
                      <a:pt x="744173" y="184011"/>
                      <a:pt x="720601" y="211457"/>
                      <a:pt x="654269" y="235869"/>
                    </a:cubicBezTo>
                    <a:cubicBezTo>
                      <a:pt x="587092" y="260617"/>
                      <a:pt x="497362" y="274257"/>
                      <a:pt x="401382" y="274257"/>
                    </a:cubicBezTo>
                    <a:cubicBezTo>
                      <a:pt x="387239" y="274257"/>
                      <a:pt x="373267" y="273920"/>
                      <a:pt x="359627" y="273418"/>
                    </a:cubicBezTo>
                    <a:cubicBezTo>
                      <a:pt x="365518" y="281666"/>
                      <a:pt x="366698" y="292778"/>
                      <a:pt x="362151" y="302377"/>
                    </a:cubicBezTo>
                    <a:lnTo>
                      <a:pt x="359793" y="307091"/>
                    </a:lnTo>
                    <a:lnTo>
                      <a:pt x="365010" y="307428"/>
                    </a:lnTo>
                    <a:cubicBezTo>
                      <a:pt x="377971" y="308438"/>
                      <a:pt x="388581" y="318203"/>
                      <a:pt x="390939" y="330999"/>
                    </a:cubicBezTo>
                    <a:lnTo>
                      <a:pt x="391276" y="332512"/>
                    </a:lnTo>
                    <a:lnTo>
                      <a:pt x="401378" y="332512"/>
                    </a:lnTo>
                    <a:cubicBezTo>
                      <a:pt x="504079" y="332512"/>
                      <a:pt x="601056" y="317695"/>
                      <a:pt x="674463" y="290591"/>
                    </a:cubicBezTo>
                    <a:cubicBezTo>
                      <a:pt x="701904" y="280489"/>
                      <a:pt x="725311" y="268874"/>
                      <a:pt x="744163" y="256244"/>
                    </a:cubicBezTo>
                    <a:lnTo>
                      <a:pt x="744169" y="357421"/>
                    </a:lnTo>
                    <a:lnTo>
                      <a:pt x="743832" y="357421"/>
                    </a:lnTo>
                    <a:cubicBezTo>
                      <a:pt x="743998" y="358598"/>
                      <a:pt x="744169" y="359778"/>
                      <a:pt x="744169" y="360955"/>
                    </a:cubicBezTo>
                    <a:cubicBezTo>
                      <a:pt x="744169" y="378631"/>
                      <a:pt x="720597" y="406077"/>
                      <a:pt x="654264" y="430489"/>
                    </a:cubicBezTo>
                    <a:cubicBezTo>
                      <a:pt x="587088" y="455237"/>
                      <a:pt x="497358" y="468877"/>
                      <a:pt x="401378" y="468877"/>
                    </a:cubicBezTo>
                    <a:cubicBezTo>
                      <a:pt x="377977" y="468877"/>
                      <a:pt x="354908" y="468037"/>
                      <a:pt x="332352" y="466520"/>
                    </a:cubicBezTo>
                    <a:lnTo>
                      <a:pt x="332689" y="469380"/>
                    </a:lnTo>
                    <a:cubicBezTo>
                      <a:pt x="333865" y="482341"/>
                      <a:pt x="326291" y="494464"/>
                      <a:pt x="314002" y="498842"/>
                    </a:cubicBezTo>
                    <a:lnTo>
                      <a:pt x="294135" y="506079"/>
                    </a:lnTo>
                    <a:lnTo>
                      <a:pt x="303563" y="506079"/>
                    </a:lnTo>
                    <a:cubicBezTo>
                      <a:pt x="315012" y="506079"/>
                      <a:pt x="325280" y="513487"/>
                      <a:pt x="328819" y="524263"/>
                    </a:cubicBezTo>
                    <a:cubicBezTo>
                      <a:pt x="338414" y="518373"/>
                      <a:pt x="350707" y="519211"/>
                      <a:pt x="359461" y="526283"/>
                    </a:cubicBezTo>
                    <a:cubicBezTo>
                      <a:pt x="373267" y="526786"/>
                      <a:pt x="387239" y="527122"/>
                      <a:pt x="401216" y="527122"/>
                    </a:cubicBezTo>
                    <a:cubicBezTo>
                      <a:pt x="503917" y="527122"/>
                      <a:pt x="600894" y="512306"/>
                      <a:pt x="674301" y="485201"/>
                    </a:cubicBezTo>
                    <a:cubicBezTo>
                      <a:pt x="701742" y="475100"/>
                      <a:pt x="725149" y="463484"/>
                      <a:pt x="744001" y="450855"/>
                    </a:cubicBezTo>
                    <a:lnTo>
                      <a:pt x="744001" y="550524"/>
                    </a:lnTo>
                    <a:lnTo>
                      <a:pt x="743665" y="550524"/>
                    </a:lnTo>
                    <a:cubicBezTo>
                      <a:pt x="743830" y="551700"/>
                      <a:pt x="744001" y="552882"/>
                      <a:pt x="744001" y="554057"/>
                    </a:cubicBezTo>
                    <a:cubicBezTo>
                      <a:pt x="744001" y="571733"/>
                      <a:pt x="720430" y="599179"/>
                      <a:pt x="654097" y="623591"/>
                    </a:cubicBezTo>
                    <a:cubicBezTo>
                      <a:pt x="587258" y="648173"/>
                      <a:pt x="498026" y="661808"/>
                      <a:pt x="402564" y="661979"/>
                    </a:cubicBezTo>
                    <a:cubicBezTo>
                      <a:pt x="402061" y="665346"/>
                      <a:pt x="401052" y="668714"/>
                      <a:pt x="399197" y="671911"/>
                    </a:cubicBezTo>
                    <a:lnTo>
                      <a:pt x="388592" y="690261"/>
                    </a:lnTo>
                    <a:cubicBezTo>
                      <a:pt x="382868" y="700192"/>
                      <a:pt x="371419" y="705244"/>
                      <a:pt x="360140" y="703057"/>
                    </a:cubicBezTo>
                    <a:cubicBezTo>
                      <a:pt x="360306" y="708946"/>
                      <a:pt x="358457" y="714672"/>
                      <a:pt x="355090" y="719385"/>
                    </a:cubicBezTo>
                    <a:cubicBezTo>
                      <a:pt x="370244" y="720059"/>
                      <a:pt x="385563" y="720396"/>
                      <a:pt x="401052" y="720396"/>
                    </a:cubicBezTo>
                    <a:cubicBezTo>
                      <a:pt x="503753" y="720396"/>
                      <a:pt x="600730" y="705579"/>
                      <a:pt x="674135" y="678475"/>
                    </a:cubicBezTo>
                    <a:cubicBezTo>
                      <a:pt x="701578" y="668373"/>
                      <a:pt x="724985" y="656758"/>
                      <a:pt x="743836" y="644128"/>
                    </a:cubicBezTo>
                    <a:lnTo>
                      <a:pt x="743836" y="743797"/>
                    </a:lnTo>
                    <a:lnTo>
                      <a:pt x="743500" y="743797"/>
                    </a:lnTo>
                    <a:cubicBezTo>
                      <a:pt x="743666" y="744972"/>
                      <a:pt x="743836" y="746154"/>
                      <a:pt x="743836" y="747330"/>
                    </a:cubicBezTo>
                    <a:cubicBezTo>
                      <a:pt x="743836" y="765006"/>
                      <a:pt x="720266" y="792453"/>
                      <a:pt x="653932" y="816865"/>
                    </a:cubicBezTo>
                    <a:cubicBezTo>
                      <a:pt x="586757" y="841612"/>
                      <a:pt x="497025" y="855253"/>
                      <a:pt x="401045" y="855253"/>
                    </a:cubicBezTo>
                    <a:cubicBezTo>
                      <a:pt x="305082" y="855253"/>
                      <a:pt x="215175" y="841618"/>
                      <a:pt x="148160" y="816865"/>
                    </a:cubicBezTo>
                    <a:cubicBezTo>
                      <a:pt x="98323" y="798515"/>
                      <a:pt x="72565" y="778311"/>
                      <a:pt x="62971" y="761981"/>
                    </a:cubicBezTo>
                    <a:lnTo>
                      <a:pt x="44450" y="768716"/>
                    </a:lnTo>
                    <a:cubicBezTo>
                      <a:pt x="30478" y="773768"/>
                      <a:pt x="14817" y="768716"/>
                      <a:pt x="6399" y="756593"/>
                    </a:cubicBezTo>
                    <a:lnTo>
                      <a:pt x="0" y="747165"/>
                    </a:lnTo>
                    <a:lnTo>
                      <a:pt x="0" y="747330"/>
                    </a:lnTo>
                    <a:cubicBezTo>
                      <a:pt x="0" y="766017"/>
                      <a:pt x="6735" y="794474"/>
                      <a:pt x="39227" y="822589"/>
                    </a:cubicBezTo>
                    <a:cubicBezTo>
                      <a:pt x="60608" y="841275"/>
                      <a:pt x="90578" y="857775"/>
                      <a:pt x="127955" y="871581"/>
                    </a:cubicBezTo>
                    <a:cubicBezTo>
                      <a:pt x="201360" y="898687"/>
                      <a:pt x="298336" y="913502"/>
                      <a:pt x="401040" y="913502"/>
                    </a:cubicBezTo>
                    <a:cubicBezTo>
                      <a:pt x="503744" y="913502"/>
                      <a:pt x="600718" y="898686"/>
                      <a:pt x="674125" y="871581"/>
                    </a:cubicBezTo>
                    <a:cubicBezTo>
                      <a:pt x="711669" y="857775"/>
                      <a:pt x="741467" y="841274"/>
                      <a:pt x="762853" y="822589"/>
                    </a:cubicBezTo>
                    <a:cubicBezTo>
                      <a:pt x="795345" y="794303"/>
                      <a:pt x="802080" y="766022"/>
                      <a:pt x="802080" y="747330"/>
                    </a:cubicBezTo>
                    <a:close/>
                  </a:path>
                </a:pathLst>
              </a:custGeom>
              <a:grpFill/>
              <a:ln w="13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B590780-3227-4A3E-8EB1-F354E4749B6E}"/>
                </a:ext>
              </a:extLst>
            </p:cNvPr>
            <p:cNvSpPr txBox="1"/>
            <p:nvPr/>
          </p:nvSpPr>
          <p:spPr>
            <a:xfrm rot="16200000">
              <a:off x="1454368" y="3424943"/>
              <a:ext cx="11721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zure</a:t>
              </a:r>
              <a:r>
                <a:rPr lang="en-AU" sz="1200" b="1">
                  <a:solidFill>
                    <a:schemeClr val="accent2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Private</a:t>
              </a:r>
              <a:r>
                <a:rPr lang="en-AU" sz="1200" b="1">
                  <a:solidFill>
                    <a:schemeClr val="accent2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Link</a:t>
              </a:r>
            </a:p>
          </p:txBody>
        </p:sp>
        <p:sp>
          <p:nvSpPr>
            <p:cNvPr id="46" name="Graphic 305">
              <a:extLst>
                <a:ext uri="{FF2B5EF4-FFF2-40B4-BE49-F238E27FC236}">
                  <a16:creationId xmlns:a16="http://schemas.microsoft.com/office/drawing/2014/main" id="{7D53E790-AFF7-4580-81D3-D892A38EAF74}"/>
                </a:ext>
              </a:extLst>
            </p:cNvPr>
            <p:cNvSpPr/>
            <p:nvPr/>
          </p:nvSpPr>
          <p:spPr>
            <a:xfrm>
              <a:off x="6364756" y="2736889"/>
              <a:ext cx="337841" cy="294305"/>
            </a:xfrm>
            <a:custGeom>
              <a:avLst/>
              <a:gdLst>
                <a:gd name="connsiteX0" fmla="*/ 3850559 w 3937922"/>
                <a:gd name="connsiteY0" fmla="*/ 1179107 h 3955271"/>
                <a:gd name="connsiteX1" fmla="*/ 3254828 w 3937922"/>
                <a:gd name="connsiteY1" fmla="*/ 818371 h 3955271"/>
                <a:gd name="connsiteX2" fmla="*/ 3254828 w 3937922"/>
                <a:gd name="connsiteY2" fmla="*/ 137829 h 3955271"/>
                <a:gd name="connsiteX3" fmla="*/ 3117022 w 3937922"/>
                <a:gd name="connsiteY3" fmla="*/ 0 h 3955271"/>
                <a:gd name="connsiteX4" fmla="*/ 2738449 w 3937922"/>
                <a:gd name="connsiteY4" fmla="*/ 0 h 3955271"/>
                <a:gd name="connsiteX5" fmla="*/ 2600015 w 3937922"/>
                <a:gd name="connsiteY5" fmla="*/ 138434 h 3955271"/>
                <a:gd name="connsiteX6" fmla="*/ 2600015 w 3937922"/>
                <a:gd name="connsiteY6" fmla="*/ 421418 h 3955271"/>
                <a:gd name="connsiteX7" fmla="*/ 2062690 w 3937922"/>
                <a:gd name="connsiteY7" fmla="*/ 95595 h 3955271"/>
                <a:gd name="connsiteX8" fmla="*/ 1875324 w 3937922"/>
                <a:gd name="connsiteY8" fmla="*/ 95595 h 3955271"/>
                <a:gd name="connsiteX9" fmla="*/ 87386 w 3937922"/>
                <a:gd name="connsiteY9" fmla="*/ 1179102 h 3955271"/>
                <a:gd name="connsiteX10" fmla="*/ 26419 w 3937922"/>
                <a:gd name="connsiteY10" fmla="*/ 1427458 h 3955271"/>
                <a:gd name="connsiteX11" fmla="*/ 274107 w 3937922"/>
                <a:gd name="connsiteY11" fmla="*/ 1487803 h 3955271"/>
                <a:gd name="connsiteX12" fmla="*/ 333177 w 3937922"/>
                <a:gd name="connsiteY12" fmla="*/ 1452239 h 3955271"/>
                <a:gd name="connsiteX13" fmla="*/ 333177 w 3937922"/>
                <a:gd name="connsiteY13" fmla="*/ 3211544 h 3955271"/>
                <a:gd name="connsiteX14" fmla="*/ 650737 w 3937922"/>
                <a:gd name="connsiteY14" fmla="*/ 3529104 h 3955271"/>
                <a:gd name="connsiteX15" fmla="*/ 843818 w 3937922"/>
                <a:gd name="connsiteY15" fmla="*/ 3529104 h 3955271"/>
                <a:gd name="connsiteX16" fmla="*/ 843818 w 3937922"/>
                <a:gd name="connsiteY16" fmla="*/ 3748863 h 3955271"/>
                <a:gd name="connsiteX17" fmla="*/ 1050227 w 3937922"/>
                <a:gd name="connsiteY17" fmla="*/ 3955271 h 3955271"/>
                <a:gd name="connsiteX18" fmla="*/ 2887656 w 3937922"/>
                <a:gd name="connsiteY18" fmla="*/ 3955271 h 3955271"/>
                <a:gd name="connsiteX19" fmla="*/ 3094065 w 3937922"/>
                <a:gd name="connsiteY19" fmla="*/ 3748863 h 3955271"/>
                <a:gd name="connsiteX20" fmla="*/ 3094065 w 3937922"/>
                <a:gd name="connsiteY20" fmla="*/ 3529104 h 3955271"/>
                <a:gd name="connsiteX21" fmla="*/ 3286523 w 3937922"/>
                <a:gd name="connsiteY21" fmla="*/ 3529104 h 3955271"/>
                <a:gd name="connsiteX22" fmla="*/ 3604083 w 3937922"/>
                <a:gd name="connsiteY22" fmla="*/ 3211544 h 3955271"/>
                <a:gd name="connsiteX23" fmla="*/ 3604106 w 3937922"/>
                <a:gd name="connsiteY23" fmla="*/ 1451553 h 3955271"/>
                <a:gd name="connsiteX24" fmla="*/ 3663799 w 3937922"/>
                <a:gd name="connsiteY24" fmla="*/ 1487786 h 3955271"/>
                <a:gd name="connsiteX25" fmla="*/ 3911487 w 3937922"/>
                <a:gd name="connsiteY25" fmla="*/ 1427441 h 3955271"/>
                <a:gd name="connsiteX26" fmla="*/ 3850542 w 3937922"/>
                <a:gd name="connsiteY26" fmla="*/ 1179085 h 3955271"/>
                <a:gd name="connsiteX27" fmla="*/ 1740010 w 3937922"/>
                <a:gd name="connsiteY27" fmla="*/ 3636443 h 3955271"/>
                <a:gd name="connsiteX28" fmla="*/ 1258567 w 3937922"/>
                <a:gd name="connsiteY28" fmla="*/ 3636443 h 3955271"/>
                <a:gd name="connsiteX29" fmla="*/ 1113126 w 3937922"/>
                <a:gd name="connsiteY29" fmla="*/ 3465576 h 3955271"/>
                <a:gd name="connsiteX30" fmla="*/ 1258567 w 3937922"/>
                <a:gd name="connsiteY30" fmla="*/ 3343018 h 3955271"/>
                <a:gd name="connsiteX31" fmla="*/ 1740010 w 3937922"/>
                <a:gd name="connsiteY31" fmla="*/ 3343018 h 3955271"/>
                <a:gd name="connsiteX32" fmla="*/ 1887371 w 3937922"/>
                <a:gd name="connsiteY32" fmla="*/ 3489733 h 3955271"/>
                <a:gd name="connsiteX33" fmla="*/ 1740010 w 3937922"/>
                <a:gd name="connsiteY33" fmla="*/ 3636449 h 3955271"/>
                <a:gd name="connsiteX34" fmla="*/ 2659668 w 3937922"/>
                <a:gd name="connsiteY34" fmla="*/ 2770735 h 3955271"/>
                <a:gd name="connsiteX35" fmla="*/ 2659668 w 3937922"/>
                <a:gd name="connsiteY35" fmla="*/ 2992414 h 3955271"/>
                <a:gd name="connsiteX36" fmla="*/ 1265551 w 3937922"/>
                <a:gd name="connsiteY36" fmla="*/ 2992414 h 3955271"/>
                <a:gd name="connsiteX37" fmla="*/ 1265551 w 3937922"/>
                <a:gd name="connsiteY37" fmla="*/ 2770735 h 3955271"/>
                <a:gd name="connsiteX38" fmla="*/ 2163623 w 3937922"/>
                <a:gd name="connsiteY38" fmla="*/ 2270250 h 3955271"/>
                <a:gd name="connsiteX39" fmla="*/ 2290650 w 3937922"/>
                <a:gd name="connsiteY39" fmla="*/ 2143222 h 3955271"/>
                <a:gd name="connsiteX40" fmla="*/ 2417678 w 3937922"/>
                <a:gd name="connsiteY40" fmla="*/ 2270250 h 3955271"/>
                <a:gd name="connsiteX41" fmla="*/ 2290650 w 3937922"/>
                <a:gd name="connsiteY41" fmla="*/ 2397277 h 3955271"/>
                <a:gd name="connsiteX42" fmla="*/ 2163623 w 3937922"/>
                <a:gd name="connsiteY42" fmla="*/ 2270250 h 3955271"/>
                <a:gd name="connsiteX43" fmla="*/ 2572646 w 3937922"/>
                <a:gd name="connsiteY43" fmla="*/ 2270250 h 3955271"/>
                <a:gd name="connsiteX44" fmla="*/ 2699673 w 3937922"/>
                <a:gd name="connsiteY44" fmla="*/ 2143222 h 3955271"/>
                <a:gd name="connsiteX45" fmla="*/ 2826700 w 3937922"/>
                <a:gd name="connsiteY45" fmla="*/ 2270250 h 3955271"/>
                <a:gd name="connsiteX46" fmla="*/ 2699673 w 3937922"/>
                <a:gd name="connsiteY46" fmla="*/ 2397277 h 3955271"/>
                <a:gd name="connsiteX47" fmla="*/ 2572646 w 3937922"/>
                <a:gd name="connsiteY47" fmla="*/ 2270250 h 3955271"/>
                <a:gd name="connsiteX48" fmla="*/ 1739970 w 3937922"/>
                <a:gd name="connsiteY48" fmla="*/ 2420805 h 3955271"/>
                <a:gd name="connsiteX49" fmla="*/ 1258527 w 3937922"/>
                <a:gd name="connsiteY49" fmla="*/ 2420805 h 3955271"/>
                <a:gd name="connsiteX50" fmla="*/ 1111189 w 3937922"/>
                <a:gd name="connsiteY50" fmla="*/ 2273467 h 3955271"/>
                <a:gd name="connsiteX51" fmla="*/ 1258527 w 3937922"/>
                <a:gd name="connsiteY51" fmla="*/ 2126752 h 3955271"/>
                <a:gd name="connsiteX52" fmla="*/ 1739970 w 3937922"/>
                <a:gd name="connsiteY52" fmla="*/ 2126752 h 3955271"/>
                <a:gd name="connsiteX53" fmla="*/ 1887331 w 3937922"/>
                <a:gd name="connsiteY53" fmla="*/ 2273467 h 3955271"/>
                <a:gd name="connsiteX54" fmla="*/ 1739970 w 3937922"/>
                <a:gd name="connsiteY54" fmla="*/ 2420805 h 3955271"/>
                <a:gd name="connsiteX55" fmla="*/ 2290622 w 3937922"/>
                <a:gd name="connsiteY55" fmla="*/ 3612955 h 3955271"/>
                <a:gd name="connsiteX56" fmla="*/ 2171230 w 3937922"/>
                <a:gd name="connsiteY56" fmla="*/ 3529104 h 3955271"/>
                <a:gd name="connsiteX57" fmla="*/ 2195364 w 3937922"/>
                <a:gd name="connsiteY57" fmla="*/ 3402077 h 3955271"/>
                <a:gd name="connsiteX58" fmla="*/ 2385273 w 3937922"/>
                <a:gd name="connsiteY58" fmla="*/ 3402077 h 3955271"/>
                <a:gd name="connsiteX59" fmla="*/ 2417666 w 3937922"/>
                <a:gd name="connsiteY59" fmla="*/ 3485927 h 3955271"/>
                <a:gd name="connsiteX60" fmla="*/ 2290622 w 3937922"/>
                <a:gd name="connsiteY60" fmla="*/ 3612955 h 3955271"/>
                <a:gd name="connsiteX61" fmla="*/ 2699644 w 3937922"/>
                <a:gd name="connsiteY61" fmla="*/ 3612955 h 3955271"/>
                <a:gd name="connsiteX62" fmla="*/ 2580252 w 3937922"/>
                <a:gd name="connsiteY62" fmla="*/ 3529104 h 3955271"/>
                <a:gd name="connsiteX63" fmla="*/ 2604387 w 3937922"/>
                <a:gd name="connsiteY63" fmla="*/ 3402077 h 3955271"/>
                <a:gd name="connsiteX64" fmla="*/ 2794296 w 3937922"/>
                <a:gd name="connsiteY64" fmla="*/ 3402077 h 3955271"/>
                <a:gd name="connsiteX65" fmla="*/ 2699644 w 3937922"/>
                <a:gd name="connsiteY65" fmla="*/ 3612949 h 3955271"/>
                <a:gd name="connsiteX66" fmla="*/ 3477056 w 3937922"/>
                <a:gd name="connsiteY66" fmla="*/ 3211522 h 3955271"/>
                <a:gd name="connsiteX67" fmla="*/ 3286518 w 3937922"/>
                <a:gd name="connsiteY67" fmla="*/ 3402060 h 3955271"/>
                <a:gd name="connsiteX68" fmla="*/ 3094059 w 3937922"/>
                <a:gd name="connsiteY68" fmla="*/ 3402060 h 3955271"/>
                <a:gd name="connsiteX69" fmla="*/ 3094059 w 3937922"/>
                <a:gd name="connsiteY69" fmla="*/ 3230587 h 3955271"/>
                <a:gd name="connsiteX70" fmla="*/ 2887651 w 3937922"/>
                <a:gd name="connsiteY70" fmla="*/ 3024178 h 3955271"/>
                <a:gd name="connsiteX71" fmla="*/ 2786655 w 3937922"/>
                <a:gd name="connsiteY71" fmla="*/ 3024178 h 3955271"/>
                <a:gd name="connsiteX72" fmla="*/ 2786655 w 3937922"/>
                <a:gd name="connsiteY72" fmla="*/ 2738988 h 3955271"/>
                <a:gd name="connsiteX73" fmla="*/ 2887651 w 3937922"/>
                <a:gd name="connsiteY73" fmla="*/ 2738988 h 3955271"/>
                <a:gd name="connsiteX74" fmla="*/ 3094059 w 3937922"/>
                <a:gd name="connsiteY74" fmla="*/ 2532579 h 3955271"/>
                <a:gd name="connsiteX75" fmla="*/ 3094059 w 3937922"/>
                <a:gd name="connsiteY75" fmla="*/ 2014949 h 3955271"/>
                <a:gd name="connsiteX76" fmla="*/ 2887651 w 3937922"/>
                <a:gd name="connsiteY76" fmla="*/ 1808540 h 3955271"/>
                <a:gd name="connsiteX77" fmla="*/ 1050221 w 3937922"/>
                <a:gd name="connsiteY77" fmla="*/ 1808540 h 3955271"/>
                <a:gd name="connsiteX78" fmla="*/ 843812 w 3937922"/>
                <a:gd name="connsiteY78" fmla="*/ 2014949 h 3955271"/>
                <a:gd name="connsiteX79" fmla="*/ 843812 w 3937922"/>
                <a:gd name="connsiteY79" fmla="*/ 2532579 h 3955271"/>
                <a:gd name="connsiteX80" fmla="*/ 1050221 w 3937922"/>
                <a:gd name="connsiteY80" fmla="*/ 2738988 h 3955271"/>
                <a:gd name="connsiteX81" fmla="*/ 1138489 w 3937922"/>
                <a:gd name="connsiteY81" fmla="*/ 2738988 h 3955271"/>
                <a:gd name="connsiteX82" fmla="*/ 1138489 w 3937922"/>
                <a:gd name="connsiteY82" fmla="*/ 3024178 h 3955271"/>
                <a:gd name="connsiteX83" fmla="*/ 1050221 w 3937922"/>
                <a:gd name="connsiteY83" fmla="*/ 3024178 h 3955271"/>
                <a:gd name="connsiteX84" fmla="*/ 843812 w 3937922"/>
                <a:gd name="connsiteY84" fmla="*/ 3230587 h 3955271"/>
                <a:gd name="connsiteX85" fmla="*/ 843812 w 3937922"/>
                <a:gd name="connsiteY85" fmla="*/ 3402060 h 3955271"/>
                <a:gd name="connsiteX86" fmla="*/ 650731 w 3937922"/>
                <a:gd name="connsiteY86" fmla="*/ 3402060 h 3955271"/>
                <a:gd name="connsiteX87" fmla="*/ 460193 w 3937922"/>
                <a:gd name="connsiteY87" fmla="*/ 3211522 h 3955271"/>
                <a:gd name="connsiteX88" fmla="*/ 460193 w 3937922"/>
                <a:gd name="connsiteY88" fmla="*/ 1374720 h 3955271"/>
                <a:gd name="connsiteX89" fmla="*/ 1969239 w 3937922"/>
                <a:gd name="connsiteY89" fmla="*/ 460778 h 3955271"/>
                <a:gd name="connsiteX90" fmla="*/ 3477084 w 3937922"/>
                <a:gd name="connsiteY90" fmla="*/ 1374720 h 395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937922" h="3955271">
                  <a:moveTo>
                    <a:pt x="3850559" y="1179107"/>
                  </a:moveTo>
                  <a:lnTo>
                    <a:pt x="3254828" y="818371"/>
                  </a:lnTo>
                  <a:lnTo>
                    <a:pt x="3254828" y="137829"/>
                  </a:lnTo>
                  <a:cubicBezTo>
                    <a:pt x="3254828" y="61728"/>
                    <a:pt x="3193123" y="0"/>
                    <a:pt x="3117022" y="0"/>
                  </a:cubicBezTo>
                  <a:lnTo>
                    <a:pt x="2738449" y="0"/>
                  </a:lnTo>
                  <a:cubicBezTo>
                    <a:pt x="2662325" y="0"/>
                    <a:pt x="2600015" y="62305"/>
                    <a:pt x="2600015" y="138434"/>
                  </a:cubicBezTo>
                  <a:lnTo>
                    <a:pt x="2600015" y="421418"/>
                  </a:lnTo>
                  <a:lnTo>
                    <a:pt x="2062690" y="95595"/>
                  </a:lnTo>
                  <a:cubicBezTo>
                    <a:pt x="2004895" y="60636"/>
                    <a:pt x="1933120" y="60636"/>
                    <a:pt x="1875324" y="95595"/>
                  </a:cubicBezTo>
                  <a:lnTo>
                    <a:pt x="87386" y="1179102"/>
                  </a:lnTo>
                  <a:cubicBezTo>
                    <a:pt x="1638" y="1230559"/>
                    <a:pt x="-25662" y="1341688"/>
                    <a:pt x="26419" y="1427458"/>
                  </a:cubicBezTo>
                  <a:cubicBezTo>
                    <a:pt x="77876" y="1512561"/>
                    <a:pt x="189005" y="1539884"/>
                    <a:pt x="274107" y="1487803"/>
                  </a:cubicBezTo>
                  <a:lnTo>
                    <a:pt x="333177" y="1452239"/>
                  </a:lnTo>
                  <a:lnTo>
                    <a:pt x="333177" y="3211544"/>
                  </a:lnTo>
                  <a:cubicBezTo>
                    <a:pt x="333177" y="3386858"/>
                    <a:pt x="476075" y="3529104"/>
                    <a:pt x="650737" y="3529104"/>
                  </a:cubicBezTo>
                  <a:lnTo>
                    <a:pt x="843818" y="3529104"/>
                  </a:lnTo>
                  <a:lnTo>
                    <a:pt x="843818" y="3748863"/>
                  </a:lnTo>
                  <a:cubicBezTo>
                    <a:pt x="843818" y="3862563"/>
                    <a:pt x="936555" y="3955271"/>
                    <a:pt x="1050227" y="3955271"/>
                  </a:cubicBezTo>
                  <a:lnTo>
                    <a:pt x="2887656" y="3955271"/>
                  </a:lnTo>
                  <a:cubicBezTo>
                    <a:pt x="3001333" y="3955271"/>
                    <a:pt x="3094065" y="3862534"/>
                    <a:pt x="3094065" y="3748863"/>
                  </a:cubicBezTo>
                  <a:lnTo>
                    <a:pt x="3094065" y="3529104"/>
                  </a:lnTo>
                  <a:lnTo>
                    <a:pt x="3286523" y="3529104"/>
                  </a:lnTo>
                  <a:cubicBezTo>
                    <a:pt x="3461814" y="3529104"/>
                    <a:pt x="3604083" y="3386852"/>
                    <a:pt x="3604083" y="3211544"/>
                  </a:cubicBezTo>
                  <a:lnTo>
                    <a:pt x="3604106" y="1451553"/>
                  </a:lnTo>
                  <a:lnTo>
                    <a:pt x="3663799" y="1487786"/>
                  </a:lnTo>
                  <a:cubicBezTo>
                    <a:pt x="3752313" y="1541633"/>
                    <a:pt x="3861749" y="1510046"/>
                    <a:pt x="3911487" y="1427441"/>
                  </a:cubicBezTo>
                  <a:cubicBezTo>
                    <a:pt x="3963591" y="1341693"/>
                    <a:pt x="3936290" y="1230542"/>
                    <a:pt x="3850542" y="1179085"/>
                  </a:cubicBezTo>
                  <a:close/>
                  <a:moveTo>
                    <a:pt x="1740010" y="3636443"/>
                  </a:moveTo>
                  <a:lnTo>
                    <a:pt x="1258567" y="3636443"/>
                  </a:lnTo>
                  <a:cubicBezTo>
                    <a:pt x="1171190" y="3636443"/>
                    <a:pt x="1098547" y="3560405"/>
                    <a:pt x="1113126" y="3465576"/>
                  </a:cubicBezTo>
                  <a:cubicBezTo>
                    <a:pt x="1124110" y="3397979"/>
                    <a:pt x="1183603" y="3343018"/>
                    <a:pt x="1258567" y="3343018"/>
                  </a:cubicBezTo>
                  <a:lnTo>
                    <a:pt x="1740010" y="3343018"/>
                  </a:lnTo>
                  <a:cubicBezTo>
                    <a:pt x="1818929" y="3343018"/>
                    <a:pt x="1887371" y="3406443"/>
                    <a:pt x="1887371" y="3489733"/>
                  </a:cubicBezTo>
                  <a:cubicBezTo>
                    <a:pt x="1887371" y="3573898"/>
                    <a:pt x="1818906" y="3636449"/>
                    <a:pt x="1740010" y="3636449"/>
                  </a:cubicBezTo>
                  <a:close/>
                  <a:moveTo>
                    <a:pt x="2659668" y="2770735"/>
                  </a:moveTo>
                  <a:lnTo>
                    <a:pt x="2659668" y="2992414"/>
                  </a:lnTo>
                  <a:lnTo>
                    <a:pt x="1265551" y="2992414"/>
                  </a:lnTo>
                  <a:lnTo>
                    <a:pt x="1265551" y="2770735"/>
                  </a:lnTo>
                  <a:close/>
                  <a:moveTo>
                    <a:pt x="2163623" y="2270250"/>
                  </a:moveTo>
                  <a:cubicBezTo>
                    <a:pt x="2163623" y="2199749"/>
                    <a:pt x="2220150" y="2143222"/>
                    <a:pt x="2290650" y="2143222"/>
                  </a:cubicBezTo>
                  <a:cubicBezTo>
                    <a:pt x="2360528" y="2143222"/>
                    <a:pt x="2417678" y="2199749"/>
                    <a:pt x="2417678" y="2270250"/>
                  </a:cubicBezTo>
                  <a:cubicBezTo>
                    <a:pt x="2417678" y="2340127"/>
                    <a:pt x="2360528" y="2397277"/>
                    <a:pt x="2290650" y="2397277"/>
                  </a:cubicBezTo>
                  <a:cubicBezTo>
                    <a:pt x="2220173" y="2397300"/>
                    <a:pt x="2163623" y="2340127"/>
                    <a:pt x="2163623" y="2270250"/>
                  </a:cubicBezTo>
                  <a:close/>
                  <a:moveTo>
                    <a:pt x="2572646" y="2270250"/>
                  </a:moveTo>
                  <a:cubicBezTo>
                    <a:pt x="2572646" y="2199749"/>
                    <a:pt x="2629173" y="2143222"/>
                    <a:pt x="2699673" y="2143222"/>
                  </a:cubicBezTo>
                  <a:cubicBezTo>
                    <a:pt x="2769550" y="2143222"/>
                    <a:pt x="2826700" y="2199749"/>
                    <a:pt x="2826700" y="2270250"/>
                  </a:cubicBezTo>
                  <a:cubicBezTo>
                    <a:pt x="2826700" y="2340127"/>
                    <a:pt x="2769550" y="2397277"/>
                    <a:pt x="2699673" y="2397277"/>
                  </a:cubicBezTo>
                  <a:cubicBezTo>
                    <a:pt x="2629196" y="2397300"/>
                    <a:pt x="2572646" y="2340127"/>
                    <a:pt x="2572646" y="2270250"/>
                  </a:cubicBezTo>
                  <a:close/>
                  <a:moveTo>
                    <a:pt x="1739970" y="2420805"/>
                  </a:moveTo>
                  <a:lnTo>
                    <a:pt x="1258527" y="2420805"/>
                  </a:lnTo>
                  <a:cubicBezTo>
                    <a:pt x="1177242" y="2420805"/>
                    <a:pt x="1111189" y="2354746"/>
                    <a:pt x="1111189" y="2273467"/>
                  </a:cubicBezTo>
                  <a:cubicBezTo>
                    <a:pt x="1111189" y="2193571"/>
                    <a:pt x="1176642" y="2126752"/>
                    <a:pt x="1258527" y="2126752"/>
                  </a:cubicBezTo>
                  <a:lnTo>
                    <a:pt x="1739970" y="2126752"/>
                  </a:lnTo>
                  <a:cubicBezTo>
                    <a:pt x="1821277" y="2126752"/>
                    <a:pt x="1887331" y="2192788"/>
                    <a:pt x="1887331" y="2273467"/>
                  </a:cubicBezTo>
                  <a:cubicBezTo>
                    <a:pt x="1887331" y="2354706"/>
                    <a:pt x="1821272" y="2420805"/>
                    <a:pt x="1739970" y="2420805"/>
                  </a:cubicBezTo>
                  <a:close/>
                  <a:moveTo>
                    <a:pt x="2290622" y="3612955"/>
                  </a:moveTo>
                  <a:cubicBezTo>
                    <a:pt x="2235369" y="3612955"/>
                    <a:pt x="2188375" y="3578042"/>
                    <a:pt x="2171230" y="3529104"/>
                  </a:cubicBezTo>
                  <a:cubicBezTo>
                    <a:pt x="2155382" y="3487539"/>
                    <a:pt x="2164955" y="3434984"/>
                    <a:pt x="2195364" y="3402077"/>
                  </a:cubicBezTo>
                  <a:cubicBezTo>
                    <a:pt x="2244433" y="3344835"/>
                    <a:pt x="2335696" y="3344212"/>
                    <a:pt x="2385273" y="3402077"/>
                  </a:cubicBezTo>
                  <a:cubicBezTo>
                    <a:pt x="2407105" y="3425697"/>
                    <a:pt x="2417666" y="3457398"/>
                    <a:pt x="2417666" y="3485927"/>
                  </a:cubicBezTo>
                  <a:cubicBezTo>
                    <a:pt x="2417643" y="3555936"/>
                    <a:pt x="2360425" y="3612955"/>
                    <a:pt x="2290622" y="3612955"/>
                  </a:cubicBezTo>
                  <a:close/>
                  <a:moveTo>
                    <a:pt x="2699644" y="3612955"/>
                  </a:moveTo>
                  <a:cubicBezTo>
                    <a:pt x="2644392" y="3612955"/>
                    <a:pt x="2597397" y="3578042"/>
                    <a:pt x="2580252" y="3529104"/>
                  </a:cubicBezTo>
                  <a:cubicBezTo>
                    <a:pt x="2564245" y="3487156"/>
                    <a:pt x="2574269" y="3434652"/>
                    <a:pt x="2604387" y="3402077"/>
                  </a:cubicBezTo>
                  <a:cubicBezTo>
                    <a:pt x="2653473" y="3344835"/>
                    <a:pt x="2744718" y="3344235"/>
                    <a:pt x="2794296" y="3402077"/>
                  </a:cubicBezTo>
                  <a:cubicBezTo>
                    <a:pt x="2866539" y="3480235"/>
                    <a:pt x="2810458" y="3612949"/>
                    <a:pt x="2699644" y="3612949"/>
                  </a:cubicBezTo>
                  <a:close/>
                  <a:moveTo>
                    <a:pt x="3477056" y="3211522"/>
                  </a:moveTo>
                  <a:cubicBezTo>
                    <a:pt x="3477056" y="3316957"/>
                    <a:pt x="3391931" y="3402060"/>
                    <a:pt x="3286518" y="3402060"/>
                  </a:cubicBezTo>
                  <a:lnTo>
                    <a:pt x="3094059" y="3402060"/>
                  </a:lnTo>
                  <a:lnTo>
                    <a:pt x="3094059" y="3230587"/>
                  </a:lnTo>
                  <a:cubicBezTo>
                    <a:pt x="3094059" y="3116887"/>
                    <a:pt x="3001322" y="3024178"/>
                    <a:pt x="2887651" y="3024178"/>
                  </a:cubicBezTo>
                  <a:lnTo>
                    <a:pt x="2786655" y="3024178"/>
                  </a:lnTo>
                  <a:lnTo>
                    <a:pt x="2786655" y="2738988"/>
                  </a:lnTo>
                  <a:lnTo>
                    <a:pt x="2887651" y="2738988"/>
                  </a:lnTo>
                  <a:cubicBezTo>
                    <a:pt x="3001328" y="2738988"/>
                    <a:pt x="3094059" y="2646925"/>
                    <a:pt x="3094059" y="2532579"/>
                  </a:cubicBezTo>
                  <a:lnTo>
                    <a:pt x="3094059" y="2014949"/>
                  </a:lnTo>
                  <a:cubicBezTo>
                    <a:pt x="3094059" y="1900626"/>
                    <a:pt x="3001322" y="1808540"/>
                    <a:pt x="2887651" y="1808540"/>
                  </a:cubicBezTo>
                  <a:lnTo>
                    <a:pt x="1050221" y="1808540"/>
                  </a:lnTo>
                  <a:cubicBezTo>
                    <a:pt x="936521" y="1808540"/>
                    <a:pt x="843812" y="1900649"/>
                    <a:pt x="843812" y="2014949"/>
                  </a:cubicBezTo>
                  <a:lnTo>
                    <a:pt x="843812" y="2532579"/>
                  </a:lnTo>
                  <a:cubicBezTo>
                    <a:pt x="843812" y="2646925"/>
                    <a:pt x="936549" y="2738988"/>
                    <a:pt x="1050221" y="2738988"/>
                  </a:cubicBezTo>
                  <a:lnTo>
                    <a:pt x="1138489" y="2738988"/>
                  </a:lnTo>
                  <a:lnTo>
                    <a:pt x="1138489" y="3024178"/>
                  </a:lnTo>
                  <a:lnTo>
                    <a:pt x="1050221" y="3024178"/>
                  </a:lnTo>
                  <a:cubicBezTo>
                    <a:pt x="936521" y="3024178"/>
                    <a:pt x="843812" y="3116915"/>
                    <a:pt x="843812" y="3230587"/>
                  </a:cubicBezTo>
                  <a:lnTo>
                    <a:pt x="843812" y="3402060"/>
                  </a:lnTo>
                  <a:lnTo>
                    <a:pt x="650731" y="3402060"/>
                  </a:lnTo>
                  <a:cubicBezTo>
                    <a:pt x="545918" y="3402060"/>
                    <a:pt x="460193" y="3316957"/>
                    <a:pt x="460193" y="3211522"/>
                  </a:cubicBezTo>
                  <a:lnTo>
                    <a:pt x="460193" y="1374720"/>
                  </a:lnTo>
                  <a:lnTo>
                    <a:pt x="1969239" y="460778"/>
                  </a:lnTo>
                  <a:lnTo>
                    <a:pt x="3477084" y="1374720"/>
                  </a:lnTo>
                  <a:close/>
                </a:path>
              </a:pathLst>
            </a:custGeom>
            <a:solidFill>
              <a:schemeClr val="accent2"/>
            </a:solidFill>
            <a:ln w="57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/>
            </a:p>
          </p:txBody>
        </p:sp>
        <p:pic>
          <p:nvPicPr>
            <p:cNvPr id="47" name="Picture 16" descr="Power BI Business Intelligence - SWK Technologies, Inc.">
              <a:extLst>
                <a:ext uri="{FF2B5EF4-FFF2-40B4-BE49-F238E27FC236}">
                  <a16:creationId xmlns:a16="http://schemas.microsoft.com/office/drawing/2014/main" id="{92463C9E-341D-4FD1-8A31-4074BA7A41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83562" y="1774413"/>
              <a:ext cx="548640" cy="5945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8" descr="R: R Logo">
              <a:extLst>
                <a:ext uri="{FF2B5EF4-FFF2-40B4-BE49-F238E27FC236}">
                  <a16:creationId xmlns:a16="http://schemas.microsoft.com/office/drawing/2014/main" id="{DBFC7E75-0592-44F8-A9FE-068FD53220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56609" y="1852848"/>
              <a:ext cx="294818" cy="210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2" descr="RISK Pricing, Features, Reviews &amp; Alternatives | GetApp">
              <a:extLst>
                <a:ext uri="{FF2B5EF4-FFF2-40B4-BE49-F238E27FC236}">
                  <a16:creationId xmlns:a16="http://schemas.microsoft.com/office/drawing/2014/main" id="{5C3D0CAF-B9BD-4E61-B208-A5023BA234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49598" y="2551671"/>
              <a:ext cx="321380" cy="2953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20" descr="Python (programming language) - Wikipedia">
              <a:extLst>
                <a:ext uri="{FF2B5EF4-FFF2-40B4-BE49-F238E27FC236}">
                  <a16:creationId xmlns:a16="http://schemas.microsoft.com/office/drawing/2014/main" id="{49AC6684-152E-4A61-AD1F-B9C7FB1A8E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8353" y="2565953"/>
              <a:ext cx="200482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49047EAB-6902-4BD6-8981-075062181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0823417" y="4913540"/>
              <a:ext cx="582930" cy="177165"/>
            </a:xfrm>
            <a:prstGeom prst="rect">
              <a:avLst/>
            </a:prstGeom>
          </p:spPr>
        </p:pic>
        <p:pic>
          <p:nvPicPr>
            <p:cNvPr id="52" name="Picture 28" descr="icon-tableau - Online Training Hub for Data Analytics &amp; Visualization  Courses">
              <a:extLst>
                <a:ext uri="{FF2B5EF4-FFF2-40B4-BE49-F238E27FC236}">
                  <a16:creationId xmlns:a16="http://schemas.microsoft.com/office/drawing/2014/main" id="{9A096625-039C-4223-9AA3-A85B104F76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04" t="18554" r="1" b="20512"/>
            <a:stretch/>
          </p:blipFill>
          <p:spPr bwMode="auto">
            <a:xfrm>
              <a:off x="10786643" y="5501744"/>
              <a:ext cx="548640" cy="416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DED3D13-1DE4-4479-AEED-CF9FD704CB8E}"/>
                </a:ext>
              </a:extLst>
            </p:cNvPr>
            <p:cNvSpPr/>
            <p:nvPr/>
          </p:nvSpPr>
          <p:spPr>
            <a:xfrm>
              <a:off x="10536532" y="4285794"/>
              <a:ext cx="1136342" cy="1680012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PPROVED EXCEPTIONS</a:t>
              </a:r>
            </a:p>
          </p:txBody>
        </p:sp>
        <p:pic>
          <p:nvPicPr>
            <p:cNvPr id="54" name="Picture 53" descr="Graphical user interface, logo&#10;&#10;Description automatically generated">
              <a:extLst>
                <a:ext uri="{FF2B5EF4-FFF2-40B4-BE49-F238E27FC236}">
                  <a16:creationId xmlns:a16="http://schemas.microsoft.com/office/drawing/2014/main" id="{0DA8FDA4-24D6-4FE6-B954-3029C15BB6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/>
            <a:srcRect t="26984" r="7167" b="24202"/>
            <a:stretch/>
          </p:blipFill>
          <p:spPr>
            <a:xfrm>
              <a:off x="10795211" y="4603651"/>
              <a:ext cx="597510" cy="285626"/>
            </a:xfrm>
            <a:prstGeom prst="rect">
              <a:avLst/>
            </a:prstGeom>
          </p:spPr>
        </p:pic>
        <p:grpSp>
          <p:nvGrpSpPr>
            <p:cNvPr id="55" name="Graphic 342">
              <a:extLst>
                <a:ext uri="{FF2B5EF4-FFF2-40B4-BE49-F238E27FC236}">
                  <a16:creationId xmlns:a16="http://schemas.microsoft.com/office/drawing/2014/main" id="{0DE96F00-0B19-41B9-8938-E823B088BE13}"/>
                </a:ext>
              </a:extLst>
            </p:cNvPr>
            <p:cNvGrpSpPr/>
            <p:nvPr/>
          </p:nvGrpSpPr>
          <p:grpSpPr>
            <a:xfrm>
              <a:off x="7965678" y="2577583"/>
              <a:ext cx="335579" cy="339444"/>
              <a:chOff x="3080364" y="5429839"/>
              <a:chExt cx="1014801" cy="1014776"/>
            </a:xfrm>
            <a:solidFill>
              <a:schemeClr val="accent2"/>
            </a:solidFill>
          </p:grpSpPr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F30ABE23-F83E-41F8-A821-BE3A19E90B15}"/>
                  </a:ext>
                </a:extLst>
              </p:cNvPr>
              <p:cNvSpPr/>
              <p:nvPr/>
            </p:nvSpPr>
            <p:spPr>
              <a:xfrm>
                <a:off x="3370315" y="5973459"/>
                <a:ext cx="724831" cy="217455"/>
              </a:xfrm>
              <a:custGeom>
                <a:avLst/>
                <a:gdLst>
                  <a:gd name="connsiteX0" fmla="*/ 0 w 724831"/>
                  <a:gd name="connsiteY0" fmla="*/ 217456 h 217455"/>
                  <a:gd name="connsiteX1" fmla="*/ 724831 w 724831"/>
                  <a:gd name="connsiteY1" fmla="*/ 217456 h 217455"/>
                  <a:gd name="connsiteX2" fmla="*/ 724831 w 724831"/>
                  <a:gd name="connsiteY2" fmla="*/ 0 h 217455"/>
                  <a:gd name="connsiteX3" fmla="*/ 0 w 724831"/>
                  <a:gd name="connsiteY3" fmla="*/ 0 h 217455"/>
                  <a:gd name="connsiteX4" fmla="*/ 579871 w 724831"/>
                  <a:gd name="connsiteY4" fmla="*/ 90610 h 217455"/>
                  <a:gd name="connsiteX5" fmla="*/ 597994 w 724831"/>
                  <a:gd name="connsiteY5" fmla="*/ 72488 h 217455"/>
                  <a:gd name="connsiteX6" fmla="*/ 616116 w 724831"/>
                  <a:gd name="connsiteY6" fmla="*/ 90610 h 217455"/>
                  <a:gd name="connsiteX7" fmla="*/ 616116 w 724831"/>
                  <a:gd name="connsiteY7" fmla="*/ 126853 h 217455"/>
                  <a:gd name="connsiteX8" fmla="*/ 597994 w 724831"/>
                  <a:gd name="connsiteY8" fmla="*/ 144976 h 217455"/>
                  <a:gd name="connsiteX9" fmla="*/ 579871 w 724831"/>
                  <a:gd name="connsiteY9" fmla="*/ 126853 h 217455"/>
                  <a:gd name="connsiteX10" fmla="*/ 507385 w 724831"/>
                  <a:gd name="connsiteY10" fmla="*/ 90610 h 217455"/>
                  <a:gd name="connsiteX11" fmla="*/ 525507 w 724831"/>
                  <a:gd name="connsiteY11" fmla="*/ 72488 h 217455"/>
                  <a:gd name="connsiteX12" fmla="*/ 543630 w 724831"/>
                  <a:gd name="connsiteY12" fmla="*/ 90610 h 217455"/>
                  <a:gd name="connsiteX13" fmla="*/ 543630 w 724831"/>
                  <a:gd name="connsiteY13" fmla="*/ 126853 h 217455"/>
                  <a:gd name="connsiteX14" fmla="*/ 525507 w 724831"/>
                  <a:gd name="connsiteY14" fmla="*/ 144976 h 217455"/>
                  <a:gd name="connsiteX15" fmla="*/ 507385 w 724831"/>
                  <a:gd name="connsiteY15" fmla="*/ 126853 h 217455"/>
                  <a:gd name="connsiteX16" fmla="*/ 434905 w 724831"/>
                  <a:gd name="connsiteY16" fmla="*/ 90610 h 217455"/>
                  <a:gd name="connsiteX17" fmla="*/ 453027 w 724831"/>
                  <a:gd name="connsiteY17" fmla="*/ 72488 h 217455"/>
                  <a:gd name="connsiteX18" fmla="*/ 471150 w 724831"/>
                  <a:gd name="connsiteY18" fmla="*/ 90610 h 217455"/>
                  <a:gd name="connsiteX19" fmla="*/ 471150 w 724831"/>
                  <a:gd name="connsiteY19" fmla="*/ 126853 h 217455"/>
                  <a:gd name="connsiteX20" fmla="*/ 453027 w 724831"/>
                  <a:gd name="connsiteY20" fmla="*/ 144976 h 217455"/>
                  <a:gd name="connsiteX21" fmla="*/ 434905 w 724831"/>
                  <a:gd name="connsiteY21" fmla="*/ 126853 h 217455"/>
                  <a:gd name="connsiteX22" fmla="*/ 362419 w 724831"/>
                  <a:gd name="connsiteY22" fmla="*/ 90610 h 217455"/>
                  <a:gd name="connsiteX23" fmla="*/ 380541 w 724831"/>
                  <a:gd name="connsiteY23" fmla="*/ 72488 h 217455"/>
                  <a:gd name="connsiteX24" fmla="*/ 398663 w 724831"/>
                  <a:gd name="connsiteY24" fmla="*/ 90610 h 217455"/>
                  <a:gd name="connsiteX25" fmla="*/ 398663 w 724831"/>
                  <a:gd name="connsiteY25" fmla="*/ 126853 h 217455"/>
                  <a:gd name="connsiteX26" fmla="*/ 380541 w 724831"/>
                  <a:gd name="connsiteY26" fmla="*/ 144976 h 217455"/>
                  <a:gd name="connsiteX27" fmla="*/ 362419 w 724831"/>
                  <a:gd name="connsiteY27" fmla="*/ 126853 h 21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24831" h="217455">
                    <a:moveTo>
                      <a:pt x="0" y="217456"/>
                    </a:moveTo>
                    <a:lnTo>
                      <a:pt x="724831" y="217456"/>
                    </a:lnTo>
                    <a:lnTo>
                      <a:pt x="724831" y="0"/>
                    </a:lnTo>
                    <a:lnTo>
                      <a:pt x="0" y="0"/>
                    </a:lnTo>
                    <a:close/>
                    <a:moveTo>
                      <a:pt x="579871" y="90610"/>
                    </a:moveTo>
                    <a:cubicBezTo>
                      <a:pt x="579871" y="80594"/>
                      <a:pt x="587976" y="72488"/>
                      <a:pt x="597994" y="72488"/>
                    </a:cubicBezTo>
                    <a:cubicBezTo>
                      <a:pt x="608012" y="72488"/>
                      <a:pt x="616116" y="80592"/>
                      <a:pt x="616116" y="90610"/>
                    </a:cubicBezTo>
                    <a:lnTo>
                      <a:pt x="616116" y="126853"/>
                    </a:lnTo>
                    <a:cubicBezTo>
                      <a:pt x="616116" y="136870"/>
                      <a:pt x="608012" y="144976"/>
                      <a:pt x="597994" y="144976"/>
                    </a:cubicBezTo>
                    <a:cubicBezTo>
                      <a:pt x="587976" y="144976"/>
                      <a:pt x="579871" y="136871"/>
                      <a:pt x="579871" y="126853"/>
                    </a:cubicBezTo>
                    <a:close/>
                    <a:moveTo>
                      <a:pt x="507385" y="90610"/>
                    </a:moveTo>
                    <a:cubicBezTo>
                      <a:pt x="507385" y="80594"/>
                      <a:pt x="515489" y="72488"/>
                      <a:pt x="525507" y="72488"/>
                    </a:cubicBezTo>
                    <a:cubicBezTo>
                      <a:pt x="535524" y="72488"/>
                      <a:pt x="543630" y="80592"/>
                      <a:pt x="543630" y="90610"/>
                    </a:cubicBezTo>
                    <a:lnTo>
                      <a:pt x="543630" y="126853"/>
                    </a:lnTo>
                    <a:cubicBezTo>
                      <a:pt x="543630" y="136870"/>
                      <a:pt x="535525" y="144976"/>
                      <a:pt x="525507" y="144976"/>
                    </a:cubicBezTo>
                    <a:cubicBezTo>
                      <a:pt x="515491" y="144976"/>
                      <a:pt x="507385" y="136871"/>
                      <a:pt x="507385" y="126853"/>
                    </a:cubicBezTo>
                    <a:close/>
                    <a:moveTo>
                      <a:pt x="434905" y="90610"/>
                    </a:moveTo>
                    <a:cubicBezTo>
                      <a:pt x="434905" y="80594"/>
                      <a:pt x="443009" y="72488"/>
                      <a:pt x="453027" y="72488"/>
                    </a:cubicBezTo>
                    <a:cubicBezTo>
                      <a:pt x="463044" y="72488"/>
                      <a:pt x="471150" y="80592"/>
                      <a:pt x="471150" y="90610"/>
                    </a:cubicBezTo>
                    <a:lnTo>
                      <a:pt x="471150" y="126853"/>
                    </a:lnTo>
                    <a:cubicBezTo>
                      <a:pt x="471150" y="136870"/>
                      <a:pt x="463045" y="144976"/>
                      <a:pt x="453027" y="144976"/>
                    </a:cubicBezTo>
                    <a:cubicBezTo>
                      <a:pt x="443011" y="144976"/>
                      <a:pt x="434905" y="136871"/>
                      <a:pt x="434905" y="126853"/>
                    </a:cubicBezTo>
                    <a:close/>
                    <a:moveTo>
                      <a:pt x="362419" y="90610"/>
                    </a:moveTo>
                    <a:cubicBezTo>
                      <a:pt x="362419" y="80594"/>
                      <a:pt x="370523" y="72488"/>
                      <a:pt x="380541" y="72488"/>
                    </a:cubicBezTo>
                    <a:cubicBezTo>
                      <a:pt x="390558" y="72488"/>
                      <a:pt x="398663" y="80592"/>
                      <a:pt x="398663" y="90610"/>
                    </a:cubicBezTo>
                    <a:lnTo>
                      <a:pt x="398663" y="126853"/>
                    </a:lnTo>
                    <a:cubicBezTo>
                      <a:pt x="398663" y="136870"/>
                      <a:pt x="390559" y="144976"/>
                      <a:pt x="380541" y="144976"/>
                    </a:cubicBezTo>
                    <a:cubicBezTo>
                      <a:pt x="370525" y="144976"/>
                      <a:pt x="362419" y="136871"/>
                      <a:pt x="362419" y="126853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D1740F2-7E07-4967-A864-0F0493370AB6}"/>
                  </a:ext>
                </a:extLst>
              </p:cNvPr>
              <p:cNvSpPr/>
              <p:nvPr/>
            </p:nvSpPr>
            <p:spPr>
              <a:xfrm>
                <a:off x="3370315" y="5719771"/>
                <a:ext cx="724831" cy="217455"/>
              </a:xfrm>
              <a:custGeom>
                <a:avLst/>
                <a:gdLst>
                  <a:gd name="connsiteX0" fmla="*/ 0 w 724831"/>
                  <a:gd name="connsiteY0" fmla="*/ 217456 h 217455"/>
                  <a:gd name="connsiteX1" fmla="*/ 724831 w 724831"/>
                  <a:gd name="connsiteY1" fmla="*/ 217456 h 217455"/>
                  <a:gd name="connsiteX2" fmla="*/ 724831 w 724831"/>
                  <a:gd name="connsiteY2" fmla="*/ 0 h 217455"/>
                  <a:gd name="connsiteX3" fmla="*/ 0 w 724831"/>
                  <a:gd name="connsiteY3" fmla="*/ 0 h 217455"/>
                  <a:gd name="connsiteX4" fmla="*/ 579871 w 724831"/>
                  <a:gd name="connsiteY4" fmla="*/ 90610 h 217455"/>
                  <a:gd name="connsiteX5" fmla="*/ 597994 w 724831"/>
                  <a:gd name="connsiteY5" fmla="*/ 72488 h 217455"/>
                  <a:gd name="connsiteX6" fmla="*/ 616116 w 724831"/>
                  <a:gd name="connsiteY6" fmla="*/ 90610 h 217455"/>
                  <a:gd name="connsiteX7" fmla="*/ 616116 w 724831"/>
                  <a:gd name="connsiteY7" fmla="*/ 126853 h 217455"/>
                  <a:gd name="connsiteX8" fmla="*/ 597994 w 724831"/>
                  <a:gd name="connsiteY8" fmla="*/ 144976 h 217455"/>
                  <a:gd name="connsiteX9" fmla="*/ 579871 w 724831"/>
                  <a:gd name="connsiteY9" fmla="*/ 126853 h 217455"/>
                  <a:gd name="connsiteX10" fmla="*/ 507385 w 724831"/>
                  <a:gd name="connsiteY10" fmla="*/ 90610 h 217455"/>
                  <a:gd name="connsiteX11" fmla="*/ 525507 w 724831"/>
                  <a:gd name="connsiteY11" fmla="*/ 72488 h 217455"/>
                  <a:gd name="connsiteX12" fmla="*/ 543630 w 724831"/>
                  <a:gd name="connsiteY12" fmla="*/ 90610 h 217455"/>
                  <a:gd name="connsiteX13" fmla="*/ 543630 w 724831"/>
                  <a:gd name="connsiteY13" fmla="*/ 126853 h 217455"/>
                  <a:gd name="connsiteX14" fmla="*/ 525507 w 724831"/>
                  <a:gd name="connsiteY14" fmla="*/ 144976 h 217455"/>
                  <a:gd name="connsiteX15" fmla="*/ 507385 w 724831"/>
                  <a:gd name="connsiteY15" fmla="*/ 126853 h 217455"/>
                  <a:gd name="connsiteX16" fmla="*/ 434905 w 724831"/>
                  <a:gd name="connsiteY16" fmla="*/ 90610 h 217455"/>
                  <a:gd name="connsiteX17" fmla="*/ 453027 w 724831"/>
                  <a:gd name="connsiteY17" fmla="*/ 72488 h 217455"/>
                  <a:gd name="connsiteX18" fmla="*/ 471150 w 724831"/>
                  <a:gd name="connsiteY18" fmla="*/ 90610 h 217455"/>
                  <a:gd name="connsiteX19" fmla="*/ 471150 w 724831"/>
                  <a:gd name="connsiteY19" fmla="*/ 126853 h 217455"/>
                  <a:gd name="connsiteX20" fmla="*/ 453027 w 724831"/>
                  <a:gd name="connsiteY20" fmla="*/ 144976 h 217455"/>
                  <a:gd name="connsiteX21" fmla="*/ 434905 w 724831"/>
                  <a:gd name="connsiteY21" fmla="*/ 126853 h 217455"/>
                  <a:gd name="connsiteX22" fmla="*/ 362419 w 724831"/>
                  <a:gd name="connsiteY22" fmla="*/ 90610 h 217455"/>
                  <a:gd name="connsiteX23" fmla="*/ 380541 w 724831"/>
                  <a:gd name="connsiteY23" fmla="*/ 72488 h 217455"/>
                  <a:gd name="connsiteX24" fmla="*/ 398663 w 724831"/>
                  <a:gd name="connsiteY24" fmla="*/ 90610 h 217455"/>
                  <a:gd name="connsiteX25" fmla="*/ 398663 w 724831"/>
                  <a:gd name="connsiteY25" fmla="*/ 126853 h 217455"/>
                  <a:gd name="connsiteX26" fmla="*/ 380541 w 724831"/>
                  <a:gd name="connsiteY26" fmla="*/ 144976 h 217455"/>
                  <a:gd name="connsiteX27" fmla="*/ 362419 w 724831"/>
                  <a:gd name="connsiteY27" fmla="*/ 126853 h 21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24831" h="217455">
                    <a:moveTo>
                      <a:pt x="0" y="217456"/>
                    </a:moveTo>
                    <a:lnTo>
                      <a:pt x="724831" y="217456"/>
                    </a:lnTo>
                    <a:lnTo>
                      <a:pt x="724831" y="0"/>
                    </a:lnTo>
                    <a:lnTo>
                      <a:pt x="0" y="0"/>
                    </a:lnTo>
                    <a:close/>
                    <a:moveTo>
                      <a:pt x="579871" y="90610"/>
                    </a:moveTo>
                    <a:cubicBezTo>
                      <a:pt x="579871" y="80594"/>
                      <a:pt x="587976" y="72488"/>
                      <a:pt x="597994" y="72488"/>
                    </a:cubicBezTo>
                    <a:cubicBezTo>
                      <a:pt x="608012" y="72488"/>
                      <a:pt x="616116" y="80592"/>
                      <a:pt x="616116" y="90610"/>
                    </a:cubicBezTo>
                    <a:lnTo>
                      <a:pt x="616116" y="126853"/>
                    </a:lnTo>
                    <a:cubicBezTo>
                      <a:pt x="616116" y="136870"/>
                      <a:pt x="608012" y="144976"/>
                      <a:pt x="597994" y="144976"/>
                    </a:cubicBezTo>
                    <a:cubicBezTo>
                      <a:pt x="587976" y="144976"/>
                      <a:pt x="579871" y="136871"/>
                      <a:pt x="579871" y="126853"/>
                    </a:cubicBezTo>
                    <a:close/>
                    <a:moveTo>
                      <a:pt x="507385" y="90610"/>
                    </a:moveTo>
                    <a:cubicBezTo>
                      <a:pt x="507385" y="80594"/>
                      <a:pt x="515489" y="72488"/>
                      <a:pt x="525507" y="72488"/>
                    </a:cubicBezTo>
                    <a:cubicBezTo>
                      <a:pt x="535524" y="72488"/>
                      <a:pt x="543630" y="80592"/>
                      <a:pt x="543630" y="90610"/>
                    </a:cubicBezTo>
                    <a:lnTo>
                      <a:pt x="543630" y="126853"/>
                    </a:lnTo>
                    <a:cubicBezTo>
                      <a:pt x="543630" y="136870"/>
                      <a:pt x="535525" y="144976"/>
                      <a:pt x="525507" y="144976"/>
                    </a:cubicBezTo>
                    <a:cubicBezTo>
                      <a:pt x="515491" y="144976"/>
                      <a:pt x="507385" y="136871"/>
                      <a:pt x="507385" y="126853"/>
                    </a:cubicBezTo>
                    <a:close/>
                    <a:moveTo>
                      <a:pt x="434905" y="90610"/>
                    </a:moveTo>
                    <a:cubicBezTo>
                      <a:pt x="434905" y="80594"/>
                      <a:pt x="443009" y="72488"/>
                      <a:pt x="453027" y="72488"/>
                    </a:cubicBezTo>
                    <a:cubicBezTo>
                      <a:pt x="463044" y="72488"/>
                      <a:pt x="471150" y="80592"/>
                      <a:pt x="471150" y="90610"/>
                    </a:cubicBezTo>
                    <a:lnTo>
                      <a:pt x="471150" y="126853"/>
                    </a:lnTo>
                    <a:cubicBezTo>
                      <a:pt x="471150" y="136870"/>
                      <a:pt x="463045" y="144976"/>
                      <a:pt x="453027" y="144976"/>
                    </a:cubicBezTo>
                    <a:cubicBezTo>
                      <a:pt x="443011" y="144976"/>
                      <a:pt x="434905" y="136871"/>
                      <a:pt x="434905" y="126853"/>
                    </a:cubicBezTo>
                    <a:close/>
                    <a:moveTo>
                      <a:pt x="362419" y="90610"/>
                    </a:moveTo>
                    <a:cubicBezTo>
                      <a:pt x="362419" y="80594"/>
                      <a:pt x="370523" y="72488"/>
                      <a:pt x="380541" y="72488"/>
                    </a:cubicBezTo>
                    <a:cubicBezTo>
                      <a:pt x="390558" y="72488"/>
                      <a:pt x="398663" y="80592"/>
                      <a:pt x="398663" y="90610"/>
                    </a:cubicBezTo>
                    <a:lnTo>
                      <a:pt x="398663" y="126853"/>
                    </a:lnTo>
                    <a:cubicBezTo>
                      <a:pt x="398663" y="136870"/>
                      <a:pt x="390559" y="144976"/>
                      <a:pt x="380541" y="144976"/>
                    </a:cubicBezTo>
                    <a:cubicBezTo>
                      <a:pt x="370525" y="144976"/>
                      <a:pt x="362419" y="136871"/>
                      <a:pt x="362419" y="126853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169576D4-FFC1-4674-92D0-024B8975656B}"/>
                  </a:ext>
                </a:extLst>
              </p:cNvPr>
              <p:cNvSpPr/>
              <p:nvPr/>
            </p:nvSpPr>
            <p:spPr>
              <a:xfrm>
                <a:off x="3370309" y="6227166"/>
                <a:ext cx="724831" cy="217449"/>
              </a:xfrm>
              <a:custGeom>
                <a:avLst/>
                <a:gdLst>
                  <a:gd name="connsiteX0" fmla="*/ 6 w 724831"/>
                  <a:gd name="connsiteY0" fmla="*/ 108725 h 217449"/>
                  <a:gd name="connsiteX1" fmla="*/ 108731 w 724831"/>
                  <a:gd name="connsiteY1" fmla="*/ 217449 h 217449"/>
                  <a:gd name="connsiteX2" fmla="*/ 616107 w 724831"/>
                  <a:gd name="connsiteY2" fmla="*/ 217449 h 217449"/>
                  <a:gd name="connsiteX3" fmla="*/ 724831 w 724831"/>
                  <a:gd name="connsiteY3" fmla="*/ 108725 h 217449"/>
                  <a:gd name="connsiteX4" fmla="*/ 724831 w 724831"/>
                  <a:gd name="connsiteY4" fmla="*/ 0 h 217449"/>
                  <a:gd name="connsiteX5" fmla="*/ 0 w 724831"/>
                  <a:gd name="connsiteY5" fmla="*/ 0 h 217449"/>
                  <a:gd name="connsiteX6" fmla="*/ 579877 w 724831"/>
                  <a:gd name="connsiteY6" fmla="*/ 90602 h 217449"/>
                  <a:gd name="connsiteX7" fmla="*/ 598000 w 724831"/>
                  <a:gd name="connsiteY7" fmla="*/ 72480 h 217449"/>
                  <a:gd name="connsiteX8" fmla="*/ 616122 w 724831"/>
                  <a:gd name="connsiteY8" fmla="*/ 90602 h 217449"/>
                  <a:gd name="connsiteX9" fmla="*/ 616122 w 724831"/>
                  <a:gd name="connsiteY9" fmla="*/ 126845 h 217449"/>
                  <a:gd name="connsiteX10" fmla="*/ 598000 w 724831"/>
                  <a:gd name="connsiteY10" fmla="*/ 144968 h 217449"/>
                  <a:gd name="connsiteX11" fmla="*/ 579877 w 724831"/>
                  <a:gd name="connsiteY11" fmla="*/ 126845 h 217449"/>
                  <a:gd name="connsiteX12" fmla="*/ 507391 w 724831"/>
                  <a:gd name="connsiteY12" fmla="*/ 90602 h 217449"/>
                  <a:gd name="connsiteX13" fmla="*/ 525513 w 724831"/>
                  <a:gd name="connsiteY13" fmla="*/ 72480 h 217449"/>
                  <a:gd name="connsiteX14" fmla="*/ 543636 w 724831"/>
                  <a:gd name="connsiteY14" fmla="*/ 90602 h 217449"/>
                  <a:gd name="connsiteX15" fmla="*/ 543636 w 724831"/>
                  <a:gd name="connsiteY15" fmla="*/ 126845 h 217449"/>
                  <a:gd name="connsiteX16" fmla="*/ 525513 w 724831"/>
                  <a:gd name="connsiteY16" fmla="*/ 144968 h 217449"/>
                  <a:gd name="connsiteX17" fmla="*/ 507391 w 724831"/>
                  <a:gd name="connsiteY17" fmla="*/ 126845 h 217449"/>
                  <a:gd name="connsiteX18" fmla="*/ 434911 w 724831"/>
                  <a:gd name="connsiteY18" fmla="*/ 90602 h 217449"/>
                  <a:gd name="connsiteX19" fmla="*/ 453033 w 724831"/>
                  <a:gd name="connsiteY19" fmla="*/ 72480 h 217449"/>
                  <a:gd name="connsiteX20" fmla="*/ 471156 w 724831"/>
                  <a:gd name="connsiteY20" fmla="*/ 90602 h 217449"/>
                  <a:gd name="connsiteX21" fmla="*/ 471156 w 724831"/>
                  <a:gd name="connsiteY21" fmla="*/ 126845 h 217449"/>
                  <a:gd name="connsiteX22" fmla="*/ 453033 w 724831"/>
                  <a:gd name="connsiteY22" fmla="*/ 144968 h 217449"/>
                  <a:gd name="connsiteX23" fmla="*/ 434911 w 724831"/>
                  <a:gd name="connsiteY23" fmla="*/ 126845 h 217449"/>
                  <a:gd name="connsiteX24" fmla="*/ 362425 w 724831"/>
                  <a:gd name="connsiteY24" fmla="*/ 90602 h 217449"/>
                  <a:gd name="connsiteX25" fmla="*/ 380547 w 724831"/>
                  <a:gd name="connsiteY25" fmla="*/ 72480 h 217449"/>
                  <a:gd name="connsiteX26" fmla="*/ 398670 w 724831"/>
                  <a:gd name="connsiteY26" fmla="*/ 90602 h 217449"/>
                  <a:gd name="connsiteX27" fmla="*/ 398670 w 724831"/>
                  <a:gd name="connsiteY27" fmla="*/ 126845 h 217449"/>
                  <a:gd name="connsiteX28" fmla="*/ 380547 w 724831"/>
                  <a:gd name="connsiteY28" fmla="*/ 144968 h 217449"/>
                  <a:gd name="connsiteX29" fmla="*/ 362425 w 724831"/>
                  <a:gd name="connsiteY29" fmla="*/ 126845 h 217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24831" h="217449">
                    <a:moveTo>
                      <a:pt x="6" y="108725"/>
                    </a:moveTo>
                    <a:cubicBezTo>
                      <a:pt x="6" y="168676"/>
                      <a:pt x="48778" y="217449"/>
                      <a:pt x="108731" y="217449"/>
                    </a:cubicBezTo>
                    <a:lnTo>
                      <a:pt x="616107" y="217449"/>
                    </a:lnTo>
                    <a:cubicBezTo>
                      <a:pt x="676058" y="217449"/>
                      <a:pt x="724831" y="168678"/>
                      <a:pt x="724831" y="108725"/>
                    </a:cubicBezTo>
                    <a:lnTo>
                      <a:pt x="724831" y="0"/>
                    </a:lnTo>
                    <a:lnTo>
                      <a:pt x="0" y="0"/>
                    </a:lnTo>
                    <a:close/>
                    <a:moveTo>
                      <a:pt x="579877" y="90602"/>
                    </a:moveTo>
                    <a:cubicBezTo>
                      <a:pt x="579877" y="80586"/>
                      <a:pt x="587982" y="72480"/>
                      <a:pt x="598000" y="72480"/>
                    </a:cubicBezTo>
                    <a:cubicBezTo>
                      <a:pt x="608018" y="72480"/>
                      <a:pt x="616122" y="80584"/>
                      <a:pt x="616122" y="90602"/>
                    </a:cubicBezTo>
                    <a:lnTo>
                      <a:pt x="616122" y="126845"/>
                    </a:lnTo>
                    <a:cubicBezTo>
                      <a:pt x="616122" y="136862"/>
                      <a:pt x="608018" y="144968"/>
                      <a:pt x="598000" y="144968"/>
                    </a:cubicBezTo>
                    <a:cubicBezTo>
                      <a:pt x="587982" y="144968"/>
                      <a:pt x="579877" y="136864"/>
                      <a:pt x="579877" y="126845"/>
                    </a:cubicBezTo>
                    <a:close/>
                    <a:moveTo>
                      <a:pt x="507391" y="90602"/>
                    </a:moveTo>
                    <a:cubicBezTo>
                      <a:pt x="507391" y="80586"/>
                      <a:pt x="515495" y="72480"/>
                      <a:pt x="525513" y="72480"/>
                    </a:cubicBezTo>
                    <a:cubicBezTo>
                      <a:pt x="535530" y="72480"/>
                      <a:pt x="543636" y="80584"/>
                      <a:pt x="543636" y="90602"/>
                    </a:cubicBezTo>
                    <a:lnTo>
                      <a:pt x="543636" y="126845"/>
                    </a:lnTo>
                    <a:cubicBezTo>
                      <a:pt x="543636" y="136862"/>
                      <a:pt x="535531" y="144968"/>
                      <a:pt x="525513" y="144968"/>
                    </a:cubicBezTo>
                    <a:cubicBezTo>
                      <a:pt x="515497" y="144968"/>
                      <a:pt x="507391" y="136864"/>
                      <a:pt x="507391" y="126845"/>
                    </a:cubicBezTo>
                    <a:close/>
                    <a:moveTo>
                      <a:pt x="434911" y="90602"/>
                    </a:moveTo>
                    <a:cubicBezTo>
                      <a:pt x="434911" y="80586"/>
                      <a:pt x="443015" y="72480"/>
                      <a:pt x="453033" y="72480"/>
                    </a:cubicBezTo>
                    <a:cubicBezTo>
                      <a:pt x="463050" y="72480"/>
                      <a:pt x="471156" y="80584"/>
                      <a:pt x="471156" y="90602"/>
                    </a:cubicBezTo>
                    <a:lnTo>
                      <a:pt x="471156" y="126845"/>
                    </a:lnTo>
                    <a:cubicBezTo>
                      <a:pt x="471156" y="136862"/>
                      <a:pt x="463051" y="144968"/>
                      <a:pt x="453033" y="144968"/>
                    </a:cubicBezTo>
                    <a:cubicBezTo>
                      <a:pt x="443017" y="144968"/>
                      <a:pt x="434911" y="136864"/>
                      <a:pt x="434911" y="126845"/>
                    </a:cubicBezTo>
                    <a:close/>
                    <a:moveTo>
                      <a:pt x="362425" y="90602"/>
                    </a:moveTo>
                    <a:cubicBezTo>
                      <a:pt x="362425" y="80586"/>
                      <a:pt x="370529" y="72480"/>
                      <a:pt x="380547" y="72480"/>
                    </a:cubicBezTo>
                    <a:cubicBezTo>
                      <a:pt x="390564" y="72480"/>
                      <a:pt x="398670" y="80584"/>
                      <a:pt x="398670" y="90602"/>
                    </a:cubicBezTo>
                    <a:lnTo>
                      <a:pt x="398670" y="126845"/>
                    </a:lnTo>
                    <a:cubicBezTo>
                      <a:pt x="398670" y="136862"/>
                      <a:pt x="390565" y="144968"/>
                      <a:pt x="380547" y="144968"/>
                    </a:cubicBezTo>
                    <a:cubicBezTo>
                      <a:pt x="370531" y="144968"/>
                      <a:pt x="362425" y="136864"/>
                      <a:pt x="362425" y="126845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B5FA2C6A-6283-405E-8A48-5B73CC2A079B}"/>
                  </a:ext>
                </a:extLst>
              </p:cNvPr>
              <p:cNvSpPr/>
              <p:nvPr/>
            </p:nvSpPr>
            <p:spPr>
              <a:xfrm>
                <a:off x="3370334" y="5466084"/>
                <a:ext cx="724831" cy="217449"/>
              </a:xfrm>
              <a:custGeom>
                <a:avLst/>
                <a:gdLst>
                  <a:gd name="connsiteX0" fmla="*/ 616101 w 724831"/>
                  <a:gd name="connsiteY0" fmla="*/ 0 h 217449"/>
                  <a:gd name="connsiteX1" fmla="*/ 108725 w 724831"/>
                  <a:gd name="connsiteY1" fmla="*/ 0 h 217449"/>
                  <a:gd name="connsiteX2" fmla="*/ 0 w 724831"/>
                  <a:gd name="connsiteY2" fmla="*/ 108725 h 217449"/>
                  <a:gd name="connsiteX3" fmla="*/ 0 w 724831"/>
                  <a:gd name="connsiteY3" fmla="*/ 217449 h 217449"/>
                  <a:gd name="connsiteX4" fmla="*/ 724831 w 724831"/>
                  <a:gd name="connsiteY4" fmla="*/ 217449 h 217449"/>
                  <a:gd name="connsiteX5" fmla="*/ 724831 w 724831"/>
                  <a:gd name="connsiteY5" fmla="*/ 108725 h 217449"/>
                  <a:gd name="connsiteX6" fmla="*/ 616107 w 724831"/>
                  <a:gd name="connsiteY6" fmla="*/ 0 h 217449"/>
                  <a:gd name="connsiteX7" fmla="*/ 398645 w 724831"/>
                  <a:gd name="connsiteY7" fmla="*/ 126845 h 217449"/>
                  <a:gd name="connsiteX8" fmla="*/ 380523 w 724831"/>
                  <a:gd name="connsiteY8" fmla="*/ 144968 h 217449"/>
                  <a:gd name="connsiteX9" fmla="*/ 362400 w 724831"/>
                  <a:gd name="connsiteY9" fmla="*/ 126845 h 217449"/>
                  <a:gd name="connsiteX10" fmla="*/ 362400 w 724831"/>
                  <a:gd name="connsiteY10" fmla="*/ 90602 h 217449"/>
                  <a:gd name="connsiteX11" fmla="*/ 380523 w 724831"/>
                  <a:gd name="connsiteY11" fmla="*/ 72486 h 217449"/>
                  <a:gd name="connsiteX12" fmla="*/ 398645 w 724831"/>
                  <a:gd name="connsiteY12" fmla="*/ 90602 h 217449"/>
                  <a:gd name="connsiteX13" fmla="*/ 471125 w 724831"/>
                  <a:gd name="connsiteY13" fmla="*/ 126845 h 217449"/>
                  <a:gd name="connsiteX14" fmla="*/ 453009 w 724831"/>
                  <a:gd name="connsiteY14" fmla="*/ 144968 h 217449"/>
                  <a:gd name="connsiteX15" fmla="*/ 434886 w 724831"/>
                  <a:gd name="connsiteY15" fmla="*/ 126845 h 217449"/>
                  <a:gd name="connsiteX16" fmla="*/ 434886 w 724831"/>
                  <a:gd name="connsiteY16" fmla="*/ 90602 h 217449"/>
                  <a:gd name="connsiteX17" fmla="*/ 453009 w 724831"/>
                  <a:gd name="connsiteY17" fmla="*/ 72486 h 217449"/>
                  <a:gd name="connsiteX18" fmla="*/ 471125 w 724831"/>
                  <a:gd name="connsiteY18" fmla="*/ 90602 h 217449"/>
                  <a:gd name="connsiteX19" fmla="*/ 543611 w 724831"/>
                  <a:gd name="connsiteY19" fmla="*/ 126845 h 217449"/>
                  <a:gd name="connsiteX20" fmla="*/ 525489 w 724831"/>
                  <a:gd name="connsiteY20" fmla="*/ 144968 h 217449"/>
                  <a:gd name="connsiteX21" fmla="*/ 507367 w 724831"/>
                  <a:gd name="connsiteY21" fmla="*/ 126845 h 217449"/>
                  <a:gd name="connsiteX22" fmla="*/ 507367 w 724831"/>
                  <a:gd name="connsiteY22" fmla="*/ 90602 h 217449"/>
                  <a:gd name="connsiteX23" fmla="*/ 525489 w 724831"/>
                  <a:gd name="connsiteY23" fmla="*/ 72486 h 217449"/>
                  <a:gd name="connsiteX24" fmla="*/ 543611 w 724831"/>
                  <a:gd name="connsiteY24" fmla="*/ 90602 h 217449"/>
                  <a:gd name="connsiteX25" fmla="*/ 616091 w 724831"/>
                  <a:gd name="connsiteY25" fmla="*/ 126845 h 217449"/>
                  <a:gd name="connsiteX26" fmla="*/ 597969 w 724831"/>
                  <a:gd name="connsiteY26" fmla="*/ 144968 h 217449"/>
                  <a:gd name="connsiteX27" fmla="*/ 579853 w 724831"/>
                  <a:gd name="connsiteY27" fmla="*/ 126845 h 217449"/>
                  <a:gd name="connsiteX28" fmla="*/ 579853 w 724831"/>
                  <a:gd name="connsiteY28" fmla="*/ 90602 h 217449"/>
                  <a:gd name="connsiteX29" fmla="*/ 597969 w 724831"/>
                  <a:gd name="connsiteY29" fmla="*/ 72486 h 217449"/>
                  <a:gd name="connsiteX30" fmla="*/ 616091 w 724831"/>
                  <a:gd name="connsiteY30" fmla="*/ 90602 h 217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724831" h="217449">
                    <a:moveTo>
                      <a:pt x="616101" y="0"/>
                    </a:moveTo>
                    <a:lnTo>
                      <a:pt x="108725" y="0"/>
                    </a:lnTo>
                    <a:cubicBezTo>
                      <a:pt x="48773" y="0"/>
                      <a:pt x="0" y="48772"/>
                      <a:pt x="0" y="108725"/>
                    </a:cubicBezTo>
                    <a:lnTo>
                      <a:pt x="0" y="217449"/>
                    </a:lnTo>
                    <a:lnTo>
                      <a:pt x="724831" y="217449"/>
                    </a:lnTo>
                    <a:lnTo>
                      <a:pt x="724831" y="108725"/>
                    </a:lnTo>
                    <a:cubicBezTo>
                      <a:pt x="724831" y="48773"/>
                      <a:pt x="676066" y="0"/>
                      <a:pt x="616107" y="0"/>
                    </a:cubicBezTo>
                    <a:close/>
                    <a:moveTo>
                      <a:pt x="398645" y="126845"/>
                    </a:moveTo>
                    <a:cubicBezTo>
                      <a:pt x="398645" y="136862"/>
                      <a:pt x="390541" y="144968"/>
                      <a:pt x="380523" y="144968"/>
                    </a:cubicBezTo>
                    <a:cubicBezTo>
                      <a:pt x="370506" y="144968"/>
                      <a:pt x="362400" y="136864"/>
                      <a:pt x="362400" y="126845"/>
                    </a:cubicBezTo>
                    <a:lnTo>
                      <a:pt x="362400" y="90602"/>
                    </a:lnTo>
                    <a:cubicBezTo>
                      <a:pt x="362400" y="80592"/>
                      <a:pt x="370505" y="72486"/>
                      <a:pt x="380523" y="72486"/>
                    </a:cubicBezTo>
                    <a:cubicBezTo>
                      <a:pt x="390539" y="72486"/>
                      <a:pt x="398645" y="80591"/>
                      <a:pt x="398645" y="90602"/>
                    </a:cubicBezTo>
                    <a:close/>
                    <a:moveTo>
                      <a:pt x="471125" y="126845"/>
                    </a:moveTo>
                    <a:cubicBezTo>
                      <a:pt x="471125" y="136862"/>
                      <a:pt x="463021" y="144968"/>
                      <a:pt x="453009" y="144968"/>
                    </a:cubicBezTo>
                    <a:cubicBezTo>
                      <a:pt x="442992" y="144968"/>
                      <a:pt x="434886" y="136864"/>
                      <a:pt x="434886" y="126845"/>
                    </a:cubicBezTo>
                    <a:lnTo>
                      <a:pt x="434886" y="90602"/>
                    </a:lnTo>
                    <a:cubicBezTo>
                      <a:pt x="434886" y="80592"/>
                      <a:pt x="442991" y="72486"/>
                      <a:pt x="453009" y="72486"/>
                    </a:cubicBezTo>
                    <a:cubicBezTo>
                      <a:pt x="463019" y="72486"/>
                      <a:pt x="471125" y="80591"/>
                      <a:pt x="471125" y="90602"/>
                    </a:cubicBezTo>
                    <a:close/>
                    <a:moveTo>
                      <a:pt x="543611" y="126845"/>
                    </a:moveTo>
                    <a:cubicBezTo>
                      <a:pt x="543611" y="136862"/>
                      <a:pt x="535507" y="144968"/>
                      <a:pt x="525489" y="144968"/>
                    </a:cubicBezTo>
                    <a:cubicBezTo>
                      <a:pt x="515472" y="144968"/>
                      <a:pt x="507367" y="136864"/>
                      <a:pt x="507367" y="126845"/>
                    </a:cubicBezTo>
                    <a:lnTo>
                      <a:pt x="507367" y="90602"/>
                    </a:lnTo>
                    <a:cubicBezTo>
                      <a:pt x="507367" y="80592"/>
                      <a:pt x="515471" y="72486"/>
                      <a:pt x="525489" y="72486"/>
                    </a:cubicBezTo>
                    <a:cubicBezTo>
                      <a:pt x="535505" y="72486"/>
                      <a:pt x="543611" y="80591"/>
                      <a:pt x="543611" y="90602"/>
                    </a:cubicBezTo>
                    <a:close/>
                    <a:moveTo>
                      <a:pt x="616091" y="126845"/>
                    </a:moveTo>
                    <a:cubicBezTo>
                      <a:pt x="616091" y="136862"/>
                      <a:pt x="607987" y="144968"/>
                      <a:pt x="597969" y="144968"/>
                    </a:cubicBezTo>
                    <a:cubicBezTo>
                      <a:pt x="587959" y="144968"/>
                      <a:pt x="579853" y="136864"/>
                      <a:pt x="579853" y="126845"/>
                    </a:cubicBezTo>
                    <a:lnTo>
                      <a:pt x="579853" y="90602"/>
                    </a:lnTo>
                    <a:cubicBezTo>
                      <a:pt x="579853" y="80592"/>
                      <a:pt x="587957" y="72486"/>
                      <a:pt x="597969" y="72486"/>
                    </a:cubicBezTo>
                    <a:cubicBezTo>
                      <a:pt x="607985" y="72486"/>
                      <a:pt x="616091" y="80591"/>
                      <a:pt x="616091" y="90602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C04DC32-C5EC-408F-8F9E-891DB8F8A230}"/>
                  </a:ext>
                </a:extLst>
              </p:cNvPr>
              <p:cNvSpPr/>
              <p:nvPr/>
            </p:nvSpPr>
            <p:spPr>
              <a:xfrm>
                <a:off x="3080377" y="5429839"/>
                <a:ext cx="217480" cy="217455"/>
              </a:xfrm>
              <a:custGeom>
                <a:avLst/>
                <a:gdLst>
                  <a:gd name="connsiteX0" fmla="*/ 3840 w 217480"/>
                  <a:gd name="connsiteY0" fmla="*/ 161178 h 217455"/>
                  <a:gd name="connsiteX1" fmla="*/ 36294 w 217480"/>
                  <a:gd name="connsiteY1" fmla="*/ 181212 h 217455"/>
                  <a:gd name="connsiteX2" fmla="*/ 52467 w 217480"/>
                  <a:gd name="connsiteY2" fmla="*/ 177388 h 217455"/>
                  <a:gd name="connsiteX3" fmla="*/ 72502 w 217480"/>
                  <a:gd name="connsiteY3" fmla="*/ 167376 h 217455"/>
                  <a:gd name="connsiteX4" fmla="*/ 72502 w 217480"/>
                  <a:gd name="connsiteY4" fmla="*/ 181212 h 217455"/>
                  <a:gd name="connsiteX5" fmla="*/ 108745 w 217480"/>
                  <a:gd name="connsiteY5" fmla="*/ 217456 h 217455"/>
                  <a:gd name="connsiteX6" fmla="*/ 144988 w 217480"/>
                  <a:gd name="connsiteY6" fmla="*/ 181212 h 217455"/>
                  <a:gd name="connsiteX7" fmla="*/ 144982 w 217480"/>
                  <a:gd name="connsiteY7" fmla="*/ 167376 h 217455"/>
                  <a:gd name="connsiteX8" fmla="*/ 165016 w 217480"/>
                  <a:gd name="connsiteY8" fmla="*/ 177394 h 217455"/>
                  <a:gd name="connsiteX9" fmla="*/ 181189 w 217480"/>
                  <a:gd name="connsiteY9" fmla="*/ 181212 h 217455"/>
                  <a:gd name="connsiteX10" fmla="*/ 213644 w 217480"/>
                  <a:gd name="connsiteY10" fmla="*/ 161178 h 217455"/>
                  <a:gd name="connsiteX11" fmla="*/ 197435 w 217480"/>
                  <a:gd name="connsiteY11" fmla="*/ 112549 h 217455"/>
                  <a:gd name="connsiteX12" fmla="*/ 189792 w 217480"/>
                  <a:gd name="connsiteY12" fmla="*/ 108731 h 217455"/>
                  <a:gd name="connsiteX13" fmla="*/ 197435 w 217480"/>
                  <a:gd name="connsiteY13" fmla="*/ 104907 h 217455"/>
                  <a:gd name="connsiteX14" fmla="*/ 213644 w 217480"/>
                  <a:gd name="connsiteY14" fmla="*/ 56276 h 217455"/>
                  <a:gd name="connsiteX15" fmla="*/ 165015 w 217480"/>
                  <a:gd name="connsiteY15" fmla="*/ 40069 h 217455"/>
                  <a:gd name="connsiteX16" fmla="*/ 144980 w 217480"/>
                  <a:gd name="connsiteY16" fmla="*/ 50085 h 217455"/>
                  <a:gd name="connsiteX17" fmla="*/ 144980 w 217480"/>
                  <a:gd name="connsiteY17" fmla="*/ 36243 h 217455"/>
                  <a:gd name="connsiteX18" fmla="*/ 108737 w 217480"/>
                  <a:gd name="connsiteY18" fmla="*/ 0 h 217455"/>
                  <a:gd name="connsiteX19" fmla="*/ 72500 w 217480"/>
                  <a:gd name="connsiteY19" fmla="*/ 36243 h 217455"/>
                  <a:gd name="connsiteX20" fmla="*/ 72500 w 217480"/>
                  <a:gd name="connsiteY20" fmla="*/ 50079 h 217455"/>
                  <a:gd name="connsiteX21" fmla="*/ 52466 w 217480"/>
                  <a:gd name="connsiteY21" fmla="*/ 40069 h 217455"/>
                  <a:gd name="connsiteX22" fmla="*/ 3837 w 217480"/>
                  <a:gd name="connsiteY22" fmla="*/ 56276 h 217455"/>
                  <a:gd name="connsiteX23" fmla="*/ 20045 w 217480"/>
                  <a:gd name="connsiteY23" fmla="*/ 104907 h 217455"/>
                  <a:gd name="connsiteX24" fmla="*/ 27689 w 217480"/>
                  <a:gd name="connsiteY24" fmla="*/ 108731 h 217455"/>
                  <a:gd name="connsiteX25" fmla="*/ 20045 w 217480"/>
                  <a:gd name="connsiteY25" fmla="*/ 112549 h 217455"/>
                  <a:gd name="connsiteX26" fmla="*/ 3837 w 217480"/>
                  <a:gd name="connsiteY26" fmla="*/ 161178 h 21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7480" h="217455">
                    <a:moveTo>
                      <a:pt x="3840" y="161178"/>
                    </a:moveTo>
                    <a:cubicBezTo>
                      <a:pt x="10194" y="173886"/>
                      <a:pt x="22987" y="181212"/>
                      <a:pt x="36294" y="181212"/>
                    </a:cubicBezTo>
                    <a:cubicBezTo>
                      <a:pt x="41725" y="181212"/>
                      <a:pt x="47263" y="179989"/>
                      <a:pt x="52467" y="177388"/>
                    </a:cubicBezTo>
                    <a:lnTo>
                      <a:pt x="72502" y="167376"/>
                    </a:lnTo>
                    <a:lnTo>
                      <a:pt x="72502" y="181212"/>
                    </a:lnTo>
                    <a:cubicBezTo>
                      <a:pt x="72502" y="201228"/>
                      <a:pt x="88729" y="217456"/>
                      <a:pt x="108745" y="217456"/>
                    </a:cubicBezTo>
                    <a:cubicBezTo>
                      <a:pt x="128761" y="217456"/>
                      <a:pt x="144988" y="201228"/>
                      <a:pt x="144988" y="181212"/>
                    </a:cubicBezTo>
                    <a:lnTo>
                      <a:pt x="144982" y="167376"/>
                    </a:lnTo>
                    <a:lnTo>
                      <a:pt x="165016" y="177394"/>
                    </a:lnTo>
                    <a:cubicBezTo>
                      <a:pt x="170220" y="179989"/>
                      <a:pt x="175758" y="181212"/>
                      <a:pt x="181189" y="181212"/>
                    </a:cubicBezTo>
                    <a:cubicBezTo>
                      <a:pt x="194498" y="181212"/>
                      <a:pt x="207290" y="173888"/>
                      <a:pt x="213644" y="161178"/>
                    </a:cubicBezTo>
                    <a:cubicBezTo>
                      <a:pt x="222600" y="143272"/>
                      <a:pt x="215341" y="121505"/>
                      <a:pt x="197435" y="112549"/>
                    </a:cubicBezTo>
                    <a:lnTo>
                      <a:pt x="189792" y="108731"/>
                    </a:lnTo>
                    <a:lnTo>
                      <a:pt x="197435" y="104907"/>
                    </a:lnTo>
                    <a:cubicBezTo>
                      <a:pt x="215341" y="95951"/>
                      <a:pt x="222600" y="74182"/>
                      <a:pt x="213644" y="56276"/>
                    </a:cubicBezTo>
                    <a:cubicBezTo>
                      <a:pt x="204706" y="38384"/>
                      <a:pt x="182957" y="31113"/>
                      <a:pt x="165015" y="40069"/>
                    </a:cubicBezTo>
                    <a:lnTo>
                      <a:pt x="144980" y="50085"/>
                    </a:lnTo>
                    <a:lnTo>
                      <a:pt x="144980" y="36243"/>
                    </a:lnTo>
                    <a:cubicBezTo>
                      <a:pt x="144980" y="16227"/>
                      <a:pt x="128753" y="0"/>
                      <a:pt x="108737" y="0"/>
                    </a:cubicBezTo>
                    <a:cubicBezTo>
                      <a:pt x="88727" y="0"/>
                      <a:pt x="72500" y="16227"/>
                      <a:pt x="72500" y="36243"/>
                    </a:cubicBezTo>
                    <a:lnTo>
                      <a:pt x="72500" y="50079"/>
                    </a:lnTo>
                    <a:lnTo>
                      <a:pt x="52466" y="40069"/>
                    </a:lnTo>
                    <a:cubicBezTo>
                      <a:pt x="34506" y="31113"/>
                      <a:pt x="12776" y="38384"/>
                      <a:pt x="3837" y="56276"/>
                    </a:cubicBezTo>
                    <a:cubicBezTo>
                      <a:pt x="-5119" y="74182"/>
                      <a:pt x="2141" y="95951"/>
                      <a:pt x="20045" y="104907"/>
                    </a:cubicBezTo>
                    <a:lnTo>
                      <a:pt x="27689" y="108731"/>
                    </a:lnTo>
                    <a:lnTo>
                      <a:pt x="20045" y="112549"/>
                    </a:lnTo>
                    <a:cubicBezTo>
                      <a:pt x="2139" y="121505"/>
                      <a:pt x="-5119" y="143272"/>
                      <a:pt x="3837" y="161178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2C4792F-5DB6-4887-9DBE-F331505EF1D0}"/>
                  </a:ext>
                </a:extLst>
              </p:cNvPr>
              <p:cNvSpPr/>
              <p:nvPr/>
            </p:nvSpPr>
            <p:spPr>
              <a:xfrm>
                <a:off x="3080364" y="6227161"/>
                <a:ext cx="217483" cy="217453"/>
              </a:xfrm>
              <a:custGeom>
                <a:avLst/>
                <a:gdLst>
                  <a:gd name="connsiteX0" fmla="*/ 213650 w 217483"/>
                  <a:gd name="connsiteY0" fmla="*/ 56276 h 217453"/>
                  <a:gd name="connsiteX1" fmla="*/ 165021 w 217483"/>
                  <a:gd name="connsiteY1" fmla="*/ 40067 h 217453"/>
                  <a:gd name="connsiteX2" fmla="*/ 144986 w 217483"/>
                  <a:gd name="connsiteY2" fmla="*/ 50078 h 217453"/>
                  <a:gd name="connsiteX3" fmla="*/ 144986 w 217483"/>
                  <a:gd name="connsiteY3" fmla="*/ 36243 h 217453"/>
                  <a:gd name="connsiteX4" fmla="*/ 108743 w 217483"/>
                  <a:gd name="connsiteY4" fmla="*/ 0 h 217453"/>
                  <a:gd name="connsiteX5" fmla="*/ 72500 w 217483"/>
                  <a:gd name="connsiteY5" fmla="*/ 36243 h 217453"/>
                  <a:gd name="connsiteX6" fmla="*/ 72500 w 217483"/>
                  <a:gd name="connsiteY6" fmla="*/ 50078 h 217453"/>
                  <a:gd name="connsiteX7" fmla="*/ 52466 w 217483"/>
                  <a:gd name="connsiteY7" fmla="*/ 40061 h 217453"/>
                  <a:gd name="connsiteX8" fmla="*/ 3837 w 217483"/>
                  <a:gd name="connsiteY8" fmla="*/ 56270 h 217453"/>
                  <a:gd name="connsiteX9" fmla="*/ 20045 w 217483"/>
                  <a:gd name="connsiteY9" fmla="*/ 104899 h 217453"/>
                  <a:gd name="connsiteX10" fmla="*/ 27694 w 217483"/>
                  <a:gd name="connsiteY10" fmla="*/ 108723 h 217453"/>
                  <a:gd name="connsiteX11" fmla="*/ 20051 w 217483"/>
                  <a:gd name="connsiteY11" fmla="*/ 112547 h 217453"/>
                  <a:gd name="connsiteX12" fmla="*/ 3843 w 217483"/>
                  <a:gd name="connsiteY12" fmla="*/ 161176 h 217453"/>
                  <a:gd name="connsiteX13" fmla="*/ 36297 w 217483"/>
                  <a:gd name="connsiteY13" fmla="*/ 181211 h 217453"/>
                  <a:gd name="connsiteX14" fmla="*/ 52470 w 217483"/>
                  <a:gd name="connsiteY14" fmla="*/ 177387 h 217453"/>
                  <a:gd name="connsiteX15" fmla="*/ 72505 w 217483"/>
                  <a:gd name="connsiteY15" fmla="*/ 167370 h 217453"/>
                  <a:gd name="connsiteX16" fmla="*/ 72505 w 217483"/>
                  <a:gd name="connsiteY16" fmla="*/ 181211 h 217453"/>
                  <a:gd name="connsiteX17" fmla="*/ 108748 w 217483"/>
                  <a:gd name="connsiteY17" fmla="*/ 217454 h 217453"/>
                  <a:gd name="connsiteX18" fmla="*/ 144991 w 217483"/>
                  <a:gd name="connsiteY18" fmla="*/ 181211 h 217453"/>
                  <a:gd name="connsiteX19" fmla="*/ 144991 w 217483"/>
                  <a:gd name="connsiteY19" fmla="*/ 167376 h 217453"/>
                  <a:gd name="connsiteX20" fmla="*/ 165025 w 217483"/>
                  <a:gd name="connsiteY20" fmla="*/ 177393 h 217453"/>
                  <a:gd name="connsiteX21" fmla="*/ 181193 w 217483"/>
                  <a:gd name="connsiteY21" fmla="*/ 181211 h 217453"/>
                  <a:gd name="connsiteX22" fmla="*/ 213647 w 217483"/>
                  <a:gd name="connsiteY22" fmla="*/ 161176 h 217453"/>
                  <a:gd name="connsiteX23" fmla="*/ 197438 w 217483"/>
                  <a:gd name="connsiteY23" fmla="*/ 112547 h 217453"/>
                  <a:gd name="connsiteX24" fmla="*/ 189794 w 217483"/>
                  <a:gd name="connsiteY24" fmla="*/ 108723 h 217453"/>
                  <a:gd name="connsiteX25" fmla="*/ 197438 w 217483"/>
                  <a:gd name="connsiteY25" fmla="*/ 104899 h 217453"/>
                  <a:gd name="connsiteX26" fmla="*/ 213647 w 217483"/>
                  <a:gd name="connsiteY26" fmla="*/ 56276 h 21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7483" h="217453">
                    <a:moveTo>
                      <a:pt x="213650" y="56276"/>
                    </a:moveTo>
                    <a:cubicBezTo>
                      <a:pt x="204712" y="38388"/>
                      <a:pt x="182964" y="31074"/>
                      <a:pt x="165021" y="40067"/>
                    </a:cubicBezTo>
                    <a:lnTo>
                      <a:pt x="144986" y="50078"/>
                    </a:lnTo>
                    <a:lnTo>
                      <a:pt x="144986" y="36243"/>
                    </a:lnTo>
                    <a:cubicBezTo>
                      <a:pt x="144986" y="16227"/>
                      <a:pt x="128759" y="0"/>
                      <a:pt x="108743" y="0"/>
                    </a:cubicBezTo>
                    <a:cubicBezTo>
                      <a:pt x="88727" y="0"/>
                      <a:pt x="72500" y="16227"/>
                      <a:pt x="72500" y="36243"/>
                    </a:cubicBezTo>
                    <a:lnTo>
                      <a:pt x="72500" y="50078"/>
                    </a:lnTo>
                    <a:lnTo>
                      <a:pt x="52466" y="40061"/>
                    </a:lnTo>
                    <a:cubicBezTo>
                      <a:pt x="34506" y="31070"/>
                      <a:pt x="12776" y="38382"/>
                      <a:pt x="3837" y="56270"/>
                    </a:cubicBezTo>
                    <a:cubicBezTo>
                      <a:pt x="-5119" y="74176"/>
                      <a:pt x="2139" y="95943"/>
                      <a:pt x="20045" y="104899"/>
                    </a:cubicBezTo>
                    <a:lnTo>
                      <a:pt x="27694" y="108723"/>
                    </a:lnTo>
                    <a:lnTo>
                      <a:pt x="20051" y="112547"/>
                    </a:lnTo>
                    <a:cubicBezTo>
                      <a:pt x="2145" y="121503"/>
                      <a:pt x="-5113" y="143272"/>
                      <a:pt x="3843" y="161176"/>
                    </a:cubicBezTo>
                    <a:cubicBezTo>
                      <a:pt x="10196" y="173886"/>
                      <a:pt x="22990" y="181211"/>
                      <a:pt x="36297" y="181211"/>
                    </a:cubicBezTo>
                    <a:cubicBezTo>
                      <a:pt x="41728" y="181211"/>
                      <a:pt x="47266" y="179989"/>
                      <a:pt x="52470" y="177387"/>
                    </a:cubicBezTo>
                    <a:lnTo>
                      <a:pt x="72505" y="167370"/>
                    </a:lnTo>
                    <a:lnTo>
                      <a:pt x="72505" y="181211"/>
                    </a:lnTo>
                    <a:cubicBezTo>
                      <a:pt x="72505" y="201228"/>
                      <a:pt x="88732" y="217454"/>
                      <a:pt x="108748" y="217454"/>
                    </a:cubicBezTo>
                    <a:cubicBezTo>
                      <a:pt x="128764" y="217454"/>
                      <a:pt x="144991" y="201228"/>
                      <a:pt x="144991" y="181211"/>
                    </a:cubicBezTo>
                    <a:lnTo>
                      <a:pt x="144991" y="167376"/>
                    </a:lnTo>
                    <a:lnTo>
                      <a:pt x="165025" y="177393"/>
                    </a:lnTo>
                    <a:cubicBezTo>
                      <a:pt x="170223" y="179989"/>
                      <a:pt x="175762" y="181211"/>
                      <a:pt x="181193" y="181211"/>
                    </a:cubicBezTo>
                    <a:cubicBezTo>
                      <a:pt x="194501" y="181211"/>
                      <a:pt x="207293" y="173886"/>
                      <a:pt x="213647" y="161176"/>
                    </a:cubicBezTo>
                    <a:cubicBezTo>
                      <a:pt x="222603" y="143272"/>
                      <a:pt x="215342" y="121503"/>
                      <a:pt x="197438" y="112547"/>
                    </a:cubicBezTo>
                    <a:lnTo>
                      <a:pt x="189794" y="108723"/>
                    </a:lnTo>
                    <a:lnTo>
                      <a:pt x="197438" y="104899"/>
                    </a:lnTo>
                    <a:cubicBezTo>
                      <a:pt x="215344" y="95949"/>
                      <a:pt x="222603" y="74182"/>
                      <a:pt x="213647" y="56276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5282CE4-9ED4-477E-AD64-6AF56A57C967}"/>
                  </a:ext>
                </a:extLst>
              </p:cNvPr>
              <p:cNvSpPr/>
              <p:nvPr/>
            </p:nvSpPr>
            <p:spPr>
              <a:xfrm>
                <a:off x="3080379" y="5792275"/>
                <a:ext cx="217454" cy="289927"/>
              </a:xfrm>
              <a:custGeom>
                <a:avLst/>
                <a:gdLst>
                  <a:gd name="connsiteX0" fmla="*/ 57994 w 217454"/>
                  <a:gd name="connsiteY0" fmla="*/ 7251 h 289927"/>
                  <a:gd name="connsiteX1" fmla="*/ 7261 w 217454"/>
                  <a:gd name="connsiteY1" fmla="*/ 14487 h 289927"/>
                  <a:gd name="connsiteX2" fmla="*/ 14497 w 217454"/>
                  <a:gd name="connsiteY2" fmla="*/ 65220 h 289927"/>
                  <a:gd name="connsiteX3" fmla="*/ 120817 w 217454"/>
                  <a:gd name="connsiteY3" fmla="*/ 144960 h 289927"/>
                  <a:gd name="connsiteX4" fmla="*/ 14497 w 217454"/>
                  <a:gd name="connsiteY4" fmla="*/ 224700 h 289927"/>
                  <a:gd name="connsiteX5" fmla="*/ 7261 w 217454"/>
                  <a:gd name="connsiteY5" fmla="*/ 275433 h 289927"/>
                  <a:gd name="connsiteX6" fmla="*/ 36281 w 217454"/>
                  <a:gd name="connsiteY6" fmla="*/ 289928 h 289927"/>
                  <a:gd name="connsiteX7" fmla="*/ 57992 w 217454"/>
                  <a:gd name="connsiteY7" fmla="*/ 282675 h 289927"/>
                  <a:gd name="connsiteX8" fmla="*/ 202960 w 217454"/>
                  <a:gd name="connsiteY8" fmla="*/ 173951 h 289927"/>
                  <a:gd name="connsiteX9" fmla="*/ 217455 w 217454"/>
                  <a:gd name="connsiteY9" fmla="*/ 144960 h 289927"/>
                  <a:gd name="connsiteX10" fmla="*/ 202960 w 217454"/>
                  <a:gd name="connsiteY10" fmla="*/ 115974 h 289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7454" h="289927">
                    <a:moveTo>
                      <a:pt x="57994" y="7251"/>
                    </a:moveTo>
                    <a:cubicBezTo>
                      <a:pt x="41975" y="-4762"/>
                      <a:pt x="19239" y="-1507"/>
                      <a:pt x="7261" y="14487"/>
                    </a:cubicBezTo>
                    <a:cubicBezTo>
                      <a:pt x="-4752" y="30505"/>
                      <a:pt x="-1516" y="53224"/>
                      <a:pt x="14497" y="65220"/>
                    </a:cubicBezTo>
                    <a:lnTo>
                      <a:pt x="120817" y="144960"/>
                    </a:lnTo>
                    <a:lnTo>
                      <a:pt x="14497" y="224700"/>
                    </a:lnTo>
                    <a:cubicBezTo>
                      <a:pt x="-1522" y="236695"/>
                      <a:pt x="-4758" y="259421"/>
                      <a:pt x="7261" y="275433"/>
                    </a:cubicBezTo>
                    <a:cubicBezTo>
                      <a:pt x="14371" y="284922"/>
                      <a:pt x="25257" y="289928"/>
                      <a:pt x="36281" y="289928"/>
                    </a:cubicBezTo>
                    <a:cubicBezTo>
                      <a:pt x="43840" y="289928"/>
                      <a:pt x="51464" y="287572"/>
                      <a:pt x="57992" y="282675"/>
                    </a:cubicBezTo>
                    <a:lnTo>
                      <a:pt x="202960" y="173951"/>
                    </a:lnTo>
                    <a:cubicBezTo>
                      <a:pt x="212090" y="167115"/>
                      <a:pt x="217455" y="156375"/>
                      <a:pt x="217455" y="144960"/>
                    </a:cubicBezTo>
                    <a:cubicBezTo>
                      <a:pt x="217455" y="133546"/>
                      <a:pt x="212096" y="122803"/>
                      <a:pt x="202960" y="115974"/>
                    </a:cubicBez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63" name="Graphic 352">
              <a:extLst>
                <a:ext uri="{FF2B5EF4-FFF2-40B4-BE49-F238E27FC236}">
                  <a16:creationId xmlns:a16="http://schemas.microsoft.com/office/drawing/2014/main" id="{9A295EC1-9F10-412E-94BE-93ACAC5454BD}"/>
                </a:ext>
              </a:extLst>
            </p:cNvPr>
            <p:cNvGrpSpPr/>
            <p:nvPr/>
          </p:nvGrpSpPr>
          <p:grpSpPr>
            <a:xfrm>
              <a:off x="7921351" y="3272646"/>
              <a:ext cx="386108" cy="383588"/>
              <a:chOff x="4105219" y="1438282"/>
              <a:chExt cx="4049039" cy="4049003"/>
            </a:xfrm>
            <a:solidFill>
              <a:schemeClr val="accent2"/>
            </a:solidFill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72B387A-A958-465F-9667-05F935ED7147}"/>
                  </a:ext>
                </a:extLst>
              </p:cNvPr>
              <p:cNvSpPr/>
              <p:nvPr/>
            </p:nvSpPr>
            <p:spPr>
              <a:xfrm>
                <a:off x="4105299" y="1438282"/>
                <a:ext cx="1771404" cy="818062"/>
              </a:xfrm>
              <a:custGeom>
                <a:avLst/>
                <a:gdLst>
                  <a:gd name="connsiteX0" fmla="*/ 863588 w 1771404"/>
                  <a:gd name="connsiteY0" fmla="*/ 818057 h 818062"/>
                  <a:gd name="connsiteX1" fmla="*/ 405051 w 1771404"/>
                  <a:gd name="connsiteY1" fmla="*/ 759432 h 818062"/>
                  <a:gd name="connsiteX2" fmla="*/ 86371 w 1771404"/>
                  <a:gd name="connsiteY2" fmla="*/ 595526 h 818062"/>
                  <a:gd name="connsiteX3" fmla="*/ 24466 w 1771404"/>
                  <a:gd name="connsiteY3" fmla="*/ 511521 h 818062"/>
                  <a:gd name="connsiteX4" fmla="*/ 0 w 1771404"/>
                  <a:gd name="connsiteY4" fmla="*/ 409028 h 818062"/>
                  <a:gd name="connsiteX5" fmla="*/ 24466 w 1771404"/>
                  <a:gd name="connsiteY5" fmla="*/ 306535 h 818062"/>
                  <a:gd name="connsiteX6" fmla="*/ 86371 w 1771404"/>
                  <a:gd name="connsiteY6" fmla="*/ 222531 h 818062"/>
                  <a:gd name="connsiteX7" fmla="*/ 280121 w 1771404"/>
                  <a:gd name="connsiteY7" fmla="*/ 101578 h 818062"/>
                  <a:gd name="connsiteX8" fmla="*/ 545668 w 1771404"/>
                  <a:gd name="connsiteY8" fmla="*/ 26746 h 818062"/>
                  <a:gd name="connsiteX9" fmla="*/ 863588 w 1771404"/>
                  <a:gd name="connsiteY9" fmla="*/ 0 h 818062"/>
                  <a:gd name="connsiteX10" fmla="*/ 865017 w 1771404"/>
                  <a:gd name="connsiteY10" fmla="*/ 0 h 818062"/>
                  <a:gd name="connsiteX11" fmla="*/ 924733 w 1771404"/>
                  <a:gd name="connsiteY11" fmla="*/ 24803 h 818062"/>
                  <a:gd name="connsiteX12" fmla="*/ 949359 w 1771404"/>
                  <a:gd name="connsiteY12" fmla="*/ 84433 h 818062"/>
                  <a:gd name="connsiteX13" fmla="*/ 864994 w 1771404"/>
                  <a:gd name="connsiteY13" fmla="*/ 168707 h 818062"/>
                  <a:gd name="connsiteX14" fmla="*/ 862891 w 1771404"/>
                  <a:gd name="connsiteY14" fmla="*/ 168707 h 818062"/>
                  <a:gd name="connsiteX15" fmla="*/ 450742 w 1771404"/>
                  <a:gd name="connsiteY15" fmla="*/ 221010 h 818062"/>
                  <a:gd name="connsiteX16" fmla="*/ 204774 w 1771404"/>
                  <a:gd name="connsiteY16" fmla="*/ 342723 h 818062"/>
                  <a:gd name="connsiteX17" fmla="*/ 168678 w 1771404"/>
                  <a:gd name="connsiteY17" fmla="*/ 409028 h 818062"/>
                  <a:gd name="connsiteX18" fmla="*/ 204774 w 1771404"/>
                  <a:gd name="connsiteY18" fmla="*/ 475334 h 818062"/>
                  <a:gd name="connsiteX19" fmla="*/ 344969 w 1771404"/>
                  <a:gd name="connsiteY19" fmla="*/ 560790 h 818062"/>
                  <a:gd name="connsiteX20" fmla="*/ 861730 w 1771404"/>
                  <a:gd name="connsiteY20" fmla="*/ 649350 h 818062"/>
                  <a:gd name="connsiteX21" fmla="*/ 863765 w 1771404"/>
                  <a:gd name="connsiteY21" fmla="*/ 649350 h 818062"/>
                  <a:gd name="connsiteX22" fmla="*/ 1243944 w 1771404"/>
                  <a:gd name="connsiteY22" fmla="*/ 608430 h 818062"/>
                  <a:gd name="connsiteX23" fmla="*/ 1517418 w 1771404"/>
                  <a:gd name="connsiteY23" fmla="*/ 505852 h 818062"/>
                  <a:gd name="connsiteX24" fmla="*/ 1595354 w 1771404"/>
                  <a:gd name="connsiteY24" fmla="*/ 433900 h 818062"/>
                  <a:gd name="connsiteX25" fmla="*/ 1602697 w 1771404"/>
                  <a:gd name="connsiteY25" fmla="*/ 409011 h 818062"/>
                  <a:gd name="connsiteX26" fmla="*/ 1602275 w 1771404"/>
                  <a:gd name="connsiteY26" fmla="*/ 403359 h 818062"/>
                  <a:gd name="connsiteX27" fmla="*/ 1673558 w 1771404"/>
                  <a:gd name="connsiteY27" fmla="*/ 307701 h 818062"/>
                  <a:gd name="connsiteX28" fmla="*/ 1740709 w 1771404"/>
                  <a:gd name="connsiteY28" fmla="*/ 327195 h 818062"/>
                  <a:gd name="connsiteX29" fmla="*/ 1769215 w 1771404"/>
                  <a:gd name="connsiteY29" fmla="*/ 379076 h 818062"/>
                  <a:gd name="connsiteX30" fmla="*/ 1771404 w 1771404"/>
                  <a:gd name="connsiteY30" fmla="*/ 409011 h 818062"/>
                  <a:gd name="connsiteX31" fmla="*/ 1743321 w 1771404"/>
                  <a:gd name="connsiteY31" fmla="*/ 515053 h 818062"/>
                  <a:gd name="connsiteX32" fmla="*/ 1675078 w 1771404"/>
                  <a:gd name="connsiteY32" fmla="*/ 598389 h 818062"/>
                  <a:gd name="connsiteX33" fmla="*/ 1467063 w 1771404"/>
                  <a:gd name="connsiteY33" fmla="*/ 717244 h 818062"/>
                  <a:gd name="connsiteX34" fmla="*/ 863617 w 1771404"/>
                  <a:gd name="connsiteY34" fmla="*/ 818062 h 818062"/>
                  <a:gd name="connsiteX35" fmla="*/ 1321971 w 1771404"/>
                  <a:gd name="connsiteY35" fmla="*/ 226497 h 818062"/>
                  <a:gd name="connsiteX36" fmla="*/ 1321971 w 1771404"/>
                  <a:gd name="connsiteY36" fmla="*/ 226074 h 818062"/>
                  <a:gd name="connsiteX37" fmla="*/ 1321971 w 1771404"/>
                  <a:gd name="connsiteY37" fmla="*/ 226497 h 818062"/>
                  <a:gd name="connsiteX38" fmla="*/ 1299780 w 1771404"/>
                  <a:gd name="connsiteY38" fmla="*/ 223548 h 818062"/>
                  <a:gd name="connsiteX39" fmla="*/ 1248659 w 1771404"/>
                  <a:gd name="connsiteY39" fmla="*/ 184080 h 818062"/>
                  <a:gd name="connsiteX40" fmla="*/ 1240464 w 1771404"/>
                  <a:gd name="connsiteY40" fmla="*/ 120055 h 818062"/>
                  <a:gd name="connsiteX41" fmla="*/ 1321857 w 1771404"/>
                  <a:gd name="connsiteY41" fmla="*/ 57790 h 818062"/>
                  <a:gd name="connsiteX42" fmla="*/ 1344048 w 1771404"/>
                  <a:gd name="connsiteY42" fmla="*/ 60739 h 818062"/>
                  <a:gd name="connsiteX43" fmla="*/ 1403273 w 1771404"/>
                  <a:gd name="connsiteY43" fmla="*/ 164232 h 818062"/>
                  <a:gd name="connsiteX44" fmla="*/ 1321965 w 1771404"/>
                  <a:gd name="connsiteY44" fmla="*/ 226497 h 818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771404" h="818062">
                    <a:moveTo>
                      <a:pt x="863588" y="818057"/>
                    </a:moveTo>
                    <a:cubicBezTo>
                      <a:pt x="699773" y="818057"/>
                      <a:pt x="541273" y="797717"/>
                      <a:pt x="405051" y="759432"/>
                    </a:cubicBezTo>
                    <a:cubicBezTo>
                      <a:pt x="262061" y="718690"/>
                      <a:pt x="157900" y="665043"/>
                      <a:pt x="86371" y="595526"/>
                    </a:cubicBezTo>
                    <a:cubicBezTo>
                      <a:pt x="59962" y="569717"/>
                      <a:pt x="39131" y="541456"/>
                      <a:pt x="24466" y="511521"/>
                    </a:cubicBezTo>
                    <a:cubicBezTo>
                      <a:pt x="8190" y="478368"/>
                      <a:pt x="0" y="443878"/>
                      <a:pt x="0" y="409028"/>
                    </a:cubicBezTo>
                    <a:cubicBezTo>
                      <a:pt x="0" y="374178"/>
                      <a:pt x="8190" y="339688"/>
                      <a:pt x="24466" y="306535"/>
                    </a:cubicBezTo>
                    <a:cubicBezTo>
                      <a:pt x="39131" y="276600"/>
                      <a:pt x="59985" y="248334"/>
                      <a:pt x="86371" y="222531"/>
                    </a:cubicBezTo>
                    <a:cubicBezTo>
                      <a:pt x="134188" y="175719"/>
                      <a:pt x="197545" y="136160"/>
                      <a:pt x="280121" y="101578"/>
                    </a:cubicBezTo>
                    <a:cubicBezTo>
                      <a:pt x="358056" y="69277"/>
                      <a:pt x="447399" y="44051"/>
                      <a:pt x="545668" y="26746"/>
                    </a:cubicBezTo>
                    <a:cubicBezTo>
                      <a:pt x="645881" y="9110"/>
                      <a:pt x="752837" y="91"/>
                      <a:pt x="863588" y="0"/>
                    </a:cubicBezTo>
                    <a:lnTo>
                      <a:pt x="865017" y="0"/>
                    </a:lnTo>
                    <a:cubicBezTo>
                      <a:pt x="887631" y="0"/>
                      <a:pt x="908794" y="8778"/>
                      <a:pt x="924733" y="24803"/>
                    </a:cubicBezTo>
                    <a:cubicBezTo>
                      <a:pt x="940672" y="40651"/>
                      <a:pt x="949359" y="61928"/>
                      <a:pt x="949359" y="84433"/>
                    </a:cubicBezTo>
                    <a:cubicBezTo>
                      <a:pt x="949359" y="130914"/>
                      <a:pt x="911474" y="168707"/>
                      <a:pt x="864994" y="168707"/>
                    </a:cubicBezTo>
                    <a:lnTo>
                      <a:pt x="862891" y="168707"/>
                    </a:lnTo>
                    <a:cubicBezTo>
                      <a:pt x="714592" y="168707"/>
                      <a:pt x="572026" y="186766"/>
                      <a:pt x="450742" y="221010"/>
                    </a:cubicBezTo>
                    <a:cubicBezTo>
                      <a:pt x="342694" y="250951"/>
                      <a:pt x="250740" y="296511"/>
                      <a:pt x="204774" y="342723"/>
                    </a:cubicBezTo>
                    <a:cubicBezTo>
                      <a:pt x="180577" y="367012"/>
                      <a:pt x="168770" y="388689"/>
                      <a:pt x="168678" y="409028"/>
                    </a:cubicBezTo>
                    <a:cubicBezTo>
                      <a:pt x="168770" y="429368"/>
                      <a:pt x="180577" y="451045"/>
                      <a:pt x="204774" y="475334"/>
                    </a:cubicBezTo>
                    <a:cubicBezTo>
                      <a:pt x="235138" y="505543"/>
                      <a:pt x="284916" y="535901"/>
                      <a:pt x="344969" y="560790"/>
                    </a:cubicBezTo>
                    <a:cubicBezTo>
                      <a:pt x="479517" y="617049"/>
                      <a:pt x="667798" y="649350"/>
                      <a:pt x="861730" y="649350"/>
                    </a:cubicBezTo>
                    <a:lnTo>
                      <a:pt x="863765" y="649350"/>
                    </a:lnTo>
                    <a:cubicBezTo>
                      <a:pt x="994610" y="649350"/>
                      <a:pt x="1126032" y="635177"/>
                      <a:pt x="1243944" y="608430"/>
                    </a:cubicBezTo>
                    <a:cubicBezTo>
                      <a:pt x="1355032" y="583382"/>
                      <a:pt x="1452142" y="546926"/>
                      <a:pt x="1517418" y="505852"/>
                    </a:cubicBezTo>
                    <a:cubicBezTo>
                      <a:pt x="1554611" y="482815"/>
                      <a:pt x="1583724" y="455914"/>
                      <a:pt x="1595354" y="433900"/>
                    </a:cubicBezTo>
                    <a:cubicBezTo>
                      <a:pt x="1601669" y="422093"/>
                      <a:pt x="1602606" y="414658"/>
                      <a:pt x="1602697" y="409011"/>
                    </a:cubicBezTo>
                    <a:cubicBezTo>
                      <a:pt x="1602697" y="407068"/>
                      <a:pt x="1602520" y="405302"/>
                      <a:pt x="1602275" y="403359"/>
                    </a:cubicBezTo>
                    <a:cubicBezTo>
                      <a:pt x="1595531" y="357393"/>
                      <a:pt x="1627592" y="314439"/>
                      <a:pt x="1673558" y="307701"/>
                    </a:cubicBezTo>
                    <a:cubicBezTo>
                      <a:pt x="1697692" y="304244"/>
                      <a:pt x="1722313" y="311410"/>
                      <a:pt x="1740709" y="327195"/>
                    </a:cubicBezTo>
                    <a:cubicBezTo>
                      <a:pt x="1756134" y="340431"/>
                      <a:pt x="1766272" y="358913"/>
                      <a:pt x="1769215" y="379076"/>
                    </a:cubicBezTo>
                    <a:cubicBezTo>
                      <a:pt x="1770644" y="389031"/>
                      <a:pt x="1771404" y="399078"/>
                      <a:pt x="1771404" y="409011"/>
                    </a:cubicBezTo>
                    <a:cubicBezTo>
                      <a:pt x="1771496" y="444953"/>
                      <a:pt x="1761780" y="481563"/>
                      <a:pt x="1743321" y="515053"/>
                    </a:cubicBezTo>
                    <a:cubicBezTo>
                      <a:pt x="1727045" y="544657"/>
                      <a:pt x="1704676" y="571911"/>
                      <a:pt x="1675078" y="598389"/>
                    </a:cubicBezTo>
                    <a:cubicBezTo>
                      <a:pt x="1623529" y="644018"/>
                      <a:pt x="1555463" y="682908"/>
                      <a:pt x="1467063" y="717244"/>
                    </a:cubicBezTo>
                    <a:cubicBezTo>
                      <a:pt x="1298785" y="782121"/>
                      <a:pt x="1084427" y="817879"/>
                      <a:pt x="863617" y="818062"/>
                    </a:cubicBezTo>
                    <a:close/>
                    <a:moveTo>
                      <a:pt x="1321971" y="226497"/>
                    </a:moveTo>
                    <a:lnTo>
                      <a:pt x="1321971" y="226074"/>
                    </a:lnTo>
                    <a:lnTo>
                      <a:pt x="1321971" y="226497"/>
                    </a:lnTo>
                    <a:cubicBezTo>
                      <a:pt x="1314467" y="226497"/>
                      <a:pt x="1307038" y="225491"/>
                      <a:pt x="1299780" y="223548"/>
                    </a:cubicBezTo>
                    <a:cubicBezTo>
                      <a:pt x="1278017" y="217656"/>
                      <a:pt x="1259889" y="203637"/>
                      <a:pt x="1248659" y="184080"/>
                    </a:cubicBezTo>
                    <a:cubicBezTo>
                      <a:pt x="1237520" y="164501"/>
                      <a:pt x="1234571" y="141732"/>
                      <a:pt x="1240464" y="120055"/>
                    </a:cubicBezTo>
                    <a:cubicBezTo>
                      <a:pt x="1250511" y="83353"/>
                      <a:pt x="1283909" y="57790"/>
                      <a:pt x="1321857" y="57790"/>
                    </a:cubicBezTo>
                    <a:cubicBezTo>
                      <a:pt x="1329292" y="57790"/>
                      <a:pt x="1336796" y="58796"/>
                      <a:pt x="1344048" y="60739"/>
                    </a:cubicBezTo>
                    <a:cubicBezTo>
                      <a:pt x="1388922" y="72969"/>
                      <a:pt x="1415486" y="119363"/>
                      <a:pt x="1403273" y="164232"/>
                    </a:cubicBezTo>
                    <a:cubicBezTo>
                      <a:pt x="1393340" y="200934"/>
                      <a:pt x="1359833" y="226497"/>
                      <a:pt x="1321965" y="226497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8396AA0-28CB-4C13-B747-5B22D91BA0A9}"/>
                  </a:ext>
                </a:extLst>
              </p:cNvPr>
              <p:cNvSpPr/>
              <p:nvPr/>
            </p:nvSpPr>
            <p:spPr>
              <a:xfrm>
                <a:off x="4105236" y="2231924"/>
                <a:ext cx="1771456" cy="493393"/>
              </a:xfrm>
              <a:custGeom>
                <a:avLst/>
                <a:gdLst>
                  <a:gd name="connsiteX0" fmla="*/ 863594 w 1771456"/>
                  <a:gd name="connsiteY0" fmla="*/ 493387 h 493393"/>
                  <a:gd name="connsiteX1" fmla="*/ 280149 w 1771456"/>
                  <a:gd name="connsiteY1" fmla="*/ 391792 h 493393"/>
                  <a:gd name="connsiteX2" fmla="*/ 0 w 1771456"/>
                  <a:gd name="connsiteY2" fmla="*/ 84365 h 493393"/>
                  <a:gd name="connsiteX3" fmla="*/ 84365 w 1771456"/>
                  <a:gd name="connsiteY3" fmla="*/ 0 h 493393"/>
                  <a:gd name="connsiteX4" fmla="*/ 168730 w 1771456"/>
                  <a:gd name="connsiteY4" fmla="*/ 84365 h 493393"/>
                  <a:gd name="connsiteX5" fmla="*/ 863616 w 1771456"/>
                  <a:gd name="connsiteY5" fmla="*/ 324709 h 493393"/>
                  <a:gd name="connsiteX6" fmla="*/ 1405804 w 1771456"/>
                  <a:gd name="connsiteY6" fmla="*/ 235481 h 493393"/>
                  <a:gd name="connsiteX7" fmla="*/ 1602749 w 1771456"/>
                  <a:gd name="connsiteY7" fmla="*/ 84593 h 493393"/>
                  <a:gd name="connsiteX8" fmla="*/ 1687091 w 1771456"/>
                  <a:gd name="connsiteY8" fmla="*/ 720 h 493393"/>
                  <a:gd name="connsiteX9" fmla="*/ 1687582 w 1771456"/>
                  <a:gd name="connsiteY9" fmla="*/ 720 h 493393"/>
                  <a:gd name="connsiteX10" fmla="*/ 1771456 w 1771456"/>
                  <a:gd name="connsiteY10" fmla="*/ 85554 h 493393"/>
                  <a:gd name="connsiteX11" fmla="*/ 1466509 w 1771456"/>
                  <a:gd name="connsiteY11" fmla="*/ 392889 h 493393"/>
                  <a:gd name="connsiteX12" fmla="*/ 863577 w 1771456"/>
                  <a:gd name="connsiteY12" fmla="*/ 493393 h 493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1456" h="493393">
                    <a:moveTo>
                      <a:pt x="863594" y="493387"/>
                    </a:moveTo>
                    <a:cubicBezTo>
                      <a:pt x="644572" y="493387"/>
                      <a:pt x="437380" y="457309"/>
                      <a:pt x="280149" y="391792"/>
                    </a:cubicBezTo>
                    <a:cubicBezTo>
                      <a:pt x="99504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66"/>
                      <a:pt x="439432" y="324709"/>
                      <a:pt x="863616" y="324709"/>
                    </a:cubicBezTo>
                    <a:cubicBezTo>
                      <a:pt x="1061138" y="324709"/>
                      <a:pt x="1258757" y="292185"/>
                      <a:pt x="1405804" y="235481"/>
                    </a:cubicBezTo>
                    <a:cubicBezTo>
                      <a:pt x="1541558" y="183132"/>
                      <a:pt x="1602526" y="121987"/>
                      <a:pt x="1602749" y="84593"/>
                    </a:cubicBezTo>
                    <a:cubicBezTo>
                      <a:pt x="1603018" y="38182"/>
                      <a:pt x="1640719" y="720"/>
                      <a:pt x="1687091" y="720"/>
                    </a:cubicBezTo>
                    <a:lnTo>
                      <a:pt x="1687582" y="720"/>
                    </a:lnTo>
                    <a:cubicBezTo>
                      <a:pt x="1734171" y="989"/>
                      <a:pt x="1771724" y="38982"/>
                      <a:pt x="1771456" y="85554"/>
                    </a:cubicBezTo>
                    <a:cubicBezTo>
                      <a:pt x="1770764" y="208180"/>
                      <a:pt x="1662448" y="317325"/>
                      <a:pt x="1466509" y="392889"/>
                    </a:cubicBezTo>
                    <a:cubicBezTo>
                      <a:pt x="1300820" y="456760"/>
                      <a:pt x="1081084" y="493393"/>
                      <a:pt x="863577" y="493393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08A4BA2-8CF3-4C77-B79E-18442332CE06}"/>
                  </a:ext>
                </a:extLst>
              </p:cNvPr>
              <p:cNvSpPr/>
              <p:nvPr/>
            </p:nvSpPr>
            <p:spPr>
              <a:xfrm>
                <a:off x="4105236" y="2683238"/>
                <a:ext cx="1771456" cy="493393"/>
              </a:xfrm>
              <a:custGeom>
                <a:avLst/>
                <a:gdLst>
                  <a:gd name="connsiteX0" fmla="*/ 863594 w 1771456"/>
                  <a:gd name="connsiteY0" fmla="*/ 493388 h 493393"/>
                  <a:gd name="connsiteX1" fmla="*/ 280149 w 1771456"/>
                  <a:gd name="connsiteY1" fmla="*/ 391792 h 493393"/>
                  <a:gd name="connsiteX2" fmla="*/ 0 w 1771456"/>
                  <a:gd name="connsiteY2" fmla="*/ 84365 h 493393"/>
                  <a:gd name="connsiteX3" fmla="*/ 84365 w 1771456"/>
                  <a:gd name="connsiteY3" fmla="*/ 0 h 493393"/>
                  <a:gd name="connsiteX4" fmla="*/ 168730 w 1771456"/>
                  <a:gd name="connsiteY4" fmla="*/ 84365 h 493393"/>
                  <a:gd name="connsiteX5" fmla="*/ 863616 w 1771456"/>
                  <a:gd name="connsiteY5" fmla="*/ 324709 h 493393"/>
                  <a:gd name="connsiteX6" fmla="*/ 1405804 w 1771456"/>
                  <a:gd name="connsiteY6" fmla="*/ 235481 h 493393"/>
                  <a:gd name="connsiteX7" fmla="*/ 1602749 w 1771456"/>
                  <a:gd name="connsiteY7" fmla="*/ 84593 h 493393"/>
                  <a:gd name="connsiteX8" fmla="*/ 1687582 w 1771456"/>
                  <a:gd name="connsiteY8" fmla="*/ 720 h 493393"/>
                  <a:gd name="connsiteX9" fmla="*/ 1771456 w 1771456"/>
                  <a:gd name="connsiteY9" fmla="*/ 85554 h 493393"/>
                  <a:gd name="connsiteX10" fmla="*/ 1466509 w 1771456"/>
                  <a:gd name="connsiteY10" fmla="*/ 392889 h 493393"/>
                  <a:gd name="connsiteX11" fmla="*/ 863577 w 1771456"/>
                  <a:gd name="connsiteY11" fmla="*/ 493393 h 493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71456" h="493393">
                    <a:moveTo>
                      <a:pt x="863594" y="493388"/>
                    </a:moveTo>
                    <a:cubicBezTo>
                      <a:pt x="644572" y="493388"/>
                      <a:pt x="437380" y="457314"/>
                      <a:pt x="280149" y="391792"/>
                    </a:cubicBezTo>
                    <a:cubicBezTo>
                      <a:pt x="99504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66"/>
                      <a:pt x="439432" y="324709"/>
                      <a:pt x="863616" y="324709"/>
                    </a:cubicBezTo>
                    <a:cubicBezTo>
                      <a:pt x="1061138" y="324709"/>
                      <a:pt x="1258757" y="292185"/>
                      <a:pt x="1405804" y="235481"/>
                    </a:cubicBezTo>
                    <a:cubicBezTo>
                      <a:pt x="1541558" y="183132"/>
                      <a:pt x="1602526" y="121987"/>
                      <a:pt x="1602749" y="84593"/>
                    </a:cubicBezTo>
                    <a:cubicBezTo>
                      <a:pt x="1603018" y="38005"/>
                      <a:pt x="1640742" y="274"/>
                      <a:pt x="1687582" y="720"/>
                    </a:cubicBezTo>
                    <a:cubicBezTo>
                      <a:pt x="1734171" y="989"/>
                      <a:pt x="1771724" y="38982"/>
                      <a:pt x="1771456" y="85554"/>
                    </a:cubicBezTo>
                    <a:cubicBezTo>
                      <a:pt x="1770764" y="208180"/>
                      <a:pt x="1662448" y="317326"/>
                      <a:pt x="1466509" y="392889"/>
                    </a:cubicBezTo>
                    <a:cubicBezTo>
                      <a:pt x="1300820" y="456760"/>
                      <a:pt x="1081084" y="493393"/>
                      <a:pt x="863577" y="493393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E0E584F-285C-44A1-BB67-6632C71B5E31}"/>
                  </a:ext>
                </a:extLst>
              </p:cNvPr>
              <p:cNvSpPr/>
              <p:nvPr/>
            </p:nvSpPr>
            <p:spPr>
              <a:xfrm>
                <a:off x="4105236" y="3105005"/>
                <a:ext cx="1771456" cy="493393"/>
              </a:xfrm>
              <a:custGeom>
                <a:avLst/>
                <a:gdLst>
                  <a:gd name="connsiteX0" fmla="*/ 863594 w 1771456"/>
                  <a:gd name="connsiteY0" fmla="*/ 493388 h 493393"/>
                  <a:gd name="connsiteX1" fmla="*/ 280149 w 1771456"/>
                  <a:gd name="connsiteY1" fmla="*/ 391792 h 493393"/>
                  <a:gd name="connsiteX2" fmla="*/ 0 w 1771456"/>
                  <a:gd name="connsiteY2" fmla="*/ 84365 h 493393"/>
                  <a:gd name="connsiteX3" fmla="*/ 84365 w 1771456"/>
                  <a:gd name="connsiteY3" fmla="*/ 0 h 493393"/>
                  <a:gd name="connsiteX4" fmla="*/ 168730 w 1771456"/>
                  <a:gd name="connsiteY4" fmla="*/ 84365 h 493393"/>
                  <a:gd name="connsiteX5" fmla="*/ 863616 w 1771456"/>
                  <a:gd name="connsiteY5" fmla="*/ 324709 h 493393"/>
                  <a:gd name="connsiteX6" fmla="*/ 1405781 w 1771456"/>
                  <a:gd name="connsiteY6" fmla="*/ 235481 h 493393"/>
                  <a:gd name="connsiteX7" fmla="*/ 1602749 w 1771456"/>
                  <a:gd name="connsiteY7" fmla="*/ 84593 h 493393"/>
                  <a:gd name="connsiteX8" fmla="*/ 1687091 w 1771456"/>
                  <a:gd name="connsiteY8" fmla="*/ 720 h 493393"/>
                  <a:gd name="connsiteX9" fmla="*/ 1687582 w 1771456"/>
                  <a:gd name="connsiteY9" fmla="*/ 720 h 493393"/>
                  <a:gd name="connsiteX10" fmla="*/ 1771456 w 1771456"/>
                  <a:gd name="connsiteY10" fmla="*/ 85554 h 493393"/>
                  <a:gd name="connsiteX11" fmla="*/ 1466486 w 1771456"/>
                  <a:gd name="connsiteY11" fmla="*/ 392867 h 493393"/>
                  <a:gd name="connsiteX12" fmla="*/ 863611 w 1771456"/>
                  <a:gd name="connsiteY12" fmla="*/ 493393 h 493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1456" h="493393">
                    <a:moveTo>
                      <a:pt x="863594" y="493388"/>
                    </a:moveTo>
                    <a:cubicBezTo>
                      <a:pt x="644572" y="493388"/>
                      <a:pt x="437380" y="457314"/>
                      <a:pt x="280149" y="391792"/>
                    </a:cubicBezTo>
                    <a:cubicBezTo>
                      <a:pt x="99504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66"/>
                      <a:pt x="439432" y="324709"/>
                      <a:pt x="863616" y="324709"/>
                    </a:cubicBezTo>
                    <a:cubicBezTo>
                      <a:pt x="1061138" y="324709"/>
                      <a:pt x="1258757" y="292185"/>
                      <a:pt x="1405781" y="235481"/>
                    </a:cubicBezTo>
                    <a:cubicBezTo>
                      <a:pt x="1541536" y="183132"/>
                      <a:pt x="1602526" y="121987"/>
                      <a:pt x="1602749" y="84593"/>
                    </a:cubicBezTo>
                    <a:cubicBezTo>
                      <a:pt x="1603018" y="38182"/>
                      <a:pt x="1640719" y="720"/>
                      <a:pt x="1687091" y="720"/>
                    </a:cubicBezTo>
                    <a:lnTo>
                      <a:pt x="1687582" y="720"/>
                    </a:lnTo>
                    <a:cubicBezTo>
                      <a:pt x="1734171" y="989"/>
                      <a:pt x="1771724" y="38982"/>
                      <a:pt x="1771456" y="85554"/>
                    </a:cubicBezTo>
                    <a:cubicBezTo>
                      <a:pt x="1770741" y="208180"/>
                      <a:pt x="1662448" y="317326"/>
                      <a:pt x="1466486" y="392867"/>
                    </a:cubicBezTo>
                    <a:cubicBezTo>
                      <a:pt x="1300820" y="456760"/>
                      <a:pt x="1081078" y="493393"/>
                      <a:pt x="863611" y="493393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369A9B7-0DEF-43B4-84BC-841FDA686CFF}"/>
                  </a:ext>
                </a:extLst>
              </p:cNvPr>
              <p:cNvSpPr/>
              <p:nvPr/>
            </p:nvSpPr>
            <p:spPr>
              <a:xfrm>
                <a:off x="4105219" y="1762923"/>
                <a:ext cx="1771455" cy="2341595"/>
              </a:xfrm>
              <a:custGeom>
                <a:avLst/>
                <a:gdLst>
                  <a:gd name="connsiteX0" fmla="*/ 863611 w 1771455"/>
                  <a:gd name="connsiteY0" fmla="*/ 2341590 h 2341595"/>
                  <a:gd name="connsiteX1" fmla="*/ 283538 w 1771455"/>
                  <a:gd name="connsiteY1" fmla="*/ 2241400 h 2341595"/>
                  <a:gd name="connsiteX2" fmla="*/ 377 w 1771455"/>
                  <a:gd name="connsiteY2" fmla="*/ 1944575 h 2341595"/>
                  <a:gd name="connsiteX3" fmla="*/ 0 w 1771455"/>
                  <a:gd name="connsiteY3" fmla="*/ 1936425 h 2341595"/>
                  <a:gd name="connsiteX4" fmla="*/ 0 w 1771455"/>
                  <a:gd name="connsiteY4" fmla="*/ 84365 h 2341595"/>
                  <a:gd name="connsiteX5" fmla="*/ 84365 w 1771455"/>
                  <a:gd name="connsiteY5" fmla="*/ 0 h 2341595"/>
                  <a:gd name="connsiteX6" fmla="*/ 168730 w 1771455"/>
                  <a:gd name="connsiteY6" fmla="*/ 84365 h 2341595"/>
                  <a:gd name="connsiteX7" fmla="*/ 863617 w 1771455"/>
                  <a:gd name="connsiteY7" fmla="*/ 324686 h 2341595"/>
                  <a:gd name="connsiteX8" fmla="*/ 1406342 w 1771455"/>
                  <a:gd name="connsiteY8" fmla="*/ 235258 h 2341595"/>
                  <a:gd name="connsiteX9" fmla="*/ 1602726 w 1771455"/>
                  <a:gd name="connsiteY9" fmla="*/ 84371 h 2341595"/>
                  <a:gd name="connsiteX10" fmla="*/ 1687091 w 1771455"/>
                  <a:gd name="connsiteY10" fmla="*/ 6 h 2341595"/>
                  <a:gd name="connsiteX11" fmla="*/ 1771456 w 1771455"/>
                  <a:gd name="connsiteY11" fmla="*/ 84371 h 2341595"/>
                  <a:gd name="connsiteX12" fmla="*/ 1771456 w 1771455"/>
                  <a:gd name="connsiteY12" fmla="*/ 1936431 h 2341595"/>
                  <a:gd name="connsiteX13" fmla="*/ 1771050 w 1771455"/>
                  <a:gd name="connsiteY13" fmla="*/ 1944712 h 2341595"/>
                  <a:gd name="connsiteX14" fmla="*/ 1463755 w 1771455"/>
                  <a:gd name="connsiteY14" fmla="*/ 2242206 h 2341595"/>
                  <a:gd name="connsiteX15" fmla="*/ 863565 w 1771455"/>
                  <a:gd name="connsiteY15" fmla="*/ 2341596 h 2341595"/>
                  <a:gd name="connsiteX16" fmla="*/ 168724 w 1771455"/>
                  <a:gd name="connsiteY16" fmla="*/ 1931939 h 2341595"/>
                  <a:gd name="connsiteX17" fmla="*/ 168815 w 1771455"/>
                  <a:gd name="connsiteY17" fmla="*/ 1934059 h 2341595"/>
                  <a:gd name="connsiteX18" fmla="*/ 863588 w 1771455"/>
                  <a:gd name="connsiteY18" fmla="*/ 2172883 h 2341595"/>
                  <a:gd name="connsiteX19" fmla="*/ 1403501 w 1771455"/>
                  <a:gd name="connsiteY19" fmla="*/ 2084615 h 2341595"/>
                  <a:gd name="connsiteX20" fmla="*/ 1602635 w 1771455"/>
                  <a:gd name="connsiteY20" fmla="*/ 1934059 h 2341595"/>
                  <a:gd name="connsiteX21" fmla="*/ 1602721 w 1771455"/>
                  <a:gd name="connsiteY21" fmla="*/ 1931939 h 2341595"/>
                  <a:gd name="connsiteX22" fmla="*/ 1602721 w 1771455"/>
                  <a:gd name="connsiteY22" fmla="*/ 326538 h 2341595"/>
                  <a:gd name="connsiteX23" fmla="*/ 1467121 w 1771455"/>
                  <a:gd name="connsiteY23" fmla="*/ 392615 h 2341595"/>
                  <a:gd name="connsiteX24" fmla="*/ 863559 w 1771455"/>
                  <a:gd name="connsiteY24" fmla="*/ 493387 h 2341595"/>
                  <a:gd name="connsiteX25" fmla="*/ 280115 w 1771455"/>
                  <a:gd name="connsiteY25" fmla="*/ 391815 h 2341595"/>
                  <a:gd name="connsiteX26" fmla="*/ 168695 w 1771455"/>
                  <a:gd name="connsiteY26" fmla="*/ 334796 h 2341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1455" h="2341595">
                    <a:moveTo>
                      <a:pt x="863611" y="2341590"/>
                    </a:moveTo>
                    <a:cubicBezTo>
                      <a:pt x="646327" y="2341590"/>
                      <a:pt x="440347" y="2306003"/>
                      <a:pt x="283538" y="2241400"/>
                    </a:cubicBezTo>
                    <a:cubicBezTo>
                      <a:pt x="107042" y="2168666"/>
                      <a:pt x="6784" y="2063430"/>
                      <a:pt x="377" y="1944575"/>
                    </a:cubicBezTo>
                    <a:cubicBezTo>
                      <a:pt x="109" y="1941894"/>
                      <a:pt x="0" y="1939174"/>
                      <a:pt x="0" y="1936425"/>
                    </a:cubicBezTo>
                    <a:lnTo>
                      <a:pt x="0" y="84365"/>
                    </a:ln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6"/>
                      <a:pt x="168730" y="84365"/>
                    </a:cubicBezTo>
                    <a:cubicBezTo>
                      <a:pt x="168730" y="182349"/>
                      <a:pt x="439432" y="324686"/>
                      <a:pt x="863617" y="324686"/>
                    </a:cubicBezTo>
                    <a:cubicBezTo>
                      <a:pt x="1061430" y="324686"/>
                      <a:pt x="1259249" y="292094"/>
                      <a:pt x="1406342" y="235258"/>
                    </a:cubicBezTo>
                    <a:cubicBezTo>
                      <a:pt x="1542004" y="182840"/>
                      <a:pt x="1602726" y="121695"/>
                      <a:pt x="1602726" y="84371"/>
                    </a:cubicBezTo>
                    <a:cubicBezTo>
                      <a:pt x="1602726" y="37782"/>
                      <a:pt x="1640497" y="6"/>
                      <a:pt x="1687091" y="6"/>
                    </a:cubicBezTo>
                    <a:cubicBezTo>
                      <a:pt x="1733680" y="6"/>
                      <a:pt x="1771456" y="37782"/>
                      <a:pt x="1771456" y="84371"/>
                    </a:cubicBezTo>
                    <a:lnTo>
                      <a:pt x="1771456" y="1936431"/>
                    </a:lnTo>
                    <a:cubicBezTo>
                      <a:pt x="1771456" y="1939220"/>
                      <a:pt x="1771319" y="1941991"/>
                      <a:pt x="1771050" y="1944712"/>
                    </a:cubicBezTo>
                    <a:cubicBezTo>
                      <a:pt x="1766272" y="2030060"/>
                      <a:pt x="1707871" y="2148909"/>
                      <a:pt x="1463755" y="2242206"/>
                    </a:cubicBezTo>
                    <a:cubicBezTo>
                      <a:pt x="1298442" y="2305363"/>
                      <a:pt x="1079689" y="2341596"/>
                      <a:pt x="863565" y="2341596"/>
                    </a:cubicBezTo>
                    <a:close/>
                    <a:moveTo>
                      <a:pt x="168724" y="1931939"/>
                    </a:moveTo>
                    <a:cubicBezTo>
                      <a:pt x="168770" y="1932653"/>
                      <a:pt x="168792" y="1933345"/>
                      <a:pt x="168815" y="1934059"/>
                    </a:cubicBezTo>
                    <a:cubicBezTo>
                      <a:pt x="171559" y="2031437"/>
                      <a:pt x="443581" y="2172883"/>
                      <a:pt x="863588" y="2172883"/>
                    </a:cubicBezTo>
                    <a:cubicBezTo>
                      <a:pt x="1059887" y="2172883"/>
                      <a:pt x="1256694" y="2140714"/>
                      <a:pt x="1403501" y="2084615"/>
                    </a:cubicBezTo>
                    <a:cubicBezTo>
                      <a:pt x="1539587" y="2032620"/>
                      <a:pt x="1601583" y="1971544"/>
                      <a:pt x="1602635" y="1934059"/>
                    </a:cubicBezTo>
                    <a:cubicBezTo>
                      <a:pt x="1602657" y="1933345"/>
                      <a:pt x="1602675" y="1932653"/>
                      <a:pt x="1602721" y="1931939"/>
                    </a:cubicBezTo>
                    <a:lnTo>
                      <a:pt x="1602721" y="326538"/>
                    </a:lnTo>
                    <a:cubicBezTo>
                      <a:pt x="1563813" y="350627"/>
                      <a:pt x="1518470" y="372772"/>
                      <a:pt x="1467121" y="392615"/>
                    </a:cubicBezTo>
                    <a:cubicBezTo>
                      <a:pt x="1301363" y="456640"/>
                      <a:pt x="1081404" y="493387"/>
                      <a:pt x="863559" y="493387"/>
                    </a:cubicBezTo>
                    <a:cubicBezTo>
                      <a:pt x="644538" y="493387"/>
                      <a:pt x="437323" y="457309"/>
                      <a:pt x="280115" y="391815"/>
                    </a:cubicBezTo>
                    <a:cubicBezTo>
                      <a:pt x="238618" y="374515"/>
                      <a:pt x="201380" y="355427"/>
                      <a:pt x="168695" y="334796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19E0D97-C873-41F0-A73B-C096C6A2F068}"/>
                  </a:ext>
                </a:extLst>
              </p:cNvPr>
              <p:cNvSpPr/>
              <p:nvPr/>
            </p:nvSpPr>
            <p:spPr>
              <a:xfrm>
                <a:off x="6382841" y="2820969"/>
                <a:ext cx="1771404" cy="818056"/>
              </a:xfrm>
              <a:custGeom>
                <a:avLst/>
                <a:gdLst>
                  <a:gd name="connsiteX0" fmla="*/ 863588 w 1771404"/>
                  <a:gd name="connsiteY0" fmla="*/ 818057 h 818056"/>
                  <a:gd name="connsiteX1" fmla="*/ 405051 w 1771404"/>
                  <a:gd name="connsiteY1" fmla="*/ 759432 h 818056"/>
                  <a:gd name="connsiteX2" fmla="*/ 86371 w 1771404"/>
                  <a:gd name="connsiteY2" fmla="*/ 595526 h 818056"/>
                  <a:gd name="connsiteX3" fmla="*/ 24443 w 1771404"/>
                  <a:gd name="connsiteY3" fmla="*/ 511521 h 818056"/>
                  <a:gd name="connsiteX4" fmla="*/ 0 w 1771404"/>
                  <a:gd name="connsiteY4" fmla="*/ 409028 h 818056"/>
                  <a:gd name="connsiteX5" fmla="*/ 24443 w 1771404"/>
                  <a:gd name="connsiteY5" fmla="*/ 306535 h 818056"/>
                  <a:gd name="connsiteX6" fmla="*/ 86371 w 1771404"/>
                  <a:gd name="connsiteY6" fmla="*/ 222531 h 818056"/>
                  <a:gd name="connsiteX7" fmla="*/ 280121 w 1771404"/>
                  <a:gd name="connsiteY7" fmla="*/ 101578 h 818056"/>
                  <a:gd name="connsiteX8" fmla="*/ 545668 w 1771404"/>
                  <a:gd name="connsiteY8" fmla="*/ 26746 h 818056"/>
                  <a:gd name="connsiteX9" fmla="*/ 863588 w 1771404"/>
                  <a:gd name="connsiteY9" fmla="*/ 0 h 818056"/>
                  <a:gd name="connsiteX10" fmla="*/ 865017 w 1771404"/>
                  <a:gd name="connsiteY10" fmla="*/ 0 h 818056"/>
                  <a:gd name="connsiteX11" fmla="*/ 924733 w 1771404"/>
                  <a:gd name="connsiteY11" fmla="*/ 24712 h 818056"/>
                  <a:gd name="connsiteX12" fmla="*/ 949359 w 1771404"/>
                  <a:gd name="connsiteY12" fmla="*/ 84433 h 818056"/>
                  <a:gd name="connsiteX13" fmla="*/ 864994 w 1771404"/>
                  <a:gd name="connsiteY13" fmla="*/ 168707 h 818056"/>
                  <a:gd name="connsiteX14" fmla="*/ 862891 w 1771404"/>
                  <a:gd name="connsiteY14" fmla="*/ 168707 h 818056"/>
                  <a:gd name="connsiteX15" fmla="*/ 450742 w 1771404"/>
                  <a:gd name="connsiteY15" fmla="*/ 221011 h 818056"/>
                  <a:gd name="connsiteX16" fmla="*/ 204774 w 1771404"/>
                  <a:gd name="connsiteY16" fmla="*/ 342723 h 818056"/>
                  <a:gd name="connsiteX17" fmla="*/ 168678 w 1771404"/>
                  <a:gd name="connsiteY17" fmla="*/ 409028 h 818056"/>
                  <a:gd name="connsiteX18" fmla="*/ 204774 w 1771404"/>
                  <a:gd name="connsiteY18" fmla="*/ 475334 h 818056"/>
                  <a:gd name="connsiteX19" fmla="*/ 344969 w 1771404"/>
                  <a:gd name="connsiteY19" fmla="*/ 560790 h 818056"/>
                  <a:gd name="connsiteX20" fmla="*/ 861731 w 1771404"/>
                  <a:gd name="connsiteY20" fmla="*/ 649350 h 818056"/>
                  <a:gd name="connsiteX21" fmla="*/ 864011 w 1771404"/>
                  <a:gd name="connsiteY21" fmla="*/ 649350 h 818056"/>
                  <a:gd name="connsiteX22" fmla="*/ 1243944 w 1771404"/>
                  <a:gd name="connsiteY22" fmla="*/ 608430 h 818056"/>
                  <a:gd name="connsiteX23" fmla="*/ 1517418 w 1771404"/>
                  <a:gd name="connsiteY23" fmla="*/ 505852 h 818056"/>
                  <a:gd name="connsiteX24" fmla="*/ 1595354 w 1771404"/>
                  <a:gd name="connsiteY24" fmla="*/ 433900 h 818056"/>
                  <a:gd name="connsiteX25" fmla="*/ 1602698 w 1771404"/>
                  <a:gd name="connsiteY25" fmla="*/ 409005 h 818056"/>
                  <a:gd name="connsiteX26" fmla="*/ 1602275 w 1771404"/>
                  <a:gd name="connsiteY26" fmla="*/ 403359 h 818056"/>
                  <a:gd name="connsiteX27" fmla="*/ 1618123 w 1771404"/>
                  <a:gd name="connsiteY27" fmla="*/ 340763 h 818056"/>
                  <a:gd name="connsiteX28" fmla="*/ 1673535 w 1771404"/>
                  <a:gd name="connsiteY28" fmla="*/ 307701 h 818056"/>
                  <a:gd name="connsiteX29" fmla="*/ 1740686 w 1771404"/>
                  <a:gd name="connsiteY29" fmla="*/ 327190 h 818056"/>
                  <a:gd name="connsiteX30" fmla="*/ 1769216 w 1771404"/>
                  <a:gd name="connsiteY30" fmla="*/ 379070 h 818056"/>
                  <a:gd name="connsiteX31" fmla="*/ 1771404 w 1771404"/>
                  <a:gd name="connsiteY31" fmla="*/ 409005 h 818056"/>
                  <a:gd name="connsiteX32" fmla="*/ 1743315 w 1771404"/>
                  <a:gd name="connsiteY32" fmla="*/ 514956 h 818056"/>
                  <a:gd name="connsiteX33" fmla="*/ 1674981 w 1771404"/>
                  <a:gd name="connsiteY33" fmla="*/ 598383 h 818056"/>
                  <a:gd name="connsiteX34" fmla="*/ 1467144 w 1771404"/>
                  <a:gd name="connsiteY34" fmla="*/ 717238 h 818056"/>
                  <a:gd name="connsiteX35" fmla="*/ 863582 w 1771404"/>
                  <a:gd name="connsiteY35" fmla="*/ 818057 h 818056"/>
                  <a:gd name="connsiteX36" fmla="*/ 1321948 w 1771404"/>
                  <a:gd name="connsiteY36" fmla="*/ 226497 h 818056"/>
                  <a:gd name="connsiteX37" fmla="*/ 1321948 w 1771404"/>
                  <a:gd name="connsiteY37" fmla="*/ 226074 h 818056"/>
                  <a:gd name="connsiteX38" fmla="*/ 1321948 w 1771404"/>
                  <a:gd name="connsiteY38" fmla="*/ 226497 h 818056"/>
                  <a:gd name="connsiteX39" fmla="*/ 1299848 w 1771404"/>
                  <a:gd name="connsiteY39" fmla="*/ 223548 h 818056"/>
                  <a:gd name="connsiteX40" fmla="*/ 1299757 w 1771404"/>
                  <a:gd name="connsiteY40" fmla="*/ 223548 h 818056"/>
                  <a:gd name="connsiteX41" fmla="*/ 1248636 w 1771404"/>
                  <a:gd name="connsiteY41" fmla="*/ 184080 h 818056"/>
                  <a:gd name="connsiteX42" fmla="*/ 1240441 w 1771404"/>
                  <a:gd name="connsiteY42" fmla="*/ 119964 h 818056"/>
                  <a:gd name="connsiteX43" fmla="*/ 1321834 w 1771404"/>
                  <a:gd name="connsiteY43" fmla="*/ 57790 h 818056"/>
                  <a:gd name="connsiteX44" fmla="*/ 1344025 w 1771404"/>
                  <a:gd name="connsiteY44" fmla="*/ 60739 h 818056"/>
                  <a:gd name="connsiteX45" fmla="*/ 1403250 w 1771404"/>
                  <a:gd name="connsiteY45" fmla="*/ 164232 h 818056"/>
                  <a:gd name="connsiteX46" fmla="*/ 1321943 w 1771404"/>
                  <a:gd name="connsiteY46" fmla="*/ 226497 h 818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771404" h="818056">
                    <a:moveTo>
                      <a:pt x="863588" y="818057"/>
                    </a:moveTo>
                    <a:cubicBezTo>
                      <a:pt x="699865" y="817965"/>
                      <a:pt x="541273" y="797740"/>
                      <a:pt x="405051" y="759432"/>
                    </a:cubicBezTo>
                    <a:cubicBezTo>
                      <a:pt x="262062" y="718690"/>
                      <a:pt x="157900" y="665043"/>
                      <a:pt x="86371" y="595526"/>
                    </a:cubicBezTo>
                    <a:cubicBezTo>
                      <a:pt x="59962" y="569717"/>
                      <a:pt x="39131" y="541456"/>
                      <a:pt x="24443" y="511521"/>
                    </a:cubicBezTo>
                    <a:cubicBezTo>
                      <a:pt x="8167" y="478368"/>
                      <a:pt x="0" y="443878"/>
                      <a:pt x="0" y="409028"/>
                    </a:cubicBezTo>
                    <a:cubicBezTo>
                      <a:pt x="0" y="374178"/>
                      <a:pt x="8190" y="339688"/>
                      <a:pt x="24443" y="306535"/>
                    </a:cubicBezTo>
                    <a:cubicBezTo>
                      <a:pt x="39108" y="276600"/>
                      <a:pt x="59962" y="248334"/>
                      <a:pt x="86371" y="222531"/>
                    </a:cubicBezTo>
                    <a:cubicBezTo>
                      <a:pt x="134188" y="175719"/>
                      <a:pt x="197545" y="136160"/>
                      <a:pt x="280121" y="101578"/>
                    </a:cubicBezTo>
                    <a:cubicBezTo>
                      <a:pt x="358056" y="69277"/>
                      <a:pt x="447399" y="44051"/>
                      <a:pt x="545668" y="26746"/>
                    </a:cubicBezTo>
                    <a:cubicBezTo>
                      <a:pt x="645881" y="9110"/>
                      <a:pt x="752860" y="91"/>
                      <a:pt x="863588" y="0"/>
                    </a:cubicBezTo>
                    <a:lnTo>
                      <a:pt x="865017" y="0"/>
                    </a:lnTo>
                    <a:cubicBezTo>
                      <a:pt x="887631" y="0"/>
                      <a:pt x="908794" y="8773"/>
                      <a:pt x="924733" y="24712"/>
                    </a:cubicBezTo>
                    <a:cubicBezTo>
                      <a:pt x="940580" y="40656"/>
                      <a:pt x="949359" y="61905"/>
                      <a:pt x="949359" y="84433"/>
                    </a:cubicBezTo>
                    <a:cubicBezTo>
                      <a:pt x="949359" y="130908"/>
                      <a:pt x="911474" y="168707"/>
                      <a:pt x="864994" y="168707"/>
                    </a:cubicBezTo>
                    <a:lnTo>
                      <a:pt x="862891" y="168707"/>
                    </a:lnTo>
                    <a:cubicBezTo>
                      <a:pt x="714592" y="168707"/>
                      <a:pt x="572026" y="186766"/>
                      <a:pt x="450742" y="221011"/>
                    </a:cubicBezTo>
                    <a:cubicBezTo>
                      <a:pt x="342695" y="250946"/>
                      <a:pt x="250649" y="296512"/>
                      <a:pt x="204774" y="342723"/>
                    </a:cubicBezTo>
                    <a:cubicBezTo>
                      <a:pt x="180577" y="367012"/>
                      <a:pt x="168747" y="388689"/>
                      <a:pt x="168678" y="409028"/>
                    </a:cubicBezTo>
                    <a:cubicBezTo>
                      <a:pt x="168770" y="429362"/>
                      <a:pt x="180577" y="451039"/>
                      <a:pt x="204774" y="475334"/>
                    </a:cubicBezTo>
                    <a:cubicBezTo>
                      <a:pt x="235138" y="505537"/>
                      <a:pt x="284984" y="535901"/>
                      <a:pt x="344969" y="560790"/>
                    </a:cubicBezTo>
                    <a:cubicBezTo>
                      <a:pt x="479517" y="617049"/>
                      <a:pt x="667798" y="649350"/>
                      <a:pt x="861731" y="649350"/>
                    </a:cubicBezTo>
                    <a:lnTo>
                      <a:pt x="864011" y="649350"/>
                    </a:lnTo>
                    <a:cubicBezTo>
                      <a:pt x="994673" y="649350"/>
                      <a:pt x="1126032" y="635171"/>
                      <a:pt x="1243944" y="608430"/>
                    </a:cubicBezTo>
                    <a:cubicBezTo>
                      <a:pt x="1355032" y="583382"/>
                      <a:pt x="1452142" y="546925"/>
                      <a:pt x="1517418" y="505852"/>
                    </a:cubicBezTo>
                    <a:cubicBezTo>
                      <a:pt x="1554612" y="482809"/>
                      <a:pt x="1583724" y="455909"/>
                      <a:pt x="1595354" y="433900"/>
                    </a:cubicBezTo>
                    <a:cubicBezTo>
                      <a:pt x="1601669" y="422087"/>
                      <a:pt x="1602606" y="414652"/>
                      <a:pt x="1602698" y="409005"/>
                    </a:cubicBezTo>
                    <a:cubicBezTo>
                      <a:pt x="1602698" y="407154"/>
                      <a:pt x="1602520" y="405302"/>
                      <a:pt x="1602275" y="403359"/>
                    </a:cubicBezTo>
                    <a:cubicBezTo>
                      <a:pt x="1598972" y="381076"/>
                      <a:pt x="1604618" y="358822"/>
                      <a:pt x="1618123" y="340763"/>
                    </a:cubicBezTo>
                    <a:cubicBezTo>
                      <a:pt x="1631541" y="322703"/>
                      <a:pt x="1651275" y="310982"/>
                      <a:pt x="1673535" y="307701"/>
                    </a:cubicBezTo>
                    <a:cubicBezTo>
                      <a:pt x="1697664" y="304238"/>
                      <a:pt x="1722290" y="311405"/>
                      <a:pt x="1740686" y="327190"/>
                    </a:cubicBezTo>
                    <a:cubicBezTo>
                      <a:pt x="1756111" y="340425"/>
                      <a:pt x="1766244" y="358913"/>
                      <a:pt x="1769216" y="379070"/>
                    </a:cubicBezTo>
                    <a:cubicBezTo>
                      <a:pt x="1770644" y="388940"/>
                      <a:pt x="1771404" y="398981"/>
                      <a:pt x="1771404" y="409005"/>
                    </a:cubicBezTo>
                    <a:cubicBezTo>
                      <a:pt x="1771490" y="444861"/>
                      <a:pt x="1761780" y="481557"/>
                      <a:pt x="1743315" y="514956"/>
                    </a:cubicBezTo>
                    <a:cubicBezTo>
                      <a:pt x="1726953" y="544559"/>
                      <a:pt x="1704676" y="571906"/>
                      <a:pt x="1674981" y="598383"/>
                    </a:cubicBezTo>
                    <a:cubicBezTo>
                      <a:pt x="1623460" y="644018"/>
                      <a:pt x="1555457" y="682903"/>
                      <a:pt x="1467144" y="717238"/>
                    </a:cubicBezTo>
                    <a:cubicBezTo>
                      <a:pt x="1298843" y="782046"/>
                      <a:pt x="1084484" y="817896"/>
                      <a:pt x="863582" y="818057"/>
                    </a:cubicBezTo>
                    <a:close/>
                    <a:moveTo>
                      <a:pt x="1321948" y="226497"/>
                    </a:moveTo>
                    <a:lnTo>
                      <a:pt x="1321948" y="226074"/>
                    </a:lnTo>
                    <a:lnTo>
                      <a:pt x="1321948" y="226497"/>
                    </a:lnTo>
                    <a:cubicBezTo>
                      <a:pt x="1314513" y="226497"/>
                      <a:pt x="1307101" y="225491"/>
                      <a:pt x="1299848" y="223548"/>
                    </a:cubicBezTo>
                    <a:lnTo>
                      <a:pt x="1299757" y="223548"/>
                    </a:lnTo>
                    <a:cubicBezTo>
                      <a:pt x="1277994" y="217656"/>
                      <a:pt x="1259866" y="203545"/>
                      <a:pt x="1248636" y="184080"/>
                    </a:cubicBezTo>
                    <a:cubicBezTo>
                      <a:pt x="1237498" y="164501"/>
                      <a:pt x="1234549" y="141732"/>
                      <a:pt x="1240441" y="119964"/>
                    </a:cubicBezTo>
                    <a:cubicBezTo>
                      <a:pt x="1250396" y="83353"/>
                      <a:pt x="1283886" y="57790"/>
                      <a:pt x="1321834" y="57790"/>
                    </a:cubicBezTo>
                    <a:cubicBezTo>
                      <a:pt x="1329269" y="57790"/>
                      <a:pt x="1336773" y="58727"/>
                      <a:pt x="1344025" y="60739"/>
                    </a:cubicBezTo>
                    <a:cubicBezTo>
                      <a:pt x="1388900" y="72969"/>
                      <a:pt x="1415463" y="119364"/>
                      <a:pt x="1403250" y="164232"/>
                    </a:cubicBezTo>
                    <a:cubicBezTo>
                      <a:pt x="1393317" y="200934"/>
                      <a:pt x="1359919" y="226497"/>
                      <a:pt x="1321943" y="226497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907D853C-B977-4532-A57B-469924388476}"/>
                  </a:ext>
                </a:extLst>
              </p:cNvPr>
              <p:cNvSpPr/>
              <p:nvPr/>
            </p:nvSpPr>
            <p:spPr>
              <a:xfrm>
                <a:off x="6045422" y="1860021"/>
                <a:ext cx="1265323" cy="674867"/>
              </a:xfrm>
              <a:custGeom>
                <a:avLst/>
                <a:gdLst>
                  <a:gd name="connsiteX0" fmla="*/ 1180947 w 1265323"/>
                  <a:gd name="connsiteY0" fmla="*/ 674867 h 674867"/>
                  <a:gd name="connsiteX1" fmla="*/ 1096583 w 1265323"/>
                  <a:gd name="connsiteY1" fmla="*/ 590502 h 674867"/>
                  <a:gd name="connsiteX2" fmla="*/ 1096605 w 1265323"/>
                  <a:gd name="connsiteY2" fmla="*/ 168730 h 674867"/>
                  <a:gd name="connsiteX3" fmla="*/ 84365 w 1265323"/>
                  <a:gd name="connsiteY3" fmla="*/ 168730 h 674867"/>
                  <a:gd name="connsiteX4" fmla="*/ 0 w 1265323"/>
                  <a:gd name="connsiteY4" fmla="*/ 84365 h 674867"/>
                  <a:gd name="connsiteX5" fmla="*/ 84365 w 1265323"/>
                  <a:gd name="connsiteY5" fmla="*/ 0 h 674867"/>
                  <a:gd name="connsiteX6" fmla="*/ 1180959 w 1265323"/>
                  <a:gd name="connsiteY6" fmla="*/ 0 h 674867"/>
                  <a:gd name="connsiteX7" fmla="*/ 1265324 w 1265323"/>
                  <a:gd name="connsiteY7" fmla="*/ 84365 h 674867"/>
                  <a:gd name="connsiteX8" fmla="*/ 1265324 w 1265323"/>
                  <a:gd name="connsiteY8" fmla="*/ 590479 h 674867"/>
                  <a:gd name="connsiteX9" fmla="*/ 1180959 w 1265323"/>
                  <a:gd name="connsiteY9" fmla="*/ 674867 h 674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5323" h="674867">
                    <a:moveTo>
                      <a:pt x="1180947" y="674867"/>
                    </a:moveTo>
                    <a:cubicBezTo>
                      <a:pt x="1134359" y="674867"/>
                      <a:pt x="1096583" y="637097"/>
                      <a:pt x="1096583" y="590502"/>
                    </a:cubicBezTo>
                    <a:lnTo>
                      <a:pt x="1096605" y="168730"/>
                    </a:lnTo>
                    <a:lnTo>
                      <a:pt x="84365" y="168730"/>
                    </a:lnTo>
                    <a:cubicBezTo>
                      <a:pt x="37776" y="168730"/>
                      <a:pt x="0" y="130959"/>
                      <a:pt x="0" y="84365"/>
                    </a:cubicBezTo>
                    <a:cubicBezTo>
                      <a:pt x="0" y="37770"/>
                      <a:pt x="37770" y="0"/>
                      <a:pt x="84365" y="0"/>
                    </a:cubicBezTo>
                    <a:lnTo>
                      <a:pt x="1180959" y="0"/>
                    </a:lnTo>
                    <a:cubicBezTo>
                      <a:pt x="1227547" y="0"/>
                      <a:pt x="1265324" y="37770"/>
                      <a:pt x="1265324" y="84365"/>
                    </a:cubicBezTo>
                    <a:lnTo>
                      <a:pt x="1265324" y="590479"/>
                    </a:lnTo>
                    <a:cubicBezTo>
                      <a:pt x="1265324" y="637091"/>
                      <a:pt x="1227553" y="674867"/>
                      <a:pt x="1180959" y="674867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985567A-3589-4BBE-9704-945F92139D7E}"/>
                  </a:ext>
                </a:extLst>
              </p:cNvPr>
              <p:cNvSpPr/>
              <p:nvPr/>
            </p:nvSpPr>
            <p:spPr>
              <a:xfrm>
                <a:off x="6973295" y="2197454"/>
                <a:ext cx="506137" cy="337433"/>
              </a:xfrm>
              <a:custGeom>
                <a:avLst/>
                <a:gdLst>
                  <a:gd name="connsiteX0" fmla="*/ 253075 w 506137"/>
                  <a:gd name="connsiteY0" fmla="*/ 337434 h 337433"/>
                  <a:gd name="connsiteX1" fmla="*/ 193421 w 506137"/>
                  <a:gd name="connsiteY1" fmla="*/ 312722 h 337433"/>
                  <a:gd name="connsiteX2" fmla="*/ 24714 w 506137"/>
                  <a:gd name="connsiteY2" fmla="*/ 144015 h 337433"/>
                  <a:gd name="connsiteX3" fmla="*/ 24714 w 506137"/>
                  <a:gd name="connsiteY3" fmla="*/ 24714 h 337433"/>
                  <a:gd name="connsiteX4" fmla="*/ 144015 w 506137"/>
                  <a:gd name="connsiteY4" fmla="*/ 24714 h 337433"/>
                  <a:gd name="connsiteX5" fmla="*/ 253069 w 506137"/>
                  <a:gd name="connsiteY5" fmla="*/ 133768 h 337433"/>
                  <a:gd name="connsiteX6" fmla="*/ 362122 w 506137"/>
                  <a:gd name="connsiteY6" fmla="*/ 24714 h 337433"/>
                  <a:gd name="connsiteX7" fmla="*/ 481423 w 506137"/>
                  <a:gd name="connsiteY7" fmla="*/ 24714 h 337433"/>
                  <a:gd name="connsiteX8" fmla="*/ 481423 w 506137"/>
                  <a:gd name="connsiteY8" fmla="*/ 144015 h 337433"/>
                  <a:gd name="connsiteX9" fmla="*/ 312716 w 506137"/>
                  <a:gd name="connsiteY9" fmla="*/ 312722 h 337433"/>
                  <a:gd name="connsiteX10" fmla="*/ 253063 w 506137"/>
                  <a:gd name="connsiteY10" fmla="*/ 337434 h 337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06137" h="337433">
                    <a:moveTo>
                      <a:pt x="253075" y="337434"/>
                    </a:moveTo>
                    <a:cubicBezTo>
                      <a:pt x="231489" y="337434"/>
                      <a:pt x="209898" y="329198"/>
                      <a:pt x="193421" y="312722"/>
                    </a:cubicBezTo>
                    <a:lnTo>
                      <a:pt x="24714" y="144015"/>
                    </a:lnTo>
                    <a:cubicBezTo>
                      <a:pt x="-8238" y="111062"/>
                      <a:pt x="-8238" y="57667"/>
                      <a:pt x="24714" y="24714"/>
                    </a:cubicBezTo>
                    <a:cubicBezTo>
                      <a:pt x="57667" y="-8238"/>
                      <a:pt x="111062" y="-8238"/>
                      <a:pt x="144015" y="24714"/>
                    </a:cubicBezTo>
                    <a:lnTo>
                      <a:pt x="253069" y="133768"/>
                    </a:lnTo>
                    <a:lnTo>
                      <a:pt x="362122" y="24714"/>
                    </a:lnTo>
                    <a:cubicBezTo>
                      <a:pt x="395075" y="-8238"/>
                      <a:pt x="448470" y="-8238"/>
                      <a:pt x="481423" y="24714"/>
                    </a:cubicBezTo>
                    <a:cubicBezTo>
                      <a:pt x="514376" y="57662"/>
                      <a:pt x="514376" y="111062"/>
                      <a:pt x="481423" y="144015"/>
                    </a:cubicBezTo>
                    <a:lnTo>
                      <a:pt x="312716" y="312722"/>
                    </a:lnTo>
                    <a:cubicBezTo>
                      <a:pt x="296240" y="329198"/>
                      <a:pt x="274677" y="337434"/>
                      <a:pt x="253063" y="337434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4841829-B086-4D00-9D45-4DB9FB15A0CB}"/>
                  </a:ext>
                </a:extLst>
              </p:cNvPr>
              <p:cNvSpPr/>
              <p:nvPr/>
            </p:nvSpPr>
            <p:spPr>
              <a:xfrm>
                <a:off x="4864405" y="4390646"/>
                <a:ext cx="1265335" cy="674844"/>
              </a:xfrm>
              <a:custGeom>
                <a:avLst/>
                <a:gdLst>
                  <a:gd name="connsiteX0" fmla="*/ 1180959 w 1265335"/>
                  <a:gd name="connsiteY0" fmla="*/ 674844 h 674844"/>
                  <a:gd name="connsiteX1" fmla="*/ 84365 w 1265335"/>
                  <a:gd name="connsiteY1" fmla="*/ 674844 h 674844"/>
                  <a:gd name="connsiteX2" fmla="*/ 0 w 1265335"/>
                  <a:gd name="connsiteY2" fmla="*/ 590479 h 674844"/>
                  <a:gd name="connsiteX3" fmla="*/ 0 w 1265335"/>
                  <a:gd name="connsiteY3" fmla="*/ 84365 h 674844"/>
                  <a:gd name="connsiteX4" fmla="*/ 84365 w 1265335"/>
                  <a:gd name="connsiteY4" fmla="*/ 0 h 674844"/>
                  <a:gd name="connsiteX5" fmla="*/ 168730 w 1265335"/>
                  <a:gd name="connsiteY5" fmla="*/ 84365 h 674844"/>
                  <a:gd name="connsiteX6" fmla="*/ 168730 w 1265335"/>
                  <a:gd name="connsiteY6" fmla="*/ 506137 h 674844"/>
                  <a:gd name="connsiteX7" fmla="*/ 1180971 w 1265335"/>
                  <a:gd name="connsiteY7" fmla="*/ 506137 h 674844"/>
                  <a:gd name="connsiteX8" fmla="*/ 1265335 w 1265335"/>
                  <a:gd name="connsiteY8" fmla="*/ 590502 h 674844"/>
                  <a:gd name="connsiteX9" fmla="*/ 1180948 w 1265335"/>
                  <a:gd name="connsiteY9" fmla="*/ 674844 h 67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5335" h="674844">
                    <a:moveTo>
                      <a:pt x="1180959" y="674844"/>
                    </a:moveTo>
                    <a:lnTo>
                      <a:pt x="84365" y="674844"/>
                    </a:lnTo>
                    <a:cubicBezTo>
                      <a:pt x="37776" y="674844"/>
                      <a:pt x="0" y="637074"/>
                      <a:pt x="0" y="590479"/>
                    </a:cubicBezTo>
                    <a:lnTo>
                      <a:pt x="0" y="84365"/>
                    </a:ln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9" y="0"/>
                      <a:pt x="168730" y="37770"/>
                      <a:pt x="168730" y="84365"/>
                    </a:cubicBezTo>
                    <a:lnTo>
                      <a:pt x="168730" y="506137"/>
                    </a:lnTo>
                    <a:lnTo>
                      <a:pt x="1180971" y="506137"/>
                    </a:lnTo>
                    <a:cubicBezTo>
                      <a:pt x="1227559" y="506137"/>
                      <a:pt x="1265335" y="543908"/>
                      <a:pt x="1265335" y="590502"/>
                    </a:cubicBezTo>
                    <a:cubicBezTo>
                      <a:pt x="1265313" y="637068"/>
                      <a:pt x="1227542" y="674844"/>
                      <a:pt x="1180948" y="674844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D8133B6-326D-4487-88B3-DD29476758D3}"/>
                  </a:ext>
                </a:extLst>
              </p:cNvPr>
              <p:cNvSpPr/>
              <p:nvPr/>
            </p:nvSpPr>
            <p:spPr>
              <a:xfrm>
                <a:off x="4695759" y="4390625"/>
                <a:ext cx="506143" cy="337402"/>
              </a:xfrm>
              <a:custGeom>
                <a:avLst/>
                <a:gdLst>
                  <a:gd name="connsiteX0" fmla="*/ 421776 w 506143"/>
                  <a:gd name="connsiteY0" fmla="*/ 337394 h 337402"/>
                  <a:gd name="connsiteX1" fmla="*/ 362122 w 506143"/>
                  <a:gd name="connsiteY1" fmla="*/ 312682 h 337402"/>
                  <a:gd name="connsiteX2" fmla="*/ 253069 w 506143"/>
                  <a:gd name="connsiteY2" fmla="*/ 203651 h 337402"/>
                  <a:gd name="connsiteX3" fmla="*/ 144015 w 506143"/>
                  <a:gd name="connsiteY3" fmla="*/ 312705 h 337402"/>
                  <a:gd name="connsiteX4" fmla="*/ 24714 w 506143"/>
                  <a:gd name="connsiteY4" fmla="*/ 312705 h 337402"/>
                  <a:gd name="connsiteX5" fmla="*/ 24714 w 506143"/>
                  <a:gd name="connsiteY5" fmla="*/ 193404 h 337402"/>
                  <a:gd name="connsiteX6" fmla="*/ 193421 w 506143"/>
                  <a:gd name="connsiteY6" fmla="*/ 24697 h 337402"/>
                  <a:gd name="connsiteX7" fmla="*/ 312722 w 506143"/>
                  <a:gd name="connsiteY7" fmla="*/ 24697 h 337402"/>
                  <a:gd name="connsiteX8" fmla="*/ 481429 w 506143"/>
                  <a:gd name="connsiteY8" fmla="*/ 193404 h 337402"/>
                  <a:gd name="connsiteX9" fmla="*/ 481429 w 506143"/>
                  <a:gd name="connsiteY9" fmla="*/ 312705 h 337402"/>
                  <a:gd name="connsiteX10" fmla="*/ 421776 w 506143"/>
                  <a:gd name="connsiteY10" fmla="*/ 337394 h 337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06143" h="337402">
                    <a:moveTo>
                      <a:pt x="421776" y="337394"/>
                    </a:moveTo>
                    <a:cubicBezTo>
                      <a:pt x="400190" y="337394"/>
                      <a:pt x="378599" y="329158"/>
                      <a:pt x="362122" y="312682"/>
                    </a:cubicBezTo>
                    <a:lnTo>
                      <a:pt x="253069" y="203651"/>
                    </a:lnTo>
                    <a:lnTo>
                      <a:pt x="144015" y="312705"/>
                    </a:lnTo>
                    <a:cubicBezTo>
                      <a:pt x="111062" y="345635"/>
                      <a:pt x="57667" y="345635"/>
                      <a:pt x="24714" y="312705"/>
                    </a:cubicBezTo>
                    <a:cubicBezTo>
                      <a:pt x="-8238" y="279752"/>
                      <a:pt x="-8238" y="226357"/>
                      <a:pt x="24714" y="193404"/>
                    </a:cubicBezTo>
                    <a:lnTo>
                      <a:pt x="193421" y="24697"/>
                    </a:lnTo>
                    <a:cubicBezTo>
                      <a:pt x="226374" y="-8232"/>
                      <a:pt x="279769" y="-8232"/>
                      <a:pt x="312722" y="24697"/>
                    </a:cubicBezTo>
                    <a:lnTo>
                      <a:pt x="481429" y="193404"/>
                    </a:lnTo>
                    <a:cubicBezTo>
                      <a:pt x="514381" y="226351"/>
                      <a:pt x="514381" y="279752"/>
                      <a:pt x="481429" y="312705"/>
                    </a:cubicBezTo>
                    <a:cubicBezTo>
                      <a:pt x="464952" y="329158"/>
                      <a:pt x="443367" y="337394"/>
                      <a:pt x="421776" y="337394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00767CC-6B4F-47E7-922C-26D670F052F0}"/>
                  </a:ext>
                </a:extLst>
              </p:cNvPr>
              <p:cNvSpPr/>
              <p:nvPr/>
            </p:nvSpPr>
            <p:spPr>
              <a:xfrm>
                <a:off x="6382778" y="3614646"/>
                <a:ext cx="1771457" cy="493415"/>
              </a:xfrm>
              <a:custGeom>
                <a:avLst/>
                <a:gdLst>
                  <a:gd name="connsiteX0" fmla="*/ 863594 w 1771457"/>
                  <a:gd name="connsiteY0" fmla="*/ 493410 h 493415"/>
                  <a:gd name="connsiteX1" fmla="*/ 280149 w 1771457"/>
                  <a:gd name="connsiteY1" fmla="*/ 391815 h 493415"/>
                  <a:gd name="connsiteX2" fmla="*/ 0 w 1771457"/>
                  <a:gd name="connsiteY2" fmla="*/ 84365 h 493415"/>
                  <a:gd name="connsiteX3" fmla="*/ 84365 w 1771457"/>
                  <a:gd name="connsiteY3" fmla="*/ 0 h 493415"/>
                  <a:gd name="connsiteX4" fmla="*/ 168730 w 1771457"/>
                  <a:gd name="connsiteY4" fmla="*/ 84365 h 493415"/>
                  <a:gd name="connsiteX5" fmla="*/ 863617 w 1771457"/>
                  <a:gd name="connsiteY5" fmla="*/ 324686 h 493415"/>
                  <a:gd name="connsiteX6" fmla="*/ 1405804 w 1771457"/>
                  <a:gd name="connsiteY6" fmla="*/ 235481 h 493415"/>
                  <a:gd name="connsiteX7" fmla="*/ 1602749 w 1771457"/>
                  <a:gd name="connsiteY7" fmla="*/ 84593 h 493415"/>
                  <a:gd name="connsiteX8" fmla="*/ 1687091 w 1771457"/>
                  <a:gd name="connsiteY8" fmla="*/ 720 h 493415"/>
                  <a:gd name="connsiteX9" fmla="*/ 1687582 w 1771457"/>
                  <a:gd name="connsiteY9" fmla="*/ 720 h 493415"/>
                  <a:gd name="connsiteX10" fmla="*/ 1771456 w 1771457"/>
                  <a:gd name="connsiteY10" fmla="*/ 85553 h 493415"/>
                  <a:gd name="connsiteX11" fmla="*/ 1466509 w 1771457"/>
                  <a:gd name="connsiteY11" fmla="*/ 392889 h 493415"/>
                  <a:gd name="connsiteX12" fmla="*/ 863577 w 1771457"/>
                  <a:gd name="connsiteY12" fmla="*/ 493416 h 493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1457" h="493415">
                    <a:moveTo>
                      <a:pt x="863594" y="493410"/>
                    </a:moveTo>
                    <a:cubicBezTo>
                      <a:pt x="644572" y="493410"/>
                      <a:pt x="437380" y="457337"/>
                      <a:pt x="280149" y="391815"/>
                    </a:cubicBezTo>
                    <a:cubicBezTo>
                      <a:pt x="99504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48"/>
                      <a:pt x="439432" y="324686"/>
                      <a:pt x="863617" y="324686"/>
                    </a:cubicBezTo>
                    <a:cubicBezTo>
                      <a:pt x="1061139" y="324686"/>
                      <a:pt x="1258780" y="292162"/>
                      <a:pt x="1405804" y="235481"/>
                    </a:cubicBezTo>
                    <a:cubicBezTo>
                      <a:pt x="1541559" y="183132"/>
                      <a:pt x="1602526" y="121987"/>
                      <a:pt x="1602749" y="84593"/>
                    </a:cubicBezTo>
                    <a:cubicBezTo>
                      <a:pt x="1603017" y="38182"/>
                      <a:pt x="1640725" y="720"/>
                      <a:pt x="1687091" y="720"/>
                    </a:cubicBezTo>
                    <a:lnTo>
                      <a:pt x="1687582" y="720"/>
                    </a:lnTo>
                    <a:cubicBezTo>
                      <a:pt x="1734171" y="989"/>
                      <a:pt x="1771724" y="38959"/>
                      <a:pt x="1771456" y="85553"/>
                    </a:cubicBezTo>
                    <a:cubicBezTo>
                      <a:pt x="1770764" y="208180"/>
                      <a:pt x="1662471" y="317325"/>
                      <a:pt x="1466509" y="392889"/>
                    </a:cubicBezTo>
                    <a:cubicBezTo>
                      <a:pt x="1300843" y="456783"/>
                      <a:pt x="1081101" y="493416"/>
                      <a:pt x="863577" y="493416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E6D3F402-0852-4DEC-91D0-7DA7E0BC64FA}"/>
                  </a:ext>
                </a:extLst>
              </p:cNvPr>
              <p:cNvSpPr/>
              <p:nvPr/>
            </p:nvSpPr>
            <p:spPr>
              <a:xfrm>
                <a:off x="6382801" y="4065982"/>
                <a:ext cx="1771457" cy="493393"/>
              </a:xfrm>
              <a:custGeom>
                <a:avLst/>
                <a:gdLst>
                  <a:gd name="connsiteX0" fmla="*/ 863571 w 1771457"/>
                  <a:gd name="connsiteY0" fmla="*/ 493387 h 493393"/>
                  <a:gd name="connsiteX1" fmla="*/ 280126 w 1771457"/>
                  <a:gd name="connsiteY1" fmla="*/ 391792 h 493393"/>
                  <a:gd name="connsiteX2" fmla="*/ 0 w 1771457"/>
                  <a:gd name="connsiteY2" fmla="*/ 84365 h 493393"/>
                  <a:gd name="connsiteX3" fmla="*/ 84365 w 1771457"/>
                  <a:gd name="connsiteY3" fmla="*/ 0 h 493393"/>
                  <a:gd name="connsiteX4" fmla="*/ 168730 w 1771457"/>
                  <a:gd name="connsiteY4" fmla="*/ 84365 h 493393"/>
                  <a:gd name="connsiteX5" fmla="*/ 863616 w 1771457"/>
                  <a:gd name="connsiteY5" fmla="*/ 324686 h 493393"/>
                  <a:gd name="connsiteX6" fmla="*/ 1405804 w 1771457"/>
                  <a:gd name="connsiteY6" fmla="*/ 235481 h 493393"/>
                  <a:gd name="connsiteX7" fmla="*/ 1602749 w 1771457"/>
                  <a:gd name="connsiteY7" fmla="*/ 84593 h 493393"/>
                  <a:gd name="connsiteX8" fmla="*/ 1687091 w 1771457"/>
                  <a:gd name="connsiteY8" fmla="*/ 720 h 493393"/>
                  <a:gd name="connsiteX9" fmla="*/ 1687582 w 1771457"/>
                  <a:gd name="connsiteY9" fmla="*/ 720 h 493393"/>
                  <a:gd name="connsiteX10" fmla="*/ 1771456 w 1771457"/>
                  <a:gd name="connsiteY10" fmla="*/ 85553 h 493393"/>
                  <a:gd name="connsiteX11" fmla="*/ 1466509 w 1771457"/>
                  <a:gd name="connsiteY11" fmla="*/ 392889 h 493393"/>
                  <a:gd name="connsiteX12" fmla="*/ 863577 w 1771457"/>
                  <a:gd name="connsiteY12" fmla="*/ 493393 h 493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1457" h="493393">
                    <a:moveTo>
                      <a:pt x="863571" y="493387"/>
                    </a:moveTo>
                    <a:cubicBezTo>
                      <a:pt x="644549" y="493387"/>
                      <a:pt x="437357" y="457308"/>
                      <a:pt x="280126" y="391792"/>
                    </a:cubicBezTo>
                    <a:cubicBezTo>
                      <a:pt x="99481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48"/>
                      <a:pt x="439432" y="324686"/>
                      <a:pt x="863616" y="324686"/>
                    </a:cubicBezTo>
                    <a:cubicBezTo>
                      <a:pt x="1061138" y="324686"/>
                      <a:pt x="1258780" y="292162"/>
                      <a:pt x="1405804" y="235481"/>
                    </a:cubicBezTo>
                    <a:cubicBezTo>
                      <a:pt x="1541558" y="183132"/>
                      <a:pt x="1602526" y="121987"/>
                      <a:pt x="1602749" y="84593"/>
                    </a:cubicBezTo>
                    <a:cubicBezTo>
                      <a:pt x="1603017" y="38182"/>
                      <a:pt x="1640719" y="720"/>
                      <a:pt x="1687091" y="720"/>
                    </a:cubicBezTo>
                    <a:lnTo>
                      <a:pt x="1687582" y="720"/>
                    </a:lnTo>
                    <a:cubicBezTo>
                      <a:pt x="1734171" y="989"/>
                      <a:pt x="1771724" y="38959"/>
                      <a:pt x="1771456" y="85553"/>
                    </a:cubicBezTo>
                    <a:cubicBezTo>
                      <a:pt x="1770764" y="208180"/>
                      <a:pt x="1662471" y="317325"/>
                      <a:pt x="1466509" y="392889"/>
                    </a:cubicBezTo>
                    <a:cubicBezTo>
                      <a:pt x="1300820" y="456760"/>
                      <a:pt x="1081083" y="493393"/>
                      <a:pt x="863577" y="493393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0C3FA9E8-8C20-4633-B6A2-1692F66272C0}"/>
                  </a:ext>
                </a:extLst>
              </p:cNvPr>
              <p:cNvSpPr/>
              <p:nvPr/>
            </p:nvSpPr>
            <p:spPr>
              <a:xfrm>
                <a:off x="6382801" y="4487749"/>
                <a:ext cx="1771457" cy="493393"/>
              </a:xfrm>
              <a:custGeom>
                <a:avLst/>
                <a:gdLst>
                  <a:gd name="connsiteX0" fmla="*/ 863571 w 1771457"/>
                  <a:gd name="connsiteY0" fmla="*/ 493388 h 493393"/>
                  <a:gd name="connsiteX1" fmla="*/ 280126 w 1771457"/>
                  <a:gd name="connsiteY1" fmla="*/ 391792 h 493393"/>
                  <a:gd name="connsiteX2" fmla="*/ 0 w 1771457"/>
                  <a:gd name="connsiteY2" fmla="*/ 84365 h 493393"/>
                  <a:gd name="connsiteX3" fmla="*/ 84365 w 1771457"/>
                  <a:gd name="connsiteY3" fmla="*/ 0 h 493393"/>
                  <a:gd name="connsiteX4" fmla="*/ 168730 w 1771457"/>
                  <a:gd name="connsiteY4" fmla="*/ 84365 h 493393"/>
                  <a:gd name="connsiteX5" fmla="*/ 863616 w 1771457"/>
                  <a:gd name="connsiteY5" fmla="*/ 324686 h 493393"/>
                  <a:gd name="connsiteX6" fmla="*/ 1405804 w 1771457"/>
                  <a:gd name="connsiteY6" fmla="*/ 235481 h 493393"/>
                  <a:gd name="connsiteX7" fmla="*/ 1602749 w 1771457"/>
                  <a:gd name="connsiteY7" fmla="*/ 84593 h 493393"/>
                  <a:gd name="connsiteX8" fmla="*/ 1687091 w 1771457"/>
                  <a:gd name="connsiteY8" fmla="*/ 720 h 493393"/>
                  <a:gd name="connsiteX9" fmla="*/ 1687582 w 1771457"/>
                  <a:gd name="connsiteY9" fmla="*/ 720 h 493393"/>
                  <a:gd name="connsiteX10" fmla="*/ 1771456 w 1771457"/>
                  <a:gd name="connsiteY10" fmla="*/ 85554 h 493393"/>
                  <a:gd name="connsiteX11" fmla="*/ 1466509 w 1771457"/>
                  <a:gd name="connsiteY11" fmla="*/ 392889 h 493393"/>
                  <a:gd name="connsiteX12" fmla="*/ 863577 w 1771457"/>
                  <a:gd name="connsiteY12" fmla="*/ 493393 h 493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71457" h="493393">
                    <a:moveTo>
                      <a:pt x="863571" y="493388"/>
                    </a:moveTo>
                    <a:cubicBezTo>
                      <a:pt x="644549" y="493388"/>
                      <a:pt x="437357" y="457314"/>
                      <a:pt x="280126" y="391792"/>
                    </a:cubicBezTo>
                    <a:cubicBezTo>
                      <a:pt x="99481" y="316537"/>
                      <a:pt x="0" y="207352"/>
                      <a:pt x="0" y="84365"/>
                    </a:cubicBezTo>
                    <a:cubicBezTo>
                      <a:pt x="0" y="37776"/>
                      <a:pt x="37770" y="0"/>
                      <a:pt x="84365" y="0"/>
                    </a:cubicBezTo>
                    <a:cubicBezTo>
                      <a:pt x="130954" y="0"/>
                      <a:pt x="168730" y="37770"/>
                      <a:pt x="168730" y="84365"/>
                    </a:cubicBezTo>
                    <a:cubicBezTo>
                      <a:pt x="168730" y="182348"/>
                      <a:pt x="439432" y="324686"/>
                      <a:pt x="863616" y="324686"/>
                    </a:cubicBezTo>
                    <a:cubicBezTo>
                      <a:pt x="1061138" y="324686"/>
                      <a:pt x="1258780" y="292162"/>
                      <a:pt x="1405804" y="235481"/>
                    </a:cubicBezTo>
                    <a:cubicBezTo>
                      <a:pt x="1541558" y="183132"/>
                      <a:pt x="1602526" y="121987"/>
                      <a:pt x="1602749" y="84593"/>
                    </a:cubicBezTo>
                    <a:cubicBezTo>
                      <a:pt x="1603017" y="38182"/>
                      <a:pt x="1640719" y="720"/>
                      <a:pt x="1687091" y="720"/>
                    </a:cubicBezTo>
                    <a:lnTo>
                      <a:pt x="1687582" y="720"/>
                    </a:lnTo>
                    <a:cubicBezTo>
                      <a:pt x="1734171" y="989"/>
                      <a:pt x="1771724" y="38959"/>
                      <a:pt x="1771456" y="85554"/>
                    </a:cubicBezTo>
                    <a:cubicBezTo>
                      <a:pt x="1770764" y="208180"/>
                      <a:pt x="1662471" y="317326"/>
                      <a:pt x="1466509" y="392889"/>
                    </a:cubicBezTo>
                    <a:cubicBezTo>
                      <a:pt x="1300820" y="456760"/>
                      <a:pt x="1081083" y="493393"/>
                      <a:pt x="863577" y="493393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B0ACD71-392A-4547-AC22-8838B0BD7C0F}"/>
                  </a:ext>
                </a:extLst>
              </p:cNvPr>
              <p:cNvSpPr/>
              <p:nvPr/>
            </p:nvSpPr>
            <p:spPr>
              <a:xfrm>
                <a:off x="6382761" y="3145695"/>
                <a:ext cx="1771455" cy="2341590"/>
              </a:xfrm>
              <a:custGeom>
                <a:avLst/>
                <a:gdLst>
                  <a:gd name="connsiteX0" fmla="*/ 863611 w 1771455"/>
                  <a:gd name="connsiteY0" fmla="*/ 2341562 h 2341590"/>
                  <a:gd name="connsiteX1" fmla="*/ 283538 w 1771455"/>
                  <a:gd name="connsiteY1" fmla="*/ 2241372 h 2341590"/>
                  <a:gd name="connsiteX2" fmla="*/ 377 w 1771455"/>
                  <a:gd name="connsiteY2" fmla="*/ 1944460 h 2341590"/>
                  <a:gd name="connsiteX3" fmla="*/ 0 w 1771455"/>
                  <a:gd name="connsiteY3" fmla="*/ 1936425 h 2341590"/>
                  <a:gd name="connsiteX4" fmla="*/ 17 w 1771455"/>
                  <a:gd name="connsiteY4" fmla="*/ 84365 h 2341590"/>
                  <a:gd name="connsiteX5" fmla="*/ 84388 w 1771455"/>
                  <a:gd name="connsiteY5" fmla="*/ 0 h 2341590"/>
                  <a:gd name="connsiteX6" fmla="*/ 168753 w 1771455"/>
                  <a:gd name="connsiteY6" fmla="*/ 84365 h 2341590"/>
                  <a:gd name="connsiteX7" fmla="*/ 863634 w 1771455"/>
                  <a:gd name="connsiteY7" fmla="*/ 324709 h 2341590"/>
                  <a:gd name="connsiteX8" fmla="*/ 1406364 w 1771455"/>
                  <a:gd name="connsiteY8" fmla="*/ 235281 h 2341590"/>
                  <a:gd name="connsiteX9" fmla="*/ 1602726 w 1771455"/>
                  <a:gd name="connsiteY9" fmla="*/ 84371 h 2341590"/>
                  <a:gd name="connsiteX10" fmla="*/ 1687085 w 1771455"/>
                  <a:gd name="connsiteY10" fmla="*/ 6 h 2341590"/>
                  <a:gd name="connsiteX11" fmla="*/ 1771456 w 1771455"/>
                  <a:gd name="connsiteY11" fmla="*/ 84371 h 2341590"/>
                  <a:gd name="connsiteX12" fmla="*/ 1771456 w 1771455"/>
                  <a:gd name="connsiteY12" fmla="*/ 1936431 h 2341590"/>
                  <a:gd name="connsiteX13" fmla="*/ 1771050 w 1771455"/>
                  <a:gd name="connsiteY13" fmla="*/ 1944620 h 2341590"/>
                  <a:gd name="connsiteX14" fmla="*/ 1463737 w 1771455"/>
                  <a:gd name="connsiteY14" fmla="*/ 2242200 h 2341590"/>
                  <a:gd name="connsiteX15" fmla="*/ 863605 w 1771455"/>
                  <a:gd name="connsiteY15" fmla="*/ 2341590 h 2341590"/>
                  <a:gd name="connsiteX16" fmla="*/ 168724 w 1771455"/>
                  <a:gd name="connsiteY16" fmla="*/ 1931979 h 2341590"/>
                  <a:gd name="connsiteX17" fmla="*/ 168815 w 1771455"/>
                  <a:gd name="connsiteY17" fmla="*/ 1934007 h 2341590"/>
                  <a:gd name="connsiteX18" fmla="*/ 863588 w 1771455"/>
                  <a:gd name="connsiteY18" fmla="*/ 2172832 h 2341590"/>
                  <a:gd name="connsiteX19" fmla="*/ 1403501 w 1771455"/>
                  <a:gd name="connsiteY19" fmla="*/ 2084564 h 2341590"/>
                  <a:gd name="connsiteX20" fmla="*/ 1602635 w 1771455"/>
                  <a:gd name="connsiteY20" fmla="*/ 1934007 h 2341590"/>
                  <a:gd name="connsiteX21" fmla="*/ 1602720 w 1771455"/>
                  <a:gd name="connsiteY21" fmla="*/ 1931979 h 2341590"/>
                  <a:gd name="connsiteX22" fmla="*/ 1602720 w 1771455"/>
                  <a:gd name="connsiteY22" fmla="*/ 326521 h 2341590"/>
                  <a:gd name="connsiteX23" fmla="*/ 1467121 w 1771455"/>
                  <a:gd name="connsiteY23" fmla="*/ 392598 h 2341590"/>
                  <a:gd name="connsiteX24" fmla="*/ 863559 w 1771455"/>
                  <a:gd name="connsiteY24" fmla="*/ 493370 h 2341590"/>
                  <a:gd name="connsiteX25" fmla="*/ 280115 w 1771455"/>
                  <a:gd name="connsiteY25" fmla="*/ 391775 h 2341590"/>
                  <a:gd name="connsiteX26" fmla="*/ 168695 w 1771455"/>
                  <a:gd name="connsiteY26" fmla="*/ 334756 h 2341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71455" h="2341590">
                    <a:moveTo>
                      <a:pt x="863611" y="2341562"/>
                    </a:moveTo>
                    <a:cubicBezTo>
                      <a:pt x="646327" y="2341562"/>
                      <a:pt x="440347" y="2305974"/>
                      <a:pt x="283538" y="2241372"/>
                    </a:cubicBezTo>
                    <a:cubicBezTo>
                      <a:pt x="106996" y="2168620"/>
                      <a:pt x="6715" y="2063338"/>
                      <a:pt x="377" y="1944460"/>
                    </a:cubicBezTo>
                    <a:cubicBezTo>
                      <a:pt x="132" y="1941803"/>
                      <a:pt x="0" y="1939123"/>
                      <a:pt x="0" y="1936425"/>
                    </a:cubicBezTo>
                    <a:lnTo>
                      <a:pt x="17" y="84365"/>
                    </a:lnTo>
                    <a:cubicBezTo>
                      <a:pt x="17" y="37770"/>
                      <a:pt x="37793" y="0"/>
                      <a:pt x="84388" y="0"/>
                    </a:cubicBezTo>
                    <a:cubicBezTo>
                      <a:pt x="130976" y="0"/>
                      <a:pt x="168753" y="37770"/>
                      <a:pt x="168753" y="84365"/>
                    </a:cubicBezTo>
                    <a:cubicBezTo>
                      <a:pt x="168753" y="182366"/>
                      <a:pt x="439449" y="324709"/>
                      <a:pt x="863634" y="324709"/>
                    </a:cubicBezTo>
                    <a:cubicBezTo>
                      <a:pt x="1061447" y="324709"/>
                      <a:pt x="1259266" y="292117"/>
                      <a:pt x="1406364" y="235281"/>
                    </a:cubicBezTo>
                    <a:cubicBezTo>
                      <a:pt x="1542004" y="182840"/>
                      <a:pt x="1602726" y="121695"/>
                      <a:pt x="1602726" y="84371"/>
                    </a:cubicBezTo>
                    <a:cubicBezTo>
                      <a:pt x="1602726" y="37782"/>
                      <a:pt x="1640497" y="6"/>
                      <a:pt x="1687085" y="6"/>
                    </a:cubicBezTo>
                    <a:cubicBezTo>
                      <a:pt x="1733680" y="6"/>
                      <a:pt x="1771456" y="37776"/>
                      <a:pt x="1771456" y="84371"/>
                    </a:cubicBezTo>
                    <a:lnTo>
                      <a:pt x="1771456" y="1936431"/>
                    </a:lnTo>
                    <a:cubicBezTo>
                      <a:pt x="1771456" y="1939197"/>
                      <a:pt x="1771319" y="1941923"/>
                      <a:pt x="1771050" y="1944620"/>
                    </a:cubicBezTo>
                    <a:cubicBezTo>
                      <a:pt x="1766295" y="2029991"/>
                      <a:pt x="1707962" y="2148886"/>
                      <a:pt x="1463737" y="2242200"/>
                    </a:cubicBezTo>
                    <a:cubicBezTo>
                      <a:pt x="1298448" y="2305357"/>
                      <a:pt x="1079718" y="2341590"/>
                      <a:pt x="863605" y="2341590"/>
                    </a:cubicBezTo>
                    <a:close/>
                    <a:moveTo>
                      <a:pt x="168724" y="1931979"/>
                    </a:moveTo>
                    <a:cubicBezTo>
                      <a:pt x="168770" y="1932647"/>
                      <a:pt x="168792" y="1933316"/>
                      <a:pt x="168815" y="1934007"/>
                    </a:cubicBezTo>
                    <a:cubicBezTo>
                      <a:pt x="171536" y="2031385"/>
                      <a:pt x="443581" y="2172832"/>
                      <a:pt x="863588" y="2172832"/>
                    </a:cubicBezTo>
                    <a:cubicBezTo>
                      <a:pt x="1059910" y="2172832"/>
                      <a:pt x="1256694" y="2140668"/>
                      <a:pt x="1403501" y="2084564"/>
                    </a:cubicBezTo>
                    <a:cubicBezTo>
                      <a:pt x="1539587" y="2032574"/>
                      <a:pt x="1601583" y="1971470"/>
                      <a:pt x="1602635" y="1934007"/>
                    </a:cubicBezTo>
                    <a:cubicBezTo>
                      <a:pt x="1602657" y="1933316"/>
                      <a:pt x="1602675" y="1932647"/>
                      <a:pt x="1602720" y="1931979"/>
                    </a:cubicBezTo>
                    <a:lnTo>
                      <a:pt x="1602720" y="326521"/>
                    </a:lnTo>
                    <a:cubicBezTo>
                      <a:pt x="1563813" y="350610"/>
                      <a:pt x="1518470" y="372755"/>
                      <a:pt x="1467121" y="392598"/>
                    </a:cubicBezTo>
                    <a:cubicBezTo>
                      <a:pt x="1301363" y="456646"/>
                      <a:pt x="1081381" y="493370"/>
                      <a:pt x="863559" y="493370"/>
                    </a:cubicBezTo>
                    <a:cubicBezTo>
                      <a:pt x="644538" y="493370"/>
                      <a:pt x="437346" y="457297"/>
                      <a:pt x="280115" y="391775"/>
                    </a:cubicBezTo>
                    <a:cubicBezTo>
                      <a:pt x="238618" y="374476"/>
                      <a:pt x="201402" y="355387"/>
                      <a:pt x="168695" y="334756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8AB7CA9E-FCB4-40D6-B2AF-99C82479B85F}"/>
                  </a:ext>
                </a:extLst>
              </p:cNvPr>
              <p:cNvSpPr/>
              <p:nvPr/>
            </p:nvSpPr>
            <p:spPr>
              <a:xfrm>
                <a:off x="5033124" y="1775650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E2CE826-E014-4F3B-8125-5BB091D32912}"/>
                  </a:ext>
                </a:extLst>
              </p:cNvPr>
              <p:cNvSpPr/>
              <p:nvPr/>
            </p:nvSpPr>
            <p:spPr>
              <a:xfrm>
                <a:off x="4780121" y="1775650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5E645DB-E9C3-4823-91E2-57CC3C82FEE5}"/>
                  </a:ext>
                </a:extLst>
              </p:cNvPr>
              <p:cNvSpPr/>
              <p:nvPr/>
            </p:nvSpPr>
            <p:spPr>
              <a:xfrm>
                <a:off x="4527003" y="1775650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B997A539-FEC3-4FF8-B018-AF97F6D7C514}"/>
                  </a:ext>
                </a:extLst>
              </p:cNvPr>
              <p:cNvSpPr/>
              <p:nvPr/>
            </p:nvSpPr>
            <p:spPr>
              <a:xfrm>
                <a:off x="5286184" y="1775650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35D64A-77E5-455F-B53D-1FCB8C87EE66}"/>
                  </a:ext>
                </a:extLst>
              </p:cNvPr>
              <p:cNvSpPr/>
              <p:nvPr/>
            </p:nvSpPr>
            <p:spPr>
              <a:xfrm>
                <a:off x="7310723" y="3125362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81A56FF-CAE6-4701-AEDD-97305372FE2E}"/>
                  </a:ext>
                </a:extLst>
              </p:cNvPr>
              <p:cNvSpPr/>
              <p:nvPr/>
            </p:nvSpPr>
            <p:spPr>
              <a:xfrm>
                <a:off x="7057663" y="3125362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F29D1693-71EF-48B0-BA5B-7E50286E0393}"/>
                  </a:ext>
                </a:extLst>
              </p:cNvPr>
              <p:cNvSpPr/>
              <p:nvPr/>
            </p:nvSpPr>
            <p:spPr>
              <a:xfrm>
                <a:off x="6804545" y="3125362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E9E7EDDA-BD74-4EB8-A56C-C53DD16708DB}"/>
                  </a:ext>
                </a:extLst>
              </p:cNvPr>
              <p:cNvSpPr/>
              <p:nvPr/>
            </p:nvSpPr>
            <p:spPr>
              <a:xfrm>
                <a:off x="7563783" y="3125362"/>
                <a:ext cx="168706" cy="168706"/>
              </a:xfrm>
              <a:custGeom>
                <a:avLst/>
                <a:gdLst>
                  <a:gd name="connsiteX0" fmla="*/ 0 w 168706"/>
                  <a:gd name="connsiteY0" fmla="*/ 0 h 168706"/>
                  <a:gd name="connsiteX1" fmla="*/ 168707 w 168706"/>
                  <a:gd name="connsiteY1" fmla="*/ 0 h 168706"/>
                  <a:gd name="connsiteX2" fmla="*/ 168707 w 168706"/>
                  <a:gd name="connsiteY2" fmla="*/ 168707 h 168706"/>
                  <a:gd name="connsiteX3" fmla="*/ 0 w 168706"/>
                  <a:gd name="connsiteY3" fmla="*/ 168707 h 1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706" h="168706">
                    <a:moveTo>
                      <a:pt x="0" y="0"/>
                    </a:moveTo>
                    <a:lnTo>
                      <a:pt x="168707" y="0"/>
                    </a:lnTo>
                    <a:lnTo>
                      <a:pt x="168707" y="168707"/>
                    </a:lnTo>
                    <a:lnTo>
                      <a:pt x="0" y="168707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86" name="Graphic 377">
              <a:extLst>
                <a:ext uri="{FF2B5EF4-FFF2-40B4-BE49-F238E27FC236}">
                  <a16:creationId xmlns:a16="http://schemas.microsoft.com/office/drawing/2014/main" id="{D9077D4E-6727-489B-9D32-61C64B27239E}"/>
                </a:ext>
              </a:extLst>
            </p:cNvPr>
            <p:cNvGrpSpPr/>
            <p:nvPr/>
          </p:nvGrpSpPr>
          <p:grpSpPr>
            <a:xfrm>
              <a:off x="4339796" y="5011491"/>
              <a:ext cx="618378" cy="613901"/>
              <a:chOff x="4273972" y="1337024"/>
              <a:chExt cx="3779015" cy="4183934"/>
            </a:xfrm>
            <a:solidFill>
              <a:schemeClr val="accent2"/>
            </a:solidFill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5E8E90A4-574C-4348-8C11-F06E52FE43FD}"/>
                  </a:ext>
                </a:extLst>
              </p:cNvPr>
              <p:cNvSpPr/>
              <p:nvPr/>
            </p:nvSpPr>
            <p:spPr>
              <a:xfrm>
                <a:off x="6028563" y="2551747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C1098543-4232-45C2-A894-D64ABE3FD72D}"/>
                  </a:ext>
                </a:extLst>
              </p:cNvPr>
              <p:cNvSpPr/>
              <p:nvPr/>
            </p:nvSpPr>
            <p:spPr>
              <a:xfrm>
                <a:off x="6028563" y="2821667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03284B3-F083-4BC1-A9E6-064B531E3A4B}"/>
                  </a:ext>
                </a:extLst>
              </p:cNvPr>
              <p:cNvSpPr/>
              <p:nvPr/>
            </p:nvSpPr>
            <p:spPr>
              <a:xfrm>
                <a:off x="6568401" y="2889161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7F7DBF27-1A7C-4CFF-B06C-9DBABABD99E3}"/>
                  </a:ext>
                </a:extLst>
              </p:cNvPr>
              <p:cNvSpPr/>
              <p:nvPr/>
            </p:nvSpPr>
            <p:spPr>
              <a:xfrm>
                <a:off x="6770827" y="2686678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583FAD10-9F39-4560-94BD-E3EE71A0E428}"/>
                  </a:ext>
                </a:extLst>
              </p:cNvPr>
              <p:cNvSpPr/>
              <p:nvPr/>
            </p:nvSpPr>
            <p:spPr>
              <a:xfrm>
                <a:off x="5488667" y="2889161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1492C933-A5C6-464C-97BE-3DA09CF745E3}"/>
                  </a:ext>
                </a:extLst>
              </p:cNvPr>
              <p:cNvSpPr/>
              <p:nvPr/>
            </p:nvSpPr>
            <p:spPr>
              <a:xfrm>
                <a:off x="5286184" y="2686678"/>
                <a:ext cx="134971" cy="134971"/>
              </a:xfrm>
              <a:custGeom>
                <a:avLst/>
                <a:gdLst>
                  <a:gd name="connsiteX0" fmla="*/ 0 w 134971"/>
                  <a:gd name="connsiteY0" fmla="*/ 0 h 134971"/>
                  <a:gd name="connsiteX1" fmla="*/ 134971 w 134971"/>
                  <a:gd name="connsiteY1" fmla="*/ 0 h 134971"/>
                  <a:gd name="connsiteX2" fmla="*/ 134971 w 134971"/>
                  <a:gd name="connsiteY2" fmla="*/ 134971 h 134971"/>
                  <a:gd name="connsiteX3" fmla="*/ 0 w 134971"/>
                  <a:gd name="connsiteY3" fmla="*/ 134971 h 13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971" h="134971">
                    <a:moveTo>
                      <a:pt x="0" y="0"/>
                    </a:moveTo>
                    <a:lnTo>
                      <a:pt x="134971" y="0"/>
                    </a:lnTo>
                    <a:lnTo>
                      <a:pt x="134971" y="134971"/>
                    </a:lnTo>
                    <a:lnTo>
                      <a:pt x="0" y="134971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25F19E0-6C5E-422D-90AE-D77A48C42749}"/>
                  </a:ext>
                </a:extLst>
              </p:cNvPr>
              <p:cNvSpPr/>
              <p:nvPr/>
            </p:nvSpPr>
            <p:spPr>
              <a:xfrm>
                <a:off x="7175746" y="1876908"/>
                <a:ext cx="404896" cy="404896"/>
              </a:xfrm>
              <a:custGeom>
                <a:avLst/>
                <a:gdLst>
                  <a:gd name="connsiteX0" fmla="*/ 404896 w 404896"/>
                  <a:gd name="connsiteY0" fmla="*/ 202437 h 404896"/>
                  <a:gd name="connsiteX1" fmla="*/ 202459 w 404896"/>
                  <a:gd name="connsiteY1" fmla="*/ 404896 h 404896"/>
                  <a:gd name="connsiteX2" fmla="*/ 0 w 404896"/>
                  <a:gd name="connsiteY2" fmla="*/ 202437 h 404896"/>
                  <a:gd name="connsiteX3" fmla="*/ 202459 w 404896"/>
                  <a:gd name="connsiteY3" fmla="*/ 0 h 404896"/>
                  <a:gd name="connsiteX4" fmla="*/ 404896 w 404896"/>
                  <a:gd name="connsiteY4" fmla="*/ 202437 h 40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896" h="404896">
                    <a:moveTo>
                      <a:pt x="404896" y="202437"/>
                    </a:moveTo>
                    <a:cubicBezTo>
                      <a:pt x="404896" y="314256"/>
                      <a:pt x="314262" y="404896"/>
                      <a:pt x="202459" y="404896"/>
                    </a:cubicBezTo>
                    <a:cubicBezTo>
                      <a:pt x="90640" y="404896"/>
                      <a:pt x="0" y="314262"/>
                      <a:pt x="0" y="202437"/>
                    </a:cubicBezTo>
                    <a:cubicBezTo>
                      <a:pt x="0" y="90640"/>
                      <a:pt x="90634" y="0"/>
                      <a:pt x="202459" y="0"/>
                    </a:cubicBezTo>
                    <a:cubicBezTo>
                      <a:pt x="314256" y="0"/>
                      <a:pt x="404896" y="90634"/>
                      <a:pt x="404896" y="202437"/>
                    </a:cubicBezTo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6B3E8A8-8B4F-44E1-90DD-2EF744D838A0}"/>
                  </a:ext>
                </a:extLst>
              </p:cNvPr>
              <p:cNvSpPr/>
              <p:nvPr/>
            </p:nvSpPr>
            <p:spPr>
              <a:xfrm>
                <a:off x="6838350" y="1674437"/>
                <a:ext cx="1079734" cy="1079735"/>
              </a:xfrm>
              <a:custGeom>
                <a:avLst/>
                <a:gdLst>
                  <a:gd name="connsiteX0" fmla="*/ 539867 w 1079734"/>
                  <a:gd name="connsiteY0" fmla="*/ 1079735 h 1079735"/>
                  <a:gd name="connsiteX1" fmla="*/ 921612 w 1079734"/>
                  <a:gd name="connsiteY1" fmla="*/ 921612 h 1079735"/>
                  <a:gd name="connsiteX2" fmla="*/ 1079735 w 1079734"/>
                  <a:gd name="connsiteY2" fmla="*/ 539867 h 1079735"/>
                  <a:gd name="connsiteX3" fmla="*/ 921612 w 1079734"/>
                  <a:gd name="connsiteY3" fmla="*/ 158123 h 1079735"/>
                  <a:gd name="connsiteX4" fmla="*/ 539867 w 1079734"/>
                  <a:gd name="connsiteY4" fmla="*/ 0 h 1079735"/>
                  <a:gd name="connsiteX5" fmla="*/ 158122 w 1079734"/>
                  <a:gd name="connsiteY5" fmla="*/ 158123 h 1079735"/>
                  <a:gd name="connsiteX6" fmla="*/ 0 w 1079734"/>
                  <a:gd name="connsiteY6" fmla="*/ 539867 h 1079735"/>
                  <a:gd name="connsiteX7" fmla="*/ 158300 w 1079734"/>
                  <a:gd name="connsiteY7" fmla="*/ 921435 h 1079735"/>
                  <a:gd name="connsiteX8" fmla="*/ 539867 w 1079734"/>
                  <a:gd name="connsiteY8" fmla="*/ 1079735 h 1079735"/>
                  <a:gd name="connsiteX9" fmla="*/ 539867 w 1079734"/>
                  <a:gd name="connsiteY9" fmla="*/ 134988 h 1079735"/>
                  <a:gd name="connsiteX10" fmla="*/ 808272 w 1079734"/>
                  <a:gd name="connsiteY10" fmla="*/ 236521 h 1079735"/>
                  <a:gd name="connsiteX11" fmla="*/ 941792 w 1079734"/>
                  <a:gd name="connsiteY11" fmla="*/ 490570 h 1079735"/>
                  <a:gd name="connsiteX12" fmla="*/ 873189 w 1079734"/>
                  <a:gd name="connsiteY12" fmla="*/ 769245 h 1079735"/>
                  <a:gd name="connsiteX13" fmla="*/ 802826 w 1079734"/>
                  <a:gd name="connsiteY13" fmla="*/ 652979 h 1079735"/>
                  <a:gd name="connsiteX14" fmla="*/ 674821 w 1079734"/>
                  <a:gd name="connsiteY14" fmla="*/ 607373 h 1079735"/>
                  <a:gd name="connsiteX15" fmla="*/ 404902 w 1079734"/>
                  <a:gd name="connsiteY15" fmla="*/ 607373 h 1079735"/>
                  <a:gd name="connsiteX16" fmla="*/ 276897 w 1079734"/>
                  <a:gd name="connsiteY16" fmla="*/ 652979 h 1079735"/>
                  <a:gd name="connsiteX17" fmla="*/ 206551 w 1079734"/>
                  <a:gd name="connsiteY17" fmla="*/ 769245 h 1079735"/>
                  <a:gd name="connsiteX18" fmla="*/ 137949 w 1079734"/>
                  <a:gd name="connsiteY18" fmla="*/ 490570 h 1079735"/>
                  <a:gd name="connsiteX19" fmla="*/ 271445 w 1079734"/>
                  <a:gd name="connsiteY19" fmla="*/ 236521 h 1079735"/>
                  <a:gd name="connsiteX20" fmla="*/ 539873 w 1079734"/>
                  <a:gd name="connsiteY20" fmla="*/ 134988 h 107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79734" h="1079735">
                    <a:moveTo>
                      <a:pt x="539867" y="1079735"/>
                    </a:moveTo>
                    <a:cubicBezTo>
                      <a:pt x="683034" y="1079735"/>
                      <a:pt x="820348" y="1022854"/>
                      <a:pt x="921612" y="921612"/>
                    </a:cubicBezTo>
                    <a:cubicBezTo>
                      <a:pt x="1022854" y="820371"/>
                      <a:pt x="1079735" y="683057"/>
                      <a:pt x="1079735" y="539867"/>
                    </a:cubicBezTo>
                    <a:cubicBezTo>
                      <a:pt x="1079735" y="396678"/>
                      <a:pt x="1022854" y="259364"/>
                      <a:pt x="921612" y="158123"/>
                    </a:cubicBezTo>
                    <a:cubicBezTo>
                      <a:pt x="820348" y="56881"/>
                      <a:pt x="683034" y="0"/>
                      <a:pt x="539867" y="0"/>
                    </a:cubicBezTo>
                    <a:cubicBezTo>
                      <a:pt x="396678" y="0"/>
                      <a:pt x="259364" y="56881"/>
                      <a:pt x="158122" y="158123"/>
                    </a:cubicBezTo>
                    <a:cubicBezTo>
                      <a:pt x="56881" y="259364"/>
                      <a:pt x="0" y="396678"/>
                      <a:pt x="0" y="539867"/>
                    </a:cubicBezTo>
                    <a:cubicBezTo>
                      <a:pt x="154" y="682988"/>
                      <a:pt x="57081" y="820217"/>
                      <a:pt x="158300" y="921435"/>
                    </a:cubicBezTo>
                    <a:cubicBezTo>
                      <a:pt x="259518" y="1022631"/>
                      <a:pt x="396724" y="1079581"/>
                      <a:pt x="539867" y="1079735"/>
                    </a:cubicBezTo>
                    <a:close/>
                    <a:moveTo>
                      <a:pt x="539867" y="134988"/>
                    </a:moveTo>
                    <a:cubicBezTo>
                      <a:pt x="638743" y="134897"/>
                      <a:pt x="734223" y="171021"/>
                      <a:pt x="808272" y="236521"/>
                    </a:cubicBezTo>
                    <a:cubicBezTo>
                      <a:pt x="882345" y="302044"/>
                      <a:pt x="929830" y="392409"/>
                      <a:pt x="941792" y="490570"/>
                    </a:cubicBezTo>
                    <a:cubicBezTo>
                      <a:pt x="953753" y="588731"/>
                      <a:pt x="929333" y="687852"/>
                      <a:pt x="873189" y="769245"/>
                    </a:cubicBezTo>
                    <a:cubicBezTo>
                      <a:pt x="863811" y="723525"/>
                      <a:pt x="838968" y="682468"/>
                      <a:pt x="802826" y="652979"/>
                    </a:cubicBezTo>
                    <a:cubicBezTo>
                      <a:pt x="766684" y="623489"/>
                      <a:pt x="721479" y="607373"/>
                      <a:pt x="674821" y="607373"/>
                    </a:cubicBezTo>
                    <a:lnTo>
                      <a:pt x="404902" y="607373"/>
                    </a:lnTo>
                    <a:cubicBezTo>
                      <a:pt x="358245" y="607373"/>
                      <a:pt x="313039" y="623489"/>
                      <a:pt x="276897" y="652979"/>
                    </a:cubicBezTo>
                    <a:cubicBezTo>
                      <a:pt x="240756" y="682468"/>
                      <a:pt x="215907" y="723525"/>
                      <a:pt x="206551" y="769245"/>
                    </a:cubicBezTo>
                    <a:cubicBezTo>
                      <a:pt x="150384" y="687852"/>
                      <a:pt x="125982" y="588731"/>
                      <a:pt x="137949" y="490570"/>
                    </a:cubicBezTo>
                    <a:cubicBezTo>
                      <a:pt x="149893" y="392409"/>
                      <a:pt x="197396" y="302044"/>
                      <a:pt x="271445" y="236521"/>
                    </a:cubicBezTo>
                    <a:cubicBezTo>
                      <a:pt x="345495" y="171021"/>
                      <a:pt x="440998" y="134903"/>
                      <a:pt x="539873" y="134988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7FFAC89F-2AB0-47E1-BAE0-2A39671E1F2D}"/>
                  </a:ext>
                </a:extLst>
              </p:cNvPr>
              <p:cNvSpPr/>
              <p:nvPr/>
            </p:nvSpPr>
            <p:spPr>
              <a:xfrm>
                <a:off x="5897643" y="1539472"/>
                <a:ext cx="404896" cy="404919"/>
              </a:xfrm>
              <a:custGeom>
                <a:avLst/>
                <a:gdLst>
                  <a:gd name="connsiteX0" fmla="*/ 404896 w 404896"/>
                  <a:gd name="connsiteY0" fmla="*/ 202460 h 404919"/>
                  <a:gd name="connsiteX1" fmla="*/ 202437 w 404896"/>
                  <a:gd name="connsiteY1" fmla="*/ 404919 h 404919"/>
                  <a:gd name="connsiteX2" fmla="*/ 0 w 404896"/>
                  <a:gd name="connsiteY2" fmla="*/ 202460 h 404919"/>
                  <a:gd name="connsiteX3" fmla="*/ 202437 w 404896"/>
                  <a:gd name="connsiteY3" fmla="*/ 0 h 404919"/>
                  <a:gd name="connsiteX4" fmla="*/ 404896 w 404896"/>
                  <a:gd name="connsiteY4" fmla="*/ 202460 h 40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896" h="404919">
                    <a:moveTo>
                      <a:pt x="404896" y="202460"/>
                    </a:moveTo>
                    <a:cubicBezTo>
                      <a:pt x="404896" y="314256"/>
                      <a:pt x="314262" y="404919"/>
                      <a:pt x="202437" y="404919"/>
                    </a:cubicBezTo>
                    <a:cubicBezTo>
                      <a:pt x="90640" y="404919"/>
                      <a:pt x="0" y="314262"/>
                      <a:pt x="0" y="202460"/>
                    </a:cubicBezTo>
                    <a:cubicBezTo>
                      <a:pt x="0" y="90657"/>
                      <a:pt x="90634" y="0"/>
                      <a:pt x="202437" y="0"/>
                    </a:cubicBezTo>
                    <a:cubicBezTo>
                      <a:pt x="314257" y="0"/>
                      <a:pt x="404896" y="90657"/>
                      <a:pt x="404896" y="202460"/>
                    </a:cubicBezTo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0305BB2B-BAAE-4431-9D37-F9F885323ED6}"/>
                  </a:ext>
                </a:extLst>
              </p:cNvPr>
              <p:cNvSpPr/>
              <p:nvPr/>
            </p:nvSpPr>
            <p:spPr>
              <a:xfrm>
                <a:off x="5560190" y="1337024"/>
                <a:ext cx="1079734" cy="1079734"/>
              </a:xfrm>
              <a:custGeom>
                <a:avLst/>
                <a:gdLst>
                  <a:gd name="connsiteX0" fmla="*/ 539868 w 1079734"/>
                  <a:gd name="connsiteY0" fmla="*/ 0 h 1079734"/>
                  <a:gd name="connsiteX1" fmla="*/ 158123 w 1079734"/>
                  <a:gd name="connsiteY1" fmla="*/ 158123 h 1079734"/>
                  <a:gd name="connsiteX2" fmla="*/ 0 w 1079734"/>
                  <a:gd name="connsiteY2" fmla="*/ 539868 h 1079734"/>
                  <a:gd name="connsiteX3" fmla="*/ 158123 w 1079734"/>
                  <a:gd name="connsiteY3" fmla="*/ 921612 h 1079734"/>
                  <a:gd name="connsiteX4" fmla="*/ 539868 w 1079734"/>
                  <a:gd name="connsiteY4" fmla="*/ 1079735 h 1079734"/>
                  <a:gd name="connsiteX5" fmla="*/ 921612 w 1079734"/>
                  <a:gd name="connsiteY5" fmla="*/ 921612 h 1079734"/>
                  <a:gd name="connsiteX6" fmla="*/ 1079735 w 1079734"/>
                  <a:gd name="connsiteY6" fmla="*/ 539868 h 1079734"/>
                  <a:gd name="connsiteX7" fmla="*/ 921435 w 1079734"/>
                  <a:gd name="connsiteY7" fmla="*/ 158300 h 1079734"/>
                  <a:gd name="connsiteX8" fmla="*/ 539868 w 1079734"/>
                  <a:gd name="connsiteY8" fmla="*/ 0 h 1079734"/>
                  <a:gd name="connsiteX9" fmla="*/ 873189 w 1079734"/>
                  <a:gd name="connsiteY9" fmla="*/ 769182 h 1079734"/>
                  <a:gd name="connsiteX10" fmla="*/ 802843 w 1079734"/>
                  <a:gd name="connsiteY10" fmla="*/ 652939 h 1079734"/>
                  <a:gd name="connsiteX11" fmla="*/ 674839 w 1079734"/>
                  <a:gd name="connsiteY11" fmla="*/ 607333 h 1079734"/>
                  <a:gd name="connsiteX12" fmla="*/ 404896 w 1079734"/>
                  <a:gd name="connsiteY12" fmla="*/ 607333 h 1079734"/>
                  <a:gd name="connsiteX13" fmla="*/ 276909 w 1079734"/>
                  <a:gd name="connsiteY13" fmla="*/ 652939 h 1079734"/>
                  <a:gd name="connsiteX14" fmla="*/ 206546 w 1079734"/>
                  <a:gd name="connsiteY14" fmla="*/ 769182 h 1079734"/>
                  <a:gd name="connsiteX15" fmla="*/ 137943 w 1079734"/>
                  <a:gd name="connsiteY15" fmla="*/ 490398 h 1079734"/>
                  <a:gd name="connsiteX16" fmla="*/ 271417 w 1079734"/>
                  <a:gd name="connsiteY16" fmla="*/ 236212 h 1079734"/>
                  <a:gd name="connsiteX17" fmla="*/ 539868 w 1079734"/>
                  <a:gd name="connsiteY17" fmla="*/ 134417 h 1079734"/>
                  <a:gd name="connsiteX18" fmla="*/ 808318 w 1079734"/>
                  <a:gd name="connsiteY18" fmla="*/ 236212 h 1079734"/>
                  <a:gd name="connsiteX19" fmla="*/ 941792 w 1079734"/>
                  <a:gd name="connsiteY19" fmla="*/ 490398 h 1079734"/>
                  <a:gd name="connsiteX20" fmla="*/ 873189 w 1079734"/>
                  <a:gd name="connsiteY20" fmla="*/ 769182 h 1079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79734" h="1079734">
                    <a:moveTo>
                      <a:pt x="539868" y="0"/>
                    </a:moveTo>
                    <a:cubicBezTo>
                      <a:pt x="396678" y="0"/>
                      <a:pt x="259364" y="56881"/>
                      <a:pt x="158123" y="158123"/>
                    </a:cubicBezTo>
                    <a:cubicBezTo>
                      <a:pt x="56881" y="259364"/>
                      <a:pt x="0" y="396678"/>
                      <a:pt x="0" y="539868"/>
                    </a:cubicBezTo>
                    <a:cubicBezTo>
                      <a:pt x="0" y="683034"/>
                      <a:pt x="56881" y="820348"/>
                      <a:pt x="158123" y="921612"/>
                    </a:cubicBezTo>
                    <a:cubicBezTo>
                      <a:pt x="259364" y="1022854"/>
                      <a:pt x="396678" y="1079735"/>
                      <a:pt x="539868" y="1079735"/>
                    </a:cubicBezTo>
                    <a:cubicBezTo>
                      <a:pt x="683057" y="1079735"/>
                      <a:pt x="820371" y="1022854"/>
                      <a:pt x="921612" y="921612"/>
                    </a:cubicBezTo>
                    <a:cubicBezTo>
                      <a:pt x="1022854" y="820348"/>
                      <a:pt x="1079735" y="683034"/>
                      <a:pt x="1079735" y="539868"/>
                    </a:cubicBezTo>
                    <a:cubicBezTo>
                      <a:pt x="1079581" y="396724"/>
                      <a:pt x="1022631" y="259518"/>
                      <a:pt x="921435" y="158300"/>
                    </a:cubicBezTo>
                    <a:cubicBezTo>
                      <a:pt x="820217" y="57081"/>
                      <a:pt x="683011" y="154"/>
                      <a:pt x="539868" y="0"/>
                    </a:cubicBezTo>
                    <a:close/>
                    <a:moveTo>
                      <a:pt x="873189" y="769182"/>
                    </a:moveTo>
                    <a:cubicBezTo>
                      <a:pt x="863834" y="723485"/>
                      <a:pt x="838991" y="682428"/>
                      <a:pt x="802843" y="652939"/>
                    </a:cubicBezTo>
                    <a:cubicBezTo>
                      <a:pt x="766702" y="623427"/>
                      <a:pt x="721473" y="607333"/>
                      <a:pt x="674839" y="607333"/>
                    </a:cubicBezTo>
                    <a:lnTo>
                      <a:pt x="404896" y="607333"/>
                    </a:lnTo>
                    <a:cubicBezTo>
                      <a:pt x="358262" y="607333"/>
                      <a:pt x="313056" y="623427"/>
                      <a:pt x="276909" y="652939"/>
                    </a:cubicBezTo>
                    <a:cubicBezTo>
                      <a:pt x="240767" y="682428"/>
                      <a:pt x="215918" y="723485"/>
                      <a:pt x="206546" y="769182"/>
                    </a:cubicBezTo>
                    <a:cubicBezTo>
                      <a:pt x="150402" y="687766"/>
                      <a:pt x="125999" y="588599"/>
                      <a:pt x="137943" y="490398"/>
                    </a:cubicBezTo>
                    <a:cubicBezTo>
                      <a:pt x="149887" y="392215"/>
                      <a:pt x="197368" y="301803"/>
                      <a:pt x="271417" y="236212"/>
                    </a:cubicBezTo>
                    <a:cubicBezTo>
                      <a:pt x="345466" y="170621"/>
                      <a:pt x="440947" y="134417"/>
                      <a:pt x="539868" y="134417"/>
                    </a:cubicBezTo>
                    <a:cubicBezTo>
                      <a:pt x="638788" y="134417"/>
                      <a:pt x="734292" y="170627"/>
                      <a:pt x="808318" y="236212"/>
                    </a:cubicBezTo>
                    <a:cubicBezTo>
                      <a:pt x="882368" y="301803"/>
                      <a:pt x="929853" y="392215"/>
                      <a:pt x="941792" y="490398"/>
                    </a:cubicBezTo>
                    <a:cubicBezTo>
                      <a:pt x="953759" y="588605"/>
                      <a:pt x="929356" y="687766"/>
                      <a:pt x="873189" y="769182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57DD5A42-A7EB-41C9-8C52-6EC351DCDFC0}"/>
                  </a:ext>
                </a:extLst>
              </p:cNvPr>
              <p:cNvSpPr/>
              <p:nvPr/>
            </p:nvSpPr>
            <p:spPr>
              <a:xfrm>
                <a:off x="5421149" y="4470387"/>
                <a:ext cx="1349677" cy="474391"/>
              </a:xfrm>
              <a:custGeom>
                <a:avLst/>
                <a:gdLst>
                  <a:gd name="connsiteX0" fmla="*/ 23 w 1349677"/>
                  <a:gd name="connsiteY0" fmla="*/ 0 h 474391"/>
                  <a:gd name="connsiteX1" fmla="*/ 23 w 1349677"/>
                  <a:gd name="connsiteY1" fmla="*/ 256306 h 474391"/>
                  <a:gd name="connsiteX2" fmla="*/ 674850 w 1349677"/>
                  <a:gd name="connsiteY2" fmla="*/ 474391 h 474391"/>
                  <a:gd name="connsiteX3" fmla="*/ 1349678 w 1349677"/>
                  <a:gd name="connsiteY3" fmla="*/ 256306 h 474391"/>
                  <a:gd name="connsiteX4" fmla="*/ 1349654 w 1349677"/>
                  <a:gd name="connsiteY4" fmla="*/ 0 h 474391"/>
                  <a:gd name="connsiteX5" fmla="*/ 674827 w 1349677"/>
                  <a:gd name="connsiteY5" fmla="*/ 165535 h 474391"/>
                  <a:gd name="connsiteX6" fmla="*/ 0 w 1349677"/>
                  <a:gd name="connsiteY6" fmla="*/ 0 h 47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9677" h="474391">
                    <a:moveTo>
                      <a:pt x="23" y="0"/>
                    </a:moveTo>
                    <a:lnTo>
                      <a:pt x="23" y="256306"/>
                    </a:lnTo>
                    <a:cubicBezTo>
                      <a:pt x="76347" y="369647"/>
                      <a:pt x="332030" y="474391"/>
                      <a:pt x="674850" y="474391"/>
                    </a:cubicBezTo>
                    <a:cubicBezTo>
                      <a:pt x="1017681" y="474391"/>
                      <a:pt x="1273382" y="369647"/>
                      <a:pt x="1349678" y="256306"/>
                    </a:cubicBezTo>
                    <a:lnTo>
                      <a:pt x="1349654" y="0"/>
                    </a:lnTo>
                    <a:cubicBezTo>
                      <a:pt x="1197001" y="100996"/>
                      <a:pt x="954182" y="165535"/>
                      <a:pt x="674827" y="165535"/>
                    </a:cubicBezTo>
                    <a:cubicBezTo>
                      <a:pt x="395484" y="165535"/>
                      <a:pt x="152665" y="101018"/>
                      <a:pt x="0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3E33E42C-C8F9-4B6F-A313-7EA3DD8888EE}"/>
                  </a:ext>
                </a:extLst>
              </p:cNvPr>
              <p:cNvSpPr/>
              <p:nvPr/>
            </p:nvSpPr>
            <p:spPr>
              <a:xfrm>
                <a:off x="5421172" y="4029132"/>
                <a:ext cx="1349654" cy="474390"/>
              </a:xfrm>
              <a:custGeom>
                <a:avLst/>
                <a:gdLst>
                  <a:gd name="connsiteX0" fmla="*/ 0 w 1349654"/>
                  <a:gd name="connsiteY0" fmla="*/ 0 h 474390"/>
                  <a:gd name="connsiteX1" fmla="*/ 0 w 1349654"/>
                  <a:gd name="connsiteY1" fmla="*/ 256306 h 474390"/>
                  <a:gd name="connsiteX2" fmla="*/ 674827 w 1349654"/>
                  <a:gd name="connsiteY2" fmla="*/ 474391 h 474390"/>
                  <a:gd name="connsiteX3" fmla="*/ 1349654 w 1349654"/>
                  <a:gd name="connsiteY3" fmla="*/ 256306 h 474390"/>
                  <a:gd name="connsiteX4" fmla="*/ 1349654 w 1349654"/>
                  <a:gd name="connsiteY4" fmla="*/ 0 h 474390"/>
                  <a:gd name="connsiteX5" fmla="*/ 674827 w 1349654"/>
                  <a:gd name="connsiteY5" fmla="*/ 165535 h 474390"/>
                  <a:gd name="connsiteX6" fmla="*/ 0 w 1349654"/>
                  <a:gd name="connsiteY6" fmla="*/ 0 h 47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9654" h="474390">
                    <a:moveTo>
                      <a:pt x="0" y="0"/>
                    </a:moveTo>
                    <a:lnTo>
                      <a:pt x="0" y="256306"/>
                    </a:lnTo>
                    <a:cubicBezTo>
                      <a:pt x="76324" y="369646"/>
                      <a:pt x="332007" y="474391"/>
                      <a:pt x="674827" y="474391"/>
                    </a:cubicBezTo>
                    <a:cubicBezTo>
                      <a:pt x="1017658" y="474391"/>
                      <a:pt x="1273359" y="369646"/>
                      <a:pt x="1349654" y="256306"/>
                    </a:cubicBezTo>
                    <a:lnTo>
                      <a:pt x="1349654" y="0"/>
                    </a:lnTo>
                    <a:cubicBezTo>
                      <a:pt x="1197001" y="100995"/>
                      <a:pt x="954182" y="165535"/>
                      <a:pt x="674827" y="165535"/>
                    </a:cubicBezTo>
                    <a:cubicBezTo>
                      <a:pt x="395461" y="165535"/>
                      <a:pt x="152642" y="101018"/>
                      <a:pt x="0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CBAB778B-A282-47E6-B54B-3A9324736277}"/>
                  </a:ext>
                </a:extLst>
              </p:cNvPr>
              <p:cNvSpPr/>
              <p:nvPr/>
            </p:nvSpPr>
            <p:spPr>
              <a:xfrm>
                <a:off x="5421149" y="3593249"/>
                <a:ext cx="1349677" cy="469030"/>
              </a:xfrm>
              <a:custGeom>
                <a:avLst/>
                <a:gdLst>
                  <a:gd name="connsiteX0" fmla="*/ 23 w 1349677"/>
                  <a:gd name="connsiteY0" fmla="*/ 0 h 469030"/>
                  <a:gd name="connsiteX1" fmla="*/ 23 w 1349677"/>
                  <a:gd name="connsiteY1" fmla="*/ 250946 h 469030"/>
                  <a:gd name="connsiteX2" fmla="*/ 674850 w 1349677"/>
                  <a:gd name="connsiteY2" fmla="*/ 469030 h 469030"/>
                  <a:gd name="connsiteX3" fmla="*/ 1349678 w 1349677"/>
                  <a:gd name="connsiteY3" fmla="*/ 250946 h 469030"/>
                  <a:gd name="connsiteX4" fmla="*/ 1349654 w 1349677"/>
                  <a:gd name="connsiteY4" fmla="*/ 0 h 469030"/>
                  <a:gd name="connsiteX5" fmla="*/ 674827 w 1349677"/>
                  <a:gd name="connsiteY5" fmla="*/ 182234 h 469030"/>
                  <a:gd name="connsiteX6" fmla="*/ 0 w 1349677"/>
                  <a:gd name="connsiteY6" fmla="*/ 0 h 469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9677" h="469030">
                    <a:moveTo>
                      <a:pt x="23" y="0"/>
                    </a:moveTo>
                    <a:lnTo>
                      <a:pt x="23" y="250946"/>
                    </a:lnTo>
                    <a:cubicBezTo>
                      <a:pt x="76347" y="364286"/>
                      <a:pt x="332030" y="469030"/>
                      <a:pt x="674850" y="469030"/>
                    </a:cubicBezTo>
                    <a:cubicBezTo>
                      <a:pt x="1017681" y="469030"/>
                      <a:pt x="1273382" y="364286"/>
                      <a:pt x="1349678" y="250946"/>
                    </a:cubicBezTo>
                    <a:lnTo>
                      <a:pt x="1349654" y="0"/>
                    </a:lnTo>
                    <a:cubicBezTo>
                      <a:pt x="1218164" y="108631"/>
                      <a:pt x="965366" y="182234"/>
                      <a:pt x="674827" y="182234"/>
                    </a:cubicBezTo>
                    <a:cubicBezTo>
                      <a:pt x="384299" y="182257"/>
                      <a:pt x="131502" y="108631"/>
                      <a:pt x="0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9422F33A-F399-4116-AE56-9C37399E496C}"/>
                  </a:ext>
                </a:extLst>
              </p:cNvPr>
              <p:cNvSpPr/>
              <p:nvPr/>
            </p:nvSpPr>
            <p:spPr>
              <a:xfrm>
                <a:off x="5421172" y="4923872"/>
                <a:ext cx="1349654" cy="462137"/>
              </a:xfrm>
              <a:custGeom>
                <a:avLst/>
                <a:gdLst>
                  <a:gd name="connsiteX0" fmla="*/ 0 w 1349654"/>
                  <a:gd name="connsiteY0" fmla="*/ 0 h 462137"/>
                  <a:gd name="connsiteX1" fmla="*/ 0 w 1349654"/>
                  <a:gd name="connsiteY1" fmla="*/ 167970 h 462137"/>
                  <a:gd name="connsiteX2" fmla="*/ 674827 w 1349654"/>
                  <a:gd name="connsiteY2" fmla="*/ 462138 h 462137"/>
                  <a:gd name="connsiteX3" fmla="*/ 1349654 w 1349654"/>
                  <a:gd name="connsiteY3" fmla="*/ 167993 h 462137"/>
                  <a:gd name="connsiteX4" fmla="*/ 1349654 w 1349654"/>
                  <a:gd name="connsiteY4" fmla="*/ 0 h 462137"/>
                  <a:gd name="connsiteX5" fmla="*/ 674827 w 1349654"/>
                  <a:gd name="connsiteY5" fmla="*/ 165535 h 462137"/>
                  <a:gd name="connsiteX6" fmla="*/ 0 w 1349654"/>
                  <a:gd name="connsiteY6" fmla="*/ 0 h 46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9654" h="462137">
                    <a:moveTo>
                      <a:pt x="0" y="0"/>
                    </a:moveTo>
                    <a:lnTo>
                      <a:pt x="0" y="167970"/>
                    </a:lnTo>
                    <a:cubicBezTo>
                      <a:pt x="0" y="330447"/>
                      <a:pt x="302135" y="462138"/>
                      <a:pt x="674827" y="462138"/>
                    </a:cubicBezTo>
                    <a:cubicBezTo>
                      <a:pt x="1047531" y="462138"/>
                      <a:pt x="1349654" y="330447"/>
                      <a:pt x="1349654" y="167993"/>
                    </a:cubicBezTo>
                    <a:lnTo>
                      <a:pt x="1349654" y="0"/>
                    </a:lnTo>
                    <a:cubicBezTo>
                      <a:pt x="1197001" y="100995"/>
                      <a:pt x="954182" y="165535"/>
                      <a:pt x="674827" y="165535"/>
                    </a:cubicBezTo>
                    <a:cubicBezTo>
                      <a:pt x="395483" y="165535"/>
                      <a:pt x="152665" y="101018"/>
                      <a:pt x="0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9C11D314-533B-4847-B013-A06512E4E8AC}"/>
                  </a:ext>
                </a:extLst>
              </p:cNvPr>
              <p:cNvSpPr/>
              <p:nvPr/>
            </p:nvSpPr>
            <p:spPr>
              <a:xfrm>
                <a:off x="5421172" y="3091586"/>
                <a:ext cx="1349654" cy="529483"/>
              </a:xfrm>
              <a:custGeom>
                <a:avLst/>
                <a:gdLst>
                  <a:gd name="connsiteX0" fmla="*/ 674827 w 1349654"/>
                  <a:gd name="connsiteY0" fmla="*/ 0 h 529483"/>
                  <a:gd name="connsiteX1" fmla="*/ 0 w 1349654"/>
                  <a:gd name="connsiteY1" fmla="*/ 264742 h 529483"/>
                  <a:gd name="connsiteX2" fmla="*/ 674827 w 1349654"/>
                  <a:gd name="connsiteY2" fmla="*/ 529483 h 529483"/>
                  <a:gd name="connsiteX3" fmla="*/ 1349654 w 1349654"/>
                  <a:gd name="connsiteY3" fmla="*/ 264742 h 529483"/>
                  <a:gd name="connsiteX4" fmla="*/ 674827 w 1349654"/>
                  <a:gd name="connsiteY4" fmla="*/ 0 h 52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9654" h="529483">
                    <a:moveTo>
                      <a:pt x="674827" y="0"/>
                    </a:moveTo>
                    <a:cubicBezTo>
                      <a:pt x="302123" y="0"/>
                      <a:pt x="0" y="118518"/>
                      <a:pt x="0" y="264742"/>
                    </a:cubicBezTo>
                    <a:cubicBezTo>
                      <a:pt x="0" y="410966"/>
                      <a:pt x="302135" y="529483"/>
                      <a:pt x="674827" y="529483"/>
                    </a:cubicBezTo>
                    <a:cubicBezTo>
                      <a:pt x="1047520" y="529483"/>
                      <a:pt x="1349654" y="410966"/>
                      <a:pt x="1349654" y="264742"/>
                    </a:cubicBezTo>
                    <a:cubicBezTo>
                      <a:pt x="1349654" y="118541"/>
                      <a:pt x="1047520" y="0"/>
                      <a:pt x="674827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C06E805D-939E-4902-AFA0-66F05DE0F23A}"/>
                  </a:ext>
                </a:extLst>
              </p:cNvPr>
              <p:cNvSpPr/>
              <p:nvPr/>
            </p:nvSpPr>
            <p:spPr>
              <a:xfrm>
                <a:off x="4611368" y="1876908"/>
                <a:ext cx="404896" cy="404896"/>
              </a:xfrm>
              <a:custGeom>
                <a:avLst/>
                <a:gdLst>
                  <a:gd name="connsiteX0" fmla="*/ 404896 w 404896"/>
                  <a:gd name="connsiteY0" fmla="*/ 202437 h 404896"/>
                  <a:gd name="connsiteX1" fmla="*/ 202437 w 404896"/>
                  <a:gd name="connsiteY1" fmla="*/ 404896 h 404896"/>
                  <a:gd name="connsiteX2" fmla="*/ 0 w 404896"/>
                  <a:gd name="connsiteY2" fmla="*/ 202437 h 404896"/>
                  <a:gd name="connsiteX3" fmla="*/ 202437 w 404896"/>
                  <a:gd name="connsiteY3" fmla="*/ 0 h 404896"/>
                  <a:gd name="connsiteX4" fmla="*/ 404896 w 404896"/>
                  <a:gd name="connsiteY4" fmla="*/ 202437 h 40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896" h="404896">
                    <a:moveTo>
                      <a:pt x="404896" y="202437"/>
                    </a:moveTo>
                    <a:cubicBezTo>
                      <a:pt x="404896" y="314256"/>
                      <a:pt x="314262" y="404896"/>
                      <a:pt x="202437" y="404896"/>
                    </a:cubicBezTo>
                    <a:cubicBezTo>
                      <a:pt x="90640" y="404896"/>
                      <a:pt x="0" y="314262"/>
                      <a:pt x="0" y="202437"/>
                    </a:cubicBezTo>
                    <a:cubicBezTo>
                      <a:pt x="0" y="90640"/>
                      <a:pt x="90634" y="0"/>
                      <a:pt x="202437" y="0"/>
                    </a:cubicBezTo>
                    <a:cubicBezTo>
                      <a:pt x="314256" y="0"/>
                      <a:pt x="404896" y="90634"/>
                      <a:pt x="404896" y="202437"/>
                    </a:cubicBezTo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8E890E4E-A20D-4637-8016-1B332C78DACB}"/>
                  </a:ext>
                </a:extLst>
              </p:cNvPr>
              <p:cNvSpPr/>
              <p:nvPr/>
            </p:nvSpPr>
            <p:spPr>
              <a:xfrm>
                <a:off x="4273972" y="1674437"/>
                <a:ext cx="1079734" cy="1079735"/>
              </a:xfrm>
              <a:custGeom>
                <a:avLst/>
                <a:gdLst>
                  <a:gd name="connsiteX0" fmla="*/ 539867 w 1079734"/>
                  <a:gd name="connsiteY0" fmla="*/ 0 h 1079735"/>
                  <a:gd name="connsiteX1" fmla="*/ 158123 w 1079734"/>
                  <a:gd name="connsiteY1" fmla="*/ 158123 h 1079735"/>
                  <a:gd name="connsiteX2" fmla="*/ 0 w 1079734"/>
                  <a:gd name="connsiteY2" fmla="*/ 539867 h 1079735"/>
                  <a:gd name="connsiteX3" fmla="*/ 158123 w 1079734"/>
                  <a:gd name="connsiteY3" fmla="*/ 921612 h 1079735"/>
                  <a:gd name="connsiteX4" fmla="*/ 539867 w 1079734"/>
                  <a:gd name="connsiteY4" fmla="*/ 1079735 h 1079735"/>
                  <a:gd name="connsiteX5" fmla="*/ 921612 w 1079734"/>
                  <a:gd name="connsiteY5" fmla="*/ 921612 h 1079735"/>
                  <a:gd name="connsiteX6" fmla="*/ 1079735 w 1079734"/>
                  <a:gd name="connsiteY6" fmla="*/ 539867 h 1079735"/>
                  <a:gd name="connsiteX7" fmla="*/ 921435 w 1079734"/>
                  <a:gd name="connsiteY7" fmla="*/ 158300 h 1079735"/>
                  <a:gd name="connsiteX8" fmla="*/ 539867 w 1079734"/>
                  <a:gd name="connsiteY8" fmla="*/ 0 h 1079735"/>
                  <a:gd name="connsiteX9" fmla="*/ 873189 w 1079734"/>
                  <a:gd name="connsiteY9" fmla="*/ 769182 h 1079735"/>
                  <a:gd name="connsiteX10" fmla="*/ 873189 w 1079734"/>
                  <a:gd name="connsiteY10" fmla="*/ 769205 h 1079735"/>
                  <a:gd name="connsiteX11" fmla="*/ 802843 w 1079734"/>
                  <a:gd name="connsiteY11" fmla="*/ 652939 h 1079735"/>
                  <a:gd name="connsiteX12" fmla="*/ 674839 w 1079734"/>
                  <a:gd name="connsiteY12" fmla="*/ 607327 h 1079735"/>
                  <a:gd name="connsiteX13" fmla="*/ 404896 w 1079734"/>
                  <a:gd name="connsiteY13" fmla="*/ 607327 h 1079735"/>
                  <a:gd name="connsiteX14" fmla="*/ 276909 w 1079734"/>
                  <a:gd name="connsiteY14" fmla="*/ 652939 h 1079735"/>
                  <a:gd name="connsiteX15" fmla="*/ 206546 w 1079734"/>
                  <a:gd name="connsiteY15" fmla="*/ 769205 h 1079735"/>
                  <a:gd name="connsiteX16" fmla="*/ 137943 w 1079734"/>
                  <a:gd name="connsiteY16" fmla="*/ 490421 h 1079735"/>
                  <a:gd name="connsiteX17" fmla="*/ 271417 w 1079734"/>
                  <a:gd name="connsiteY17" fmla="*/ 236218 h 1079735"/>
                  <a:gd name="connsiteX18" fmla="*/ 539867 w 1079734"/>
                  <a:gd name="connsiteY18" fmla="*/ 134440 h 1079735"/>
                  <a:gd name="connsiteX19" fmla="*/ 808318 w 1079734"/>
                  <a:gd name="connsiteY19" fmla="*/ 236218 h 1079735"/>
                  <a:gd name="connsiteX20" fmla="*/ 941792 w 1079734"/>
                  <a:gd name="connsiteY20" fmla="*/ 490421 h 1079735"/>
                  <a:gd name="connsiteX21" fmla="*/ 873189 w 1079734"/>
                  <a:gd name="connsiteY21" fmla="*/ 769205 h 107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79734" h="1079735">
                    <a:moveTo>
                      <a:pt x="539867" y="0"/>
                    </a:moveTo>
                    <a:cubicBezTo>
                      <a:pt x="396678" y="0"/>
                      <a:pt x="259364" y="56881"/>
                      <a:pt x="158123" y="158123"/>
                    </a:cubicBezTo>
                    <a:cubicBezTo>
                      <a:pt x="56881" y="259364"/>
                      <a:pt x="0" y="396678"/>
                      <a:pt x="0" y="539867"/>
                    </a:cubicBezTo>
                    <a:cubicBezTo>
                      <a:pt x="0" y="683057"/>
                      <a:pt x="56881" y="820371"/>
                      <a:pt x="158123" y="921612"/>
                    </a:cubicBezTo>
                    <a:cubicBezTo>
                      <a:pt x="259364" y="1022854"/>
                      <a:pt x="396678" y="1079735"/>
                      <a:pt x="539867" y="1079735"/>
                    </a:cubicBezTo>
                    <a:cubicBezTo>
                      <a:pt x="683057" y="1079735"/>
                      <a:pt x="820371" y="1022854"/>
                      <a:pt x="921612" y="921612"/>
                    </a:cubicBezTo>
                    <a:cubicBezTo>
                      <a:pt x="1022854" y="820371"/>
                      <a:pt x="1079735" y="683057"/>
                      <a:pt x="1079735" y="539867"/>
                    </a:cubicBezTo>
                    <a:cubicBezTo>
                      <a:pt x="1079581" y="396747"/>
                      <a:pt x="1022631" y="259518"/>
                      <a:pt x="921435" y="158300"/>
                    </a:cubicBezTo>
                    <a:cubicBezTo>
                      <a:pt x="820217" y="57104"/>
                      <a:pt x="683011" y="154"/>
                      <a:pt x="539867" y="0"/>
                    </a:cubicBezTo>
                    <a:close/>
                    <a:moveTo>
                      <a:pt x="873189" y="769182"/>
                    </a:moveTo>
                    <a:lnTo>
                      <a:pt x="873189" y="769205"/>
                    </a:lnTo>
                    <a:cubicBezTo>
                      <a:pt x="863834" y="723485"/>
                      <a:pt x="838991" y="682428"/>
                      <a:pt x="802843" y="652939"/>
                    </a:cubicBezTo>
                    <a:cubicBezTo>
                      <a:pt x="766702" y="623449"/>
                      <a:pt x="721473" y="607327"/>
                      <a:pt x="674839" y="607327"/>
                    </a:cubicBezTo>
                    <a:lnTo>
                      <a:pt x="404896" y="607327"/>
                    </a:lnTo>
                    <a:cubicBezTo>
                      <a:pt x="358262" y="607327"/>
                      <a:pt x="313056" y="623449"/>
                      <a:pt x="276909" y="652939"/>
                    </a:cubicBezTo>
                    <a:cubicBezTo>
                      <a:pt x="240761" y="682428"/>
                      <a:pt x="215918" y="723485"/>
                      <a:pt x="206546" y="769205"/>
                    </a:cubicBezTo>
                    <a:cubicBezTo>
                      <a:pt x="150402" y="687766"/>
                      <a:pt x="125999" y="588599"/>
                      <a:pt x="137943" y="490421"/>
                    </a:cubicBezTo>
                    <a:cubicBezTo>
                      <a:pt x="149887" y="392215"/>
                      <a:pt x="197368" y="301804"/>
                      <a:pt x="271417" y="236218"/>
                    </a:cubicBezTo>
                    <a:cubicBezTo>
                      <a:pt x="345466" y="170633"/>
                      <a:pt x="440947" y="134440"/>
                      <a:pt x="539867" y="134440"/>
                    </a:cubicBezTo>
                    <a:cubicBezTo>
                      <a:pt x="638789" y="134440"/>
                      <a:pt x="734269" y="170627"/>
                      <a:pt x="808318" y="236218"/>
                    </a:cubicBezTo>
                    <a:cubicBezTo>
                      <a:pt x="882367" y="301809"/>
                      <a:pt x="929853" y="392220"/>
                      <a:pt x="941792" y="490421"/>
                    </a:cubicBezTo>
                    <a:cubicBezTo>
                      <a:pt x="953759" y="588605"/>
                      <a:pt x="929333" y="687766"/>
                      <a:pt x="873189" y="769205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1A98A2EE-172B-4673-8D6D-57679A3FD174}"/>
                  </a:ext>
                </a:extLst>
              </p:cNvPr>
              <p:cNvSpPr/>
              <p:nvPr/>
            </p:nvSpPr>
            <p:spPr>
              <a:xfrm>
                <a:off x="6838304" y="4171298"/>
                <a:ext cx="1214683" cy="1349660"/>
              </a:xfrm>
              <a:custGeom>
                <a:avLst/>
                <a:gdLst>
                  <a:gd name="connsiteX0" fmla="*/ 710334 w 1214683"/>
                  <a:gd name="connsiteY0" fmla="*/ 89006 h 1349660"/>
                  <a:gd name="connsiteX1" fmla="*/ 607350 w 1214683"/>
                  <a:gd name="connsiteY1" fmla="*/ 0 h 1349660"/>
                  <a:gd name="connsiteX2" fmla="*/ 504349 w 1214683"/>
                  <a:gd name="connsiteY2" fmla="*/ 89006 h 1349660"/>
                  <a:gd name="connsiteX3" fmla="*/ 243224 w 1214683"/>
                  <a:gd name="connsiteY3" fmla="*/ 243979 h 1349660"/>
                  <a:gd name="connsiteX4" fmla="*/ 0 w 1214683"/>
                  <a:gd name="connsiteY4" fmla="*/ 337408 h 1349660"/>
                  <a:gd name="connsiteX5" fmla="*/ 22791 w 1214683"/>
                  <a:gd name="connsiteY5" fmla="*/ 524574 h 1349660"/>
                  <a:gd name="connsiteX6" fmla="*/ 212101 w 1214683"/>
                  <a:gd name="connsiteY6" fmla="*/ 1001400 h 1349660"/>
                  <a:gd name="connsiteX7" fmla="*/ 595183 w 1214683"/>
                  <a:gd name="connsiteY7" fmla="*/ 1342648 h 1349660"/>
                  <a:gd name="connsiteX8" fmla="*/ 607350 w 1214683"/>
                  <a:gd name="connsiteY8" fmla="*/ 1349660 h 1349660"/>
                  <a:gd name="connsiteX9" fmla="*/ 619517 w 1214683"/>
                  <a:gd name="connsiteY9" fmla="*/ 1342648 h 1349660"/>
                  <a:gd name="connsiteX10" fmla="*/ 619494 w 1214683"/>
                  <a:gd name="connsiteY10" fmla="*/ 1342648 h 1349660"/>
                  <a:gd name="connsiteX11" fmla="*/ 1002577 w 1214683"/>
                  <a:gd name="connsiteY11" fmla="*/ 1001400 h 1349660"/>
                  <a:gd name="connsiteX12" fmla="*/ 1191886 w 1214683"/>
                  <a:gd name="connsiteY12" fmla="*/ 524574 h 1349660"/>
                  <a:gd name="connsiteX13" fmla="*/ 1214683 w 1214683"/>
                  <a:gd name="connsiteY13" fmla="*/ 337408 h 1349660"/>
                  <a:gd name="connsiteX14" fmla="*/ 971453 w 1214683"/>
                  <a:gd name="connsiteY14" fmla="*/ 243979 h 1349660"/>
                  <a:gd name="connsiteX15" fmla="*/ 710334 w 1214683"/>
                  <a:gd name="connsiteY15" fmla="*/ 89006 h 1349660"/>
                  <a:gd name="connsiteX16" fmla="*/ 674816 w 1214683"/>
                  <a:gd name="connsiteY16" fmla="*/ 728057 h 1349660"/>
                  <a:gd name="connsiteX17" fmla="*/ 674816 w 1214683"/>
                  <a:gd name="connsiteY17" fmla="*/ 944758 h 1349660"/>
                  <a:gd name="connsiteX18" fmla="*/ 539867 w 1214683"/>
                  <a:gd name="connsiteY18" fmla="*/ 944758 h 1349660"/>
                  <a:gd name="connsiteX19" fmla="*/ 539867 w 1214683"/>
                  <a:gd name="connsiteY19" fmla="*/ 728057 h 1349660"/>
                  <a:gd name="connsiteX20" fmla="*/ 443850 w 1214683"/>
                  <a:gd name="connsiteY20" fmla="*/ 615054 h 1349660"/>
                  <a:gd name="connsiteX21" fmla="*/ 474145 w 1214683"/>
                  <a:gd name="connsiteY21" fmla="*/ 469905 h 1349660"/>
                  <a:gd name="connsiteX22" fmla="*/ 607356 w 1214683"/>
                  <a:gd name="connsiteY22" fmla="*/ 404742 h 1349660"/>
                  <a:gd name="connsiteX23" fmla="*/ 740544 w 1214683"/>
                  <a:gd name="connsiteY23" fmla="*/ 469905 h 1349660"/>
                  <a:gd name="connsiteX24" fmla="*/ 770839 w 1214683"/>
                  <a:gd name="connsiteY24" fmla="*/ 615054 h 1349660"/>
                  <a:gd name="connsiteX25" fmla="*/ 674821 w 1214683"/>
                  <a:gd name="connsiteY25" fmla="*/ 728057 h 134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14683" h="1349660">
                    <a:moveTo>
                      <a:pt x="710334" y="89006"/>
                    </a:moveTo>
                    <a:lnTo>
                      <a:pt x="607350" y="0"/>
                    </a:lnTo>
                    <a:lnTo>
                      <a:pt x="504349" y="89006"/>
                    </a:lnTo>
                    <a:cubicBezTo>
                      <a:pt x="426905" y="155351"/>
                      <a:pt x="338545" y="207792"/>
                      <a:pt x="243224" y="243979"/>
                    </a:cubicBezTo>
                    <a:lnTo>
                      <a:pt x="0" y="337408"/>
                    </a:lnTo>
                    <a:lnTo>
                      <a:pt x="22791" y="524574"/>
                    </a:lnTo>
                    <a:cubicBezTo>
                      <a:pt x="47909" y="696093"/>
                      <a:pt x="112734" y="859370"/>
                      <a:pt x="212101" y="1001400"/>
                    </a:cubicBezTo>
                    <a:cubicBezTo>
                      <a:pt x="311468" y="1143429"/>
                      <a:pt x="442644" y="1260272"/>
                      <a:pt x="595183" y="1342648"/>
                    </a:cubicBezTo>
                    <a:lnTo>
                      <a:pt x="607350" y="1349660"/>
                    </a:lnTo>
                    <a:lnTo>
                      <a:pt x="619517" y="1342648"/>
                    </a:lnTo>
                    <a:lnTo>
                      <a:pt x="619494" y="1342648"/>
                    </a:lnTo>
                    <a:cubicBezTo>
                      <a:pt x="772034" y="1260272"/>
                      <a:pt x="903216" y="1143429"/>
                      <a:pt x="1002577" y="1001400"/>
                    </a:cubicBezTo>
                    <a:cubicBezTo>
                      <a:pt x="1101966" y="859370"/>
                      <a:pt x="1166769" y="696093"/>
                      <a:pt x="1191886" y="524574"/>
                    </a:cubicBezTo>
                    <a:lnTo>
                      <a:pt x="1214683" y="337408"/>
                    </a:lnTo>
                    <a:lnTo>
                      <a:pt x="971453" y="243979"/>
                    </a:lnTo>
                    <a:cubicBezTo>
                      <a:pt x="876127" y="207792"/>
                      <a:pt x="787767" y="155351"/>
                      <a:pt x="710334" y="89006"/>
                    </a:cubicBezTo>
                    <a:close/>
                    <a:moveTo>
                      <a:pt x="674816" y="728057"/>
                    </a:moveTo>
                    <a:lnTo>
                      <a:pt x="674816" y="944758"/>
                    </a:lnTo>
                    <a:lnTo>
                      <a:pt x="539867" y="944758"/>
                    </a:lnTo>
                    <a:lnTo>
                      <a:pt x="539867" y="728057"/>
                    </a:lnTo>
                    <a:cubicBezTo>
                      <a:pt x="492141" y="707226"/>
                      <a:pt x="456686" y="665529"/>
                      <a:pt x="443850" y="615054"/>
                    </a:cubicBezTo>
                    <a:cubicBezTo>
                      <a:pt x="431014" y="564602"/>
                      <a:pt x="442175" y="511024"/>
                      <a:pt x="474145" y="469905"/>
                    </a:cubicBezTo>
                    <a:cubicBezTo>
                      <a:pt x="506114" y="428785"/>
                      <a:pt x="555269" y="404742"/>
                      <a:pt x="607356" y="404742"/>
                    </a:cubicBezTo>
                    <a:cubicBezTo>
                      <a:pt x="659414" y="404742"/>
                      <a:pt x="708574" y="428785"/>
                      <a:pt x="740544" y="469905"/>
                    </a:cubicBezTo>
                    <a:cubicBezTo>
                      <a:pt x="772514" y="511024"/>
                      <a:pt x="783698" y="564602"/>
                      <a:pt x="770839" y="615054"/>
                    </a:cubicBezTo>
                    <a:cubicBezTo>
                      <a:pt x="758003" y="665529"/>
                      <a:pt x="722553" y="707231"/>
                      <a:pt x="674821" y="728057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105" name="Graphic 398">
              <a:extLst>
                <a:ext uri="{FF2B5EF4-FFF2-40B4-BE49-F238E27FC236}">
                  <a16:creationId xmlns:a16="http://schemas.microsoft.com/office/drawing/2014/main" id="{8C8E7126-46FE-42C1-9255-852171E2DA5B}"/>
                </a:ext>
              </a:extLst>
            </p:cNvPr>
            <p:cNvGrpSpPr/>
            <p:nvPr/>
          </p:nvGrpSpPr>
          <p:grpSpPr>
            <a:xfrm>
              <a:off x="5908601" y="5058770"/>
              <a:ext cx="502203" cy="531401"/>
              <a:chOff x="4206602" y="1539506"/>
              <a:chExt cx="3778948" cy="3779026"/>
            </a:xfrm>
            <a:solidFill>
              <a:schemeClr val="accent2"/>
            </a:solidFill>
          </p:grpSpPr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E7B0896-FE48-4EF3-AC0D-0A3FB5943135}"/>
                  </a:ext>
                </a:extLst>
              </p:cNvPr>
              <p:cNvSpPr/>
              <p:nvPr/>
            </p:nvSpPr>
            <p:spPr>
              <a:xfrm>
                <a:off x="4206602" y="3024103"/>
                <a:ext cx="2294294" cy="2294429"/>
              </a:xfrm>
              <a:custGeom>
                <a:avLst/>
                <a:gdLst>
                  <a:gd name="connsiteX0" fmla="*/ 2293734 w 2294294"/>
                  <a:gd name="connsiteY0" fmla="*/ 955708 h 2294429"/>
                  <a:gd name="connsiteX1" fmla="*/ 2293865 w 2294294"/>
                  <a:gd name="connsiteY1" fmla="*/ 954211 h 2294429"/>
                  <a:gd name="connsiteX2" fmla="*/ 2294294 w 2294294"/>
                  <a:gd name="connsiteY2" fmla="*/ 944770 h 2294429"/>
                  <a:gd name="connsiteX3" fmla="*/ 2293757 w 2294294"/>
                  <a:gd name="connsiteY3" fmla="*/ 935329 h 2294429"/>
                  <a:gd name="connsiteX4" fmla="*/ 2293620 w 2294294"/>
                  <a:gd name="connsiteY4" fmla="*/ 933831 h 2294429"/>
                  <a:gd name="connsiteX5" fmla="*/ 1349502 w 2294294"/>
                  <a:gd name="connsiteY5" fmla="*/ 0 h 2294429"/>
                  <a:gd name="connsiteX6" fmla="*/ 405269 w 2294294"/>
                  <a:gd name="connsiteY6" fmla="*/ 933831 h 2294429"/>
                  <a:gd name="connsiteX7" fmla="*/ 405269 w 2294294"/>
                  <a:gd name="connsiteY7" fmla="*/ 935329 h 2294429"/>
                  <a:gd name="connsiteX8" fmla="*/ 404738 w 2294294"/>
                  <a:gd name="connsiteY8" fmla="*/ 944770 h 2294429"/>
                  <a:gd name="connsiteX9" fmla="*/ 405269 w 2294294"/>
                  <a:gd name="connsiteY9" fmla="*/ 954348 h 2294429"/>
                  <a:gd name="connsiteX10" fmla="*/ 405269 w 2294294"/>
                  <a:gd name="connsiteY10" fmla="*/ 955845 h 2294429"/>
                  <a:gd name="connsiteX11" fmla="*/ 492869 w 2294294"/>
                  <a:gd name="connsiteY11" fmla="*/ 1340756 h 2294429"/>
                  <a:gd name="connsiteX12" fmla="*/ 95253 w 2294294"/>
                  <a:gd name="connsiteY12" fmla="*/ 1738378 h 2294429"/>
                  <a:gd name="connsiteX13" fmla="*/ 95253 w 2294294"/>
                  <a:gd name="connsiteY13" fmla="*/ 2199149 h 2294429"/>
                  <a:gd name="connsiteX14" fmla="*/ 325636 w 2294294"/>
                  <a:gd name="connsiteY14" fmla="*/ 2294430 h 2294429"/>
                  <a:gd name="connsiteX15" fmla="*/ 556019 w 2294294"/>
                  <a:gd name="connsiteY15" fmla="*/ 2199149 h 2294429"/>
                  <a:gd name="connsiteX16" fmla="*/ 953635 w 2294294"/>
                  <a:gd name="connsiteY16" fmla="*/ 1801528 h 2294429"/>
                  <a:gd name="connsiteX17" fmla="*/ 1349490 w 2294294"/>
                  <a:gd name="connsiteY17" fmla="*/ 1889533 h 2294429"/>
                  <a:gd name="connsiteX18" fmla="*/ 2293665 w 2294294"/>
                  <a:gd name="connsiteY18" fmla="*/ 955697 h 2294429"/>
                  <a:gd name="connsiteX19" fmla="*/ 1349559 w 2294294"/>
                  <a:gd name="connsiteY19" fmla="*/ 1619620 h 2294429"/>
                  <a:gd name="connsiteX20" fmla="*/ 800250 w 2294294"/>
                  <a:gd name="connsiteY20" fmla="*/ 1334024 h 2294429"/>
                  <a:gd name="connsiteX21" fmla="*/ 1349559 w 2294294"/>
                  <a:gd name="connsiteY21" fmla="*/ 1484643 h 2294429"/>
                  <a:gd name="connsiteX22" fmla="*/ 1898867 w 2294294"/>
                  <a:gd name="connsiteY22" fmla="*/ 1334024 h 2294429"/>
                  <a:gd name="connsiteX23" fmla="*/ 1349559 w 2294294"/>
                  <a:gd name="connsiteY23" fmla="*/ 1619620 h 2294429"/>
                  <a:gd name="connsiteX24" fmla="*/ 1349559 w 2294294"/>
                  <a:gd name="connsiteY24" fmla="*/ 809804 h 2294429"/>
                  <a:gd name="connsiteX25" fmla="*/ 1484530 w 2294294"/>
                  <a:gd name="connsiteY25" fmla="*/ 944775 h 2294429"/>
                  <a:gd name="connsiteX26" fmla="*/ 1349559 w 2294294"/>
                  <a:gd name="connsiteY26" fmla="*/ 1079746 h 2294429"/>
                  <a:gd name="connsiteX27" fmla="*/ 1214588 w 2294294"/>
                  <a:gd name="connsiteY27" fmla="*/ 944775 h 2294429"/>
                  <a:gd name="connsiteX28" fmla="*/ 1349559 w 2294294"/>
                  <a:gd name="connsiteY28" fmla="*/ 809804 h 2294429"/>
                  <a:gd name="connsiteX29" fmla="*/ 1707215 w 2294294"/>
                  <a:gd name="connsiteY29" fmla="*/ 758906 h 2294429"/>
                  <a:gd name="connsiteX30" fmla="*/ 1973231 w 2294294"/>
                  <a:gd name="connsiteY30" fmla="*/ 944758 h 2294429"/>
                  <a:gd name="connsiteX31" fmla="*/ 1707083 w 2294294"/>
                  <a:gd name="connsiteY31" fmla="*/ 1130610 h 2294429"/>
                  <a:gd name="connsiteX32" fmla="*/ 1754455 w 2294294"/>
                  <a:gd name="connsiteY32" fmla="*/ 944758 h 2294429"/>
                  <a:gd name="connsiteX33" fmla="*/ 1707215 w 2294294"/>
                  <a:gd name="connsiteY33" fmla="*/ 758906 h 2294429"/>
                  <a:gd name="connsiteX34" fmla="*/ 991868 w 2294294"/>
                  <a:gd name="connsiteY34" fmla="*/ 1130604 h 2294429"/>
                  <a:gd name="connsiteX35" fmla="*/ 725852 w 2294294"/>
                  <a:gd name="connsiteY35" fmla="*/ 944753 h 2294429"/>
                  <a:gd name="connsiteX36" fmla="*/ 991868 w 2294294"/>
                  <a:gd name="connsiteY36" fmla="*/ 759038 h 2294429"/>
                  <a:gd name="connsiteX37" fmla="*/ 944628 w 2294294"/>
                  <a:gd name="connsiteY37" fmla="*/ 944753 h 2294429"/>
                  <a:gd name="connsiteX38" fmla="*/ 991868 w 2294294"/>
                  <a:gd name="connsiteY38" fmla="*/ 1130604 h 2294429"/>
                  <a:gd name="connsiteX39" fmla="*/ 1349547 w 2294294"/>
                  <a:gd name="connsiteY39" fmla="*/ 269925 h 2294429"/>
                  <a:gd name="connsiteX40" fmla="*/ 1898856 w 2294294"/>
                  <a:gd name="connsiteY40" fmla="*/ 555521 h 2294429"/>
                  <a:gd name="connsiteX41" fmla="*/ 1349547 w 2294294"/>
                  <a:gd name="connsiteY41" fmla="*/ 404879 h 2294429"/>
                  <a:gd name="connsiteX42" fmla="*/ 800239 w 2294294"/>
                  <a:gd name="connsiteY42" fmla="*/ 555498 h 2294429"/>
                  <a:gd name="connsiteX43" fmla="*/ 1349547 w 2294294"/>
                  <a:gd name="connsiteY43" fmla="*/ 269925 h 2294429"/>
                  <a:gd name="connsiteX44" fmla="*/ 365253 w 2294294"/>
                  <a:gd name="connsiteY44" fmla="*/ 2008143 h 2294429"/>
                  <a:gd name="connsiteX45" fmla="*/ 286157 w 2294294"/>
                  <a:gd name="connsiteY45" fmla="*/ 2008143 h 2294429"/>
                  <a:gd name="connsiteX46" fmla="*/ 286157 w 2294294"/>
                  <a:gd name="connsiteY46" fmla="*/ 1929047 h 2294429"/>
                  <a:gd name="connsiteX47" fmla="*/ 644082 w 2294294"/>
                  <a:gd name="connsiteY47" fmla="*/ 1571122 h 2294429"/>
                  <a:gd name="connsiteX48" fmla="*/ 723178 w 2294294"/>
                  <a:gd name="connsiteY48" fmla="*/ 1650218 h 2294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294294" h="2294429">
                    <a:moveTo>
                      <a:pt x="2293734" y="955708"/>
                    </a:moveTo>
                    <a:cubicBezTo>
                      <a:pt x="2293734" y="955171"/>
                      <a:pt x="2293734" y="954771"/>
                      <a:pt x="2293865" y="954211"/>
                    </a:cubicBezTo>
                    <a:cubicBezTo>
                      <a:pt x="2293865" y="951108"/>
                      <a:pt x="2294294" y="948004"/>
                      <a:pt x="2294294" y="944770"/>
                    </a:cubicBezTo>
                    <a:cubicBezTo>
                      <a:pt x="2294294" y="941535"/>
                      <a:pt x="2293888" y="938432"/>
                      <a:pt x="2293757" y="935329"/>
                    </a:cubicBezTo>
                    <a:cubicBezTo>
                      <a:pt x="2293757" y="934791"/>
                      <a:pt x="2293757" y="934391"/>
                      <a:pt x="2293620" y="933831"/>
                    </a:cubicBezTo>
                    <a:cubicBezTo>
                      <a:pt x="2287796" y="417875"/>
                      <a:pt x="1866715" y="0"/>
                      <a:pt x="1349502" y="0"/>
                    </a:cubicBezTo>
                    <a:cubicBezTo>
                      <a:pt x="832317" y="0"/>
                      <a:pt x="411213" y="418001"/>
                      <a:pt x="405269" y="933831"/>
                    </a:cubicBezTo>
                    <a:lnTo>
                      <a:pt x="405269" y="935329"/>
                    </a:lnTo>
                    <a:cubicBezTo>
                      <a:pt x="405138" y="938432"/>
                      <a:pt x="404738" y="941535"/>
                      <a:pt x="404738" y="944770"/>
                    </a:cubicBezTo>
                    <a:cubicBezTo>
                      <a:pt x="404738" y="948004"/>
                      <a:pt x="405138" y="951108"/>
                      <a:pt x="405269" y="954348"/>
                    </a:cubicBezTo>
                    <a:lnTo>
                      <a:pt x="405269" y="955845"/>
                    </a:lnTo>
                    <a:cubicBezTo>
                      <a:pt x="406904" y="1093245"/>
                      <a:pt x="438336" y="1223359"/>
                      <a:pt x="492869" y="1340756"/>
                    </a:cubicBezTo>
                    <a:lnTo>
                      <a:pt x="95253" y="1738378"/>
                    </a:lnTo>
                    <a:cubicBezTo>
                      <a:pt x="-31751" y="1865376"/>
                      <a:pt x="-31751" y="2072145"/>
                      <a:pt x="95253" y="2199149"/>
                    </a:cubicBezTo>
                    <a:cubicBezTo>
                      <a:pt x="158833" y="2262729"/>
                      <a:pt x="242237" y="2294430"/>
                      <a:pt x="325636" y="2294430"/>
                    </a:cubicBezTo>
                    <a:cubicBezTo>
                      <a:pt x="409035" y="2294430"/>
                      <a:pt x="492463" y="2262706"/>
                      <a:pt x="556019" y="2199149"/>
                    </a:cubicBezTo>
                    <a:lnTo>
                      <a:pt x="953635" y="1801528"/>
                    </a:lnTo>
                    <a:cubicBezTo>
                      <a:pt x="1074141" y="1857410"/>
                      <a:pt x="1208044" y="1889533"/>
                      <a:pt x="1349490" y="1889533"/>
                    </a:cubicBezTo>
                    <a:cubicBezTo>
                      <a:pt x="1866675" y="1889533"/>
                      <a:pt x="2287779" y="1471693"/>
                      <a:pt x="2293665" y="955697"/>
                    </a:cubicBezTo>
                    <a:close/>
                    <a:moveTo>
                      <a:pt x="1349559" y="1619620"/>
                    </a:moveTo>
                    <a:cubicBezTo>
                      <a:pt x="1122679" y="1619620"/>
                      <a:pt x="922654" y="1506257"/>
                      <a:pt x="800250" y="1334024"/>
                    </a:cubicBezTo>
                    <a:cubicBezTo>
                      <a:pt x="971791" y="1431602"/>
                      <a:pt x="1158038" y="1484643"/>
                      <a:pt x="1349559" y="1484643"/>
                    </a:cubicBezTo>
                    <a:cubicBezTo>
                      <a:pt x="1541080" y="1484643"/>
                      <a:pt x="1727463" y="1431602"/>
                      <a:pt x="1898867" y="1334024"/>
                    </a:cubicBezTo>
                    <a:cubicBezTo>
                      <a:pt x="1776441" y="1506234"/>
                      <a:pt x="1576416" y="1619620"/>
                      <a:pt x="1349559" y="1619620"/>
                    </a:cubicBezTo>
                    <a:close/>
                    <a:moveTo>
                      <a:pt x="1349559" y="809804"/>
                    </a:moveTo>
                    <a:cubicBezTo>
                      <a:pt x="1423922" y="809804"/>
                      <a:pt x="1484530" y="870412"/>
                      <a:pt x="1484530" y="944775"/>
                    </a:cubicBezTo>
                    <a:cubicBezTo>
                      <a:pt x="1484530" y="1019139"/>
                      <a:pt x="1423922" y="1079746"/>
                      <a:pt x="1349559" y="1079746"/>
                    </a:cubicBezTo>
                    <a:cubicBezTo>
                      <a:pt x="1275195" y="1079746"/>
                      <a:pt x="1214588" y="1019139"/>
                      <a:pt x="1214588" y="944775"/>
                    </a:cubicBezTo>
                    <a:cubicBezTo>
                      <a:pt x="1214588" y="870389"/>
                      <a:pt x="1275178" y="809804"/>
                      <a:pt x="1349559" y="809804"/>
                    </a:cubicBezTo>
                    <a:close/>
                    <a:moveTo>
                      <a:pt x="1707215" y="758906"/>
                    </a:moveTo>
                    <a:cubicBezTo>
                      <a:pt x="1801290" y="803844"/>
                      <a:pt x="1890901" y="865931"/>
                      <a:pt x="1973231" y="944758"/>
                    </a:cubicBezTo>
                    <a:cubicBezTo>
                      <a:pt x="1890764" y="1023585"/>
                      <a:pt x="1801158" y="1085667"/>
                      <a:pt x="1707083" y="1130610"/>
                    </a:cubicBezTo>
                    <a:cubicBezTo>
                      <a:pt x="1736373" y="1074597"/>
                      <a:pt x="1754455" y="1012115"/>
                      <a:pt x="1754455" y="944758"/>
                    </a:cubicBezTo>
                    <a:cubicBezTo>
                      <a:pt x="1754455" y="877401"/>
                      <a:pt x="1736373" y="814919"/>
                      <a:pt x="1707215" y="758906"/>
                    </a:cubicBezTo>
                    <a:close/>
                    <a:moveTo>
                      <a:pt x="991868" y="1130604"/>
                    </a:moveTo>
                    <a:cubicBezTo>
                      <a:pt x="897948" y="1085667"/>
                      <a:pt x="808320" y="1023579"/>
                      <a:pt x="725852" y="944753"/>
                    </a:cubicBezTo>
                    <a:cubicBezTo>
                      <a:pt x="808320" y="865925"/>
                      <a:pt x="897925" y="803844"/>
                      <a:pt x="991868" y="759038"/>
                    </a:cubicBezTo>
                    <a:cubicBezTo>
                      <a:pt x="962733" y="814914"/>
                      <a:pt x="944628" y="877401"/>
                      <a:pt x="944628" y="944753"/>
                    </a:cubicBezTo>
                    <a:cubicBezTo>
                      <a:pt x="944628" y="1012104"/>
                      <a:pt x="962733" y="1074592"/>
                      <a:pt x="991868" y="1130604"/>
                    </a:cubicBezTo>
                    <a:close/>
                    <a:moveTo>
                      <a:pt x="1349547" y="269925"/>
                    </a:moveTo>
                    <a:cubicBezTo>
                      <a:pt x="1576427" y="269925"/>
                      <a:pt x="1776452" y="383288"/>
                      <a:pt x="1898856" y="555521"/>
                    </a:cubicBezTo>
                    <a:cubicBezTo>
                      <a:pt x="1727452" y="457920"/>
                      <a:pt x="1541046" y="404879"/>
                      <a:pt x="1349547" y="404879"/>
                    </a:cubicBezTo>
                    <a:cubicBezTo>
                      <a:pt x="1158026" y="404879"/>
                      <a:pt x="971774" y="457920"/>
                      <a:pt x="800239" y="555498"/>
                    </a:cubicBezTo>
                    <a:cubicBezTo>
                      <a:pt x="922642" y="383288"/>
                      <a:pt x="1122667" y="269925"/>
                      <a:pt x="1349547" y="269925"/>
                    </a:cubicBezTo>
                    <a:close/>
                    <a:moveTo>
                      <a:pt x="365253" y="2008143"/>
                    </a:moveTo>
                    <a:cubicBezTo>
                      <a:pt x="343399" y="2029865"/>
                      <a:pt x="308034" y="2029865"/>
                      <a:pt x="286157" y="2008143"/>
                    </a:cubicBezTo>
                    <a:cubicBezTo>
                      <a:pt x="264303" y="1986288"/>
                      <a:pt x="264303" y="1950924"/>
                      <a:pt x="286157" y="1929047"/>
                    </a:cubicBezTo>
                    <a:lnTo>
                      <a:pt x="644082" y="1571122"/>
                    </a:lnTo>
                    <a:cubicBezTo>
                      <a:pt x="668908" y="1599051"/>
                      <a:pt x="695225" y="1625369"/>
                      <a:pt x="723178" y="1650218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B6828DDF-2DC1-4C2A-999D-BD028F9F3BC7}"/>
                  </a:ext>
                </a:extLst>
              </p:cNvPr>
              <p:cNvSpPr/>
              <p:nvPr/>
            </p:nvSpPr>
            <p:spPr>
              <a:xfrm>
                <a:off x="6500867" y="1944414"/>
                <a:ext cx="269942" cy="539861"/>
              </a:xfrm>
              <a:custGeom>
                <a:avLst/>
                <a:gdLst>
                  <a:gd name="connsiteX0" fmla="*/ 134971 w 269942"/>
                  <a:gd name="connsiteY0" fmla="*/ 0 h 539861"/>
                  <a:gd name="connsiteX1" fmla="*/ 0 w 269942"/>
                  <a:gd name="connsiteY1" fmla="*/ 134971 h 539861"/>
                  <a:gd name="connsiteX2" fmla="*/ 0 w 269942"/>
                  <a:gd name="connsiteY2" fmla="*/ 404891 h 539861"/>
                  <a:gd name="connsiteX3" fmla="*/ 134971 w 269942"/>
                  <a:gd name="connsiteY3" fmla="*/ 539862 h 539861"/>
                  <a:gd name="connsiteX4" fmla="*/ 269942 w 269942"/>
                  <a:gd name="connsiteY4" fmla="*/ 404891 h 539861"/>
                  <a:gd name="connsiteX5" fmla="*/ 269942 w 269942"/>
                  <a:gd name="connsiteY5" fmla="*/ 134948 h 539861"/>
                  <a:gd name="connsiteX6" fmla="*/ 134971 w 269942"/>
                  <a:gd name="connsiteY6" fmla="*/ 0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134971" y="0"/>
                    </a:move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03" y="539862"/>
                      <a:pt x="269942" y="479408"/>
                      <a:pt x="269942" y="404891"/>
                    </a:cubicBezTo>
                    <a:lnTo>
                      <a:pt x="269942" y="134948"/>
                    </a:lnTo>
                    <a:cubicBezTo>
                      <a:pt x="269942" y="60453"/>
                      <a:pt x="209620" y="0"/>
                      <a:pt x="134971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56635C4B-63A9-4B78-8DE1-56F3FADED2D8}"/>
                  </a:ext>
                </a:extLst>
              </p:cNvPr>
              <p:cNvSpPr/>
              <p:nvPr/>
            </p:nvSpPr>
            <p:spPr>
              <a:xfrm>
                <a:off x="6905775" y="1944414"/>
                <a:ext cx="269942" cy="539861"/>
              </a:xfrm>
              <a:custGeom>
                <a:avLst/>
                <a:gdLst>
                  <a:gd name="connsiteX0" fmla="*/ 134971 w 269942"/>
                  <a:gd name="connsiteY0" fmla="*/ 0 h 539861"/>
                  <a:gd name="connsiteX1" fmla="*/ 0 w 269942"/>
                  <a:gd name="connsiteY1" fmla="*/ 134971 h 539861"/>
                  <a:gd name="connsiteX2" fmla="*/ 0 w 269942"/>
                  <a:gd name="connsiteY2" fmla="*/ 404891 h 539861"/>
                  <a:gd name="connsiteX3" fmla="*/ 134971 w 269942"/>
                  <a:gd name="connsiteY3" fmla="*/ 539862 h 539861"/>
                  <a:gd name="connsiteX4" fmla="*/ 269942 w 269942"/>
                  <a:gd name="connsiteY4" fmla="*/ 404891 h 539861"/>
                  <a:gd name="connsiteX5" fmla="*/ 269942 w 269942"/>
                  <a:gd name="connsiteY5" fmla="*/ 134948 h 539861"/>
                  <a:gd name="connsiteX6" fmla="*/ 134971 w 269942"/>
                  <a:gd name="connsiteY6" fmla="*/ 0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134971" y="0"/>
                    </a:move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03" y="539862"/>
                      <a:pt x="269942" y="479408"/>
                      <a:pt x="269942" y="404891"/>
                    </a:cubicBezTo>
                    <a:lnTo>
                      <a:pt x="269942" y="134948"/>
                    </a:lnTo>
                    <a:cubicBezTo>
                      <a:pt x="269942" y="60453"/>
                      <a:pt x="209621" y="0"/>
                      <a:pt x="134971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39727DF8-4A4F-4635-BF8E-165129754A4A}"/>
                  </a:ext>
                </a:extLst>
              </p:cNvPr>
              <p:cNvSpPr/>
              <p:nvPr/>
            </p:nvSpPr>
            <p:spPr>
              <a:xfrm>
                <a:off x="7310683" y="1944414"/>
                <a:ext cx="269942" cy="539861"/>
              </a:xfrm>
              <a:custGeom>
                <a:avLst/>
                <a:gdLst>
                  <a:gd name="connsiteX0" fmla="*/ 134971 w 269942"/>
                  <a:gd name="connsiteY0" fmla="*/ 0 h 539861"/>
                  <a:gd name="connsiteX1" fmla="*/ 0 w 269942"/>
                  <a:gd name="connsiteY1" fmla="*/ 134971 h 539861"/>
                  <a:gd name="connsiteX2" fmla="*/ 0 w 269942"/>
                  <a:gd name="connsiteY2" fmla="*/ 404891 h 539861"/>
                  <a:gd name="connsiteX3" fmla="*/ 134971 w 269942"/>
                  <a:gd name="connsiteY3" fmla="*/ 539862 h 539861"/>
                  <a:gd name="connsiteX4" fmla="*/ 269942 w 269942"/>
                  <a:gd name="connsiteY4" fmla="*/ 404891 h 539861"/>
                  <a:gd name="connsiteX5" fmla="*/ 269919 w 269942"/>
                  <a:gd name="connsiteY5" fmla="*/ 134948 h 539861"/>
                  <a:gd name="connsiteX6" fmla="*/ 134971 w 269942"/>
                  <a:gd name="connsiteY6" fmla="*/ 0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134971" y="0"/>
                    </a:move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03" y="539862"/>
                      <a:pt x="269942" y="479408"/>
                      <a:pt x="269942" y="404891"/>
                    </a:cubicBezTo>
                    <a:lnTo>
                      <a:pt x="269919" y="134948"/>
                    </a:lnTo>
                    <a:cubicBezTo>
                      <a:pt x="269919" y="60453"/>
                      <a:pt x="209598" y="0"/>
                      <a:pt x="134971" y="0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FBC2E393-3F50-40D7-A2CB-81255878422D}"/>
                  </a:ext>
                </a:extLst>
              </p:cNvPr>
              <p:cNvSpPr/>
              <p:nvPr/>
            </p:nvSpPr>
            <p:spPr>
              <a:xfrm>
                <a:off x="6500867" y="3024126"/>
                <a:ext cx="269942" cy="539861"/>
              </a:xfrm>
              <a:custGeom>
                <a:avLst/>
                <a:gdLst>
                  <a:gd name="connsiteX0" fmla="*/ 134971 w 269942"/>
                  <a:gd name="connsiteY0" fmla="*/ 539862 h 539861"/>
                  <a:gd name="connsiteX1" fmla="*/ 269942 w 269942"/>
                  <a:gd name="connsiteY1" fmla="*/ 404891 h 539861"/>
                  <a:gd name="connsiteX2" fmla="*/ 269942 w 269942"/>
                  <a:gd name="connsiteY2" fmla="*/ 134971 h 539861"/>
                  <a:gd name="connsiteX3" fmla="*/ 134971 w 269942"/>
                  <a:gd name="connsiteY3" fmla="*/ 0 h 539861"/>
                  <a:gd name="connsiteX4" fmla="*/ 0 w 269942"/>
                  <a:gd name="connsiteY4" fmla="*/ 134971 h 539861"/>
                  <a:gd name="connsiteX5" fmla="*/ 0 w 269942"/>
                  <a:gd name="connsiteY5" fmla="*/ 404891 h 539861"/>
                  <a:gd name="connsiteX6" fmla="*/ 134971 w 269942"/>
                  <a:gd name="connsiteY6" fmla="*/ 539862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134971" y="539862"/>
                    </a:moveTo>
                    <a:cubicBezTo>
                      <a:pt x="209603" y="539862"/>
                      <a:pt x="269942" y="479408"/>
                      <a:pt x="269942" y="404891"/>
                    </a:cubicBezTo>
                    <a:lnTo>
                      <a:pt x="269942" y="134971"/>
                    </a:lnTo>
                    <a:cubicBezTo>
                      <a:pt x="269942" y="60476"/>
                      <a:pt x="209620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23" y="479408"/>
                      <a:pt x="60344" y="539862"/>
                      <a:pt x="134971" y="539862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E84A04EC-1312-4F97-A80C-CBCEE2A5576A}"/>
                  </a:ext>
                </a:extLst>
              </p:cNvPr>
              <p:cNvSpPr/>
              <p:nvPr/>
            </p:nvSpPr>
            <p:spPr>
              <a:xfrm>
                <a:off x="6905792" y="3024109"/>
                <a:ext cx="269942" cy="539861"/>
              </a:xfrm>
              <a:custGeom>
                <a:avLst/>
                <a:gdLst>
                  <a:gd name="connsiteX0" fmla="*/ 269942 w 269942"/>
                  <a:gd name="connsiteY0" fmla="*/ 404891 h 539861"/>
                  <a:gd name="connsiteX1" fmla="*/ 269942 w 269942"/>
                  <a:gd name="connsiteY1" fmla="*/ 134971 h 539861"/>
                  <a:gd name="connsiteX2" fmla="*/ 134971 w 269942"/>
                  <a:gd name="connsiteY2" fmla="*/ 0 h 539861"/>
                  <a:gd name="connsiteX3" fmla="*/ 0 w 269942"/>
                  <a:gd name="connsiteY3" fmla="*/ 134971 h 539861"/>
                  <a:gd name="connsiteX4" fmla="*/ 0 w 269942"/>
                  <a:gd name="connsiteY4" fmla="*/ 404891 h 539861"/>
                  <a:gd name="connsiteX5" fmla="*/ 134971 w 269942"/>
                  <a:gd name="connsiteY5" fmla="*/ 539862 h 539861"/>
                  <a:gd name="connsiteX6" fmla="*/ 269942 w 269942"/>
                  <a:gd name="connsiteY6" fmla="*/ 404891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269942" y="404891"/>
                    </a:moveTo>
                    <a:lnTo>
                      <a:pt x="269942" y="134971"/>
                    </a:lnTo>
                    <a:cubicBezTo>
                      <a:pt x="269942" y="60476"/>
                      <a:pt x="209621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5"/>
                      <a:pt x="60322" y="539862"/>
                      <a:pt x="134971" y="539862"/>
                    </a:cubicBezTo>
                    <a:cubicBezTo>
                      <a:pt x="209621" y="539862"/>
                      <a:pt x="269942" y="479408"/>
                      <a:pt x="269942" y="404891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EA8315C2-C3F2-4538-998F-458D30DE27CF}"/>
                  </a:ext>
                </a:extLst>
              </p:cNvPr>
              <p:cNvSpPr/>
              <p:nvPr/>
            </p:nvSpPr>
            <p:spPr>
              <a:xfrm>
                <a:off x="7310700" y="3024109"/>
                <a:ext cx="269942" cy="539861"/>
              </a:xfrm>
              <a:custGeom>
                <a:avLst/>
                <a:gdLst>
                  <a:gd name="connsiteX0" fmla="*/ 269942 w 269942"/>
                  <a:gd name="connsiteY0" fmla="*/ 404891 h 539861"/>
                  <a:gd name="connsiteX1" fmla="*/ 269942 w 269942"/>
                  <a:gd name="connsiteY1" fmla="*/ 134971 h 539861"/>
                  <a:gd name="connsiteX2" fmla="*/ 134971 w 269942"/>
                  <a:gd name="connsiteY2" fmla="*/ 0 h 539861"/>
                  <a:gd name="connsiteX3" fmla="*/ 0 w 269942"/>
                  <a:gd name="connsiteY3" fmla="*/ 134971 h 539861"/>
                  <a:gd name="connsiteX4" fmla="*/ 0 w 269942"/>
                  <a:gd name="connsiteY4" fmla="*/ 404891 h 539861"/>
                  <a:gd name="connsiteX5" fmla="*/ 134971 w 269942"/>
                  <a:gd name="connsiteY5" fmla="*/ 539862 h 539861"/>
                  <a:gd name="connsiteX6" fmla="*/ 269942 w 269942"/>
                  <a:gd name="connsiteY6" fmla="*/ 404891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269942" y="404891"/>
                    </a:moveTo>
                    <a:lnTo>
                      <a:pt x="269942" y="134971"/>
                    </a:lnTo>
                    <a:cubicBezTo>
                      <a:pt x="269942" y="60476"/>
                      <a:pt x="209620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5"/>
                      <a:pt x="60322" y="539862"/>
                      <a:pt x="134971" y="539862"/>
                    </a:cubicBezTo>
                    <a:cubicBezTo>
                      <a:pt x="209620" y="539862"/>
                      <a:pt x="269942" y="479408"/>
                      <a:pt x="269942" y="404891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25184ACE-1BB7-4D04-86A9-9175942C021A}"/>
                  </a:ext>
                </a:extLst>
              </p:cNvPr>
              <p:cNvSpPr/>
              <p:nvPr/>
            </p:nvSpPr>
            <p:spPr>
              <a:xfrm>
                <a:off x="6500907" y="4103844"/>
                <a:ext cx="269942" cy="539861"/>
              </a:xfrm>
              <a:custGeom>
                <a:avLst/>
                <a:gdLst>
                  <a:gd name="connsiteX0" fmla="*/ 0 w 269942"/>
                  <a:gd name="connsiteY0" fmla="*/ 404891 h 539861"/>
                  <a:gd name="connsiteX1" fmla="*/ 134971 w 269942"/>
                  <a:gd name="connsiteY1" fmla="*/ 539862 h 539861"/>
                  <a:gd name="connsiteX2" fmla="*/ 269942 w 269942"/>
                  <a:gd name="connsiteY2" fmla="*/ 404891 h 539861"/>
                  <a:gd name="connsiteX3" fmla="*/ 269942 w 269942"/>
                  <a:gd name="connsiteY3" fmla="*/ 134971 h 539861"/>
                  <a:gd name="connsiteX4" fmla="*/ 134971 w 269942"/>
                  <a:gd name="connsiteY4" fmla="*/ 0 h 539861"/>
                  <a:gd name="connsiteX5" fmla="*/ 0 w 269942"/>
                  <a:gd name="connsiteY5" fmla="*/ 134971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9942" h="539861">
                    <a:moveTo>
                      <a:pt x="0" y="404891"/>
                    </a:move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03" y="539862"/>
                      <a:pt x="269942" y="479408"/>
                      <a:pt x="269942" y="404891"/>
                    </a:cubicBezTo>
                    <a:lnTo>
                      <a:pt x="269942" y="134971"/>
                    </a:lnTo>
                    <a:cubicBezTo>
                      <a:pt x="269942" y="60476"/>
                      <a:pt x="209621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2B366734-B5B0-4EA2-A67A-99E730CE93DE}"/>
                  </a:ext>
                </a:extLst>
              </p:cNvPr>
              <p:cNvSpPr/>
              <p:nvPr/>
            </p:nvSpPr>
            <p:spPr>
              <a:xfrm>
                <a:off x="6905792" y="4103844"/>
                <a:ext cx="269942" cy="539861"/>
              </a:xfrm>
              <a:custGeom>
                <a:avLst/>
                <a:gdLst>
                  <a:gd name="connsiteX0" fmla="*/ 269942 w 269942"/>
                  <a:gd name="connsiteY0" fmla="*/ 404891 h 539861"/>
                  <a:gd name="connsiteX1" fmla="*/ 269942 w 269942"/>
                  <a:gd name="connsiteY1" fmla="*/ 134971 h 539861"/>
                  <a:gd name="connsiteX2" fmla="*/ 134971 w 269942"/>
                  <a:gd name="connsiteY2" fmla="*/ 0 h 539861"/>
                  <a:gd name="connsiteX3" fmla="*/ 0 w 269942"/>
                  <a:gd name="connsiteY3" fmla="*/ 134971 h 539861"/>
                  <a:gd name="connsiteX4" fmla="*/ 0 w 269942"/>
                  <a:gd name="connsiteY4" fmla="*/ 404891 h 539861"/>
                  <a:gd name="connsiteX5" fmla="*/ 134971 w 269942"/>
                  <a:gd name="connsiteY5" fmla="*/ 539862 h 539861"/>
                  <a:gd name="connsiteX6" fmla="*/ 269942 w 269942"/>
                  <a:gd name="connsiteY6" fmla="*/ 404891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269942" y="404891"/>
                    </a:moveTo>
                    <a:lnTo>
                      <a:pt x="269942" y="134971"/>
                    </a:lnTo>
                    <a:cubicBezTo>
                      <a:pt x="269942" y="60476"/>
                      <a:pt x="209621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21" y="539862"/>
                      <a:pt x="269942" y="479386"/>
                      <a:pt x="269942" y="404891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BC17F8B1-FC52-45E3-97BE-4C31929D845C}"/>
                  </a:ext>
                </a:extLst>
              </p:cNvPr>
              <p:cNvSpPr/>
              <p:nvPr/>
            </p:nvSpPr>
            <p:spPr>
              <a:xfrm>
                <a:off x="7310700" y="4103844"/>
                <a:ext cx="269942" cy="539861"/>
              </a:xfrm>
              <a:custGeom>
                <a:avLst/>
                <a:gdLst>
                  <a:gd name="connsiteX0" fmla="*/ 269942 w 269942"/>
                  <a:gd name="connsiteY0" fmla="*/ 404891 h 539861"/>
                  <a:gd name="connsiteX1" fmla="*/ 269942 w 269942"/>
                  <a:gd name="connsiteY1" fmla="*/ 134971 h 539861"/>
                  <a:gd name="connsiteX2" fmla="*/ 134971 w 269942"/>
                  <a:gd name="connsiteY2" fmla="*/ 0 h 539861"/>
                  <a:gd name="connsiteX3" fmla="*/ 0 w 269942"/>
                  <a:gd name="connsiteY3" fmla="*/ 134971 h 539861"/>
                  <a:gd name="connsiteX4" fmla="*/ 0 w 269942"/>
                  <a:gd name="connsiteY4" fmla="*/ 404891 h 539861"/>
                  <a:gd name="connsiteX5" fmla="*/ 134971 w 269942"/>
                  <a:gd name="connsiteY5" fmla="*/ 539862 h 539861"/>
                  <a:gd name="connsiteX6" fmla="*/ 269942 w 269942"/>
                  <a:gd name="connsiteY6" fmla="*/ 404891 h 53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42" h="539861">
                    <a:moveTo>
                      <a:pt x="269942" y="404891"/>
                    </a:moveTo>
                    <a:lnTo>
                      <a:pt x="269942" y="134971"/>
                    </a:lnTo>
                    <a:cubicBezTo>
                      <a:pt x="269942" y="60476"/>
                      <a:pt x="209620" y="0"/>
                      <a:pt x="134971" y="0"/>
                    </a:cubicBezTo>
                    <a:cubicBezTo>
                      <a:pt x="60339" y="0"/>
                      <a:pt x="0" y="60453"/>
                      <a:pt x="0" y="134971"/>
                    </a:cubicBezTo>
                    <a:lnTo>
                      <a:pt x="0" y="404891"/>
                    </a:lnTo>
                    <a:cubicBezTo>
                      <a:pt x="0" y="479386"/>
                      <a:pt x="60322" y="539862"/>
                      <a:pt x="134971" y="539862"/>
                    </a:cubicBezTo>
                    <a:cubicBezTo>
                      <a:pt x="209620" y="539862"/>
                      <a:pt x="269942" y="479386"/>
                      <a:pt x="269942" y="404891"/>
                    </a:cubicBez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BA2A6711-45C5-4B1D-A0D0-E8C03B2AF022}"/>
                  </a:ext>
                </a:extLst>
              </p:cNvPr>
              <p:cNvSpPr/>
              <p:nvPr/>
            </p:nvSpPr>
            <p:spPr>
              <a:xfrm>
                <a:off x="5286253" y="1539506"/>
                <a:ext cx="2699297" cy="3509181"/>
              </a:xfrm>
              <a:custGeom>
                <a:avLst/>
                <a:gdLst>
                  <a:gd name="connsiteX0" fmla="*/ 2294390 w 2699297"/>
                  <a:gd name="connsiteY0" fmla="*/ 0 h 3509181"/>
                  <a:gd name="connsiteX1" fmla="*/ 404896 w 2699297"/>
                  <a:gd name="connsiteY1" fmla="*/ 0 h 3509181"/>
                  <a:gd name="connsiteX2" fmla="*/ 0 w 2699297"/>
                  <a:gd name="connsiteY2" fmla="*/ 404896 h 3509181"/>
                  <a:gd name="connsiteX3" fmla="*/ 0 w 2699297"/>
                  <a:gd name="connsiteY3" fmla="*/ 1214712 h 3509181"/>
                  <a:gd name="connsiteX4" fmla="*/ 134971 w 2699297"/>
                  <a:gd name="connsiteY4" fmla="*/ 1349683 h 3509181"/>
                  <a:gd name="connsiteX5" fmla="*/ 2429372 w 2699297"/>
                  <a:gd name="connsiteY5" fmla="*/ 1349683 h 3509181"/>
                  <a:gd name="connsiteX6" fmla="*/ 2429372 w 2699297"/>
                  <a:gd name="connsiteY6" fmla="*/ 2159499 h 3509181"/>
                  <a:gd name="connsiteX7" fmla="*/ 1484625 w 2699297"/>
                  <a:gd name="connsiteY7" fmla="*/ 2159499 h 3509181"/>
                  <a:gd name="connsiteX8" fmla="*/ 1349654 w 2699297"/>
                  <a:gd name="connsiteY8" fmla="*/ 2294470 h 3509181"/>
                  <a:gd name="connsiteX9" fmla="*/ 1484625 w 2699297"/>
                  <a:gd name="connsiteY9" fmla="*/ 2429441 h 3509181"/>
                  <a:gd name="connsiteX10" fmla="*/ 2429372 w 2699297"/>
                  <a:gd name="connsiteY10" fmla="*/ 2429441 h 3509181"/>
                  <a:gd name="connsiteX11" fmla="*/ 2429372 w 2699297"/>
                  <a:gd name="connsiteY11" fmla="*/ 3104268 h 3509181"/>
                  <a:gd name="connsiteX12" fmla="*/ 2294401 w 2699297"/>
                  <a:gd name="connsiteY12" fmla="*/ 3239239 h 3509181"/>
                  <a:gd name="connsiteX13" fmla="*/ 944747 w 2699297"/>
                  <a:gd name="connsiteY13" fmla="*/ 3239239 h 3509181"/>
                  <a:gd name="connsiteX14" fmla="*/ 809775 w 2699297"/>
                  <a:gd name="connsiteY14" fmla="*/ 3374211 h 3509181"/>
                  <a:gd name="connsiteX15" fmla="*/ 944747 w 2699297"/>
                  <a:gd name="connsiteY15" fmla="*/ 3509181 h 3509181"/>
                  <a:gd name="connsiteX16" fmla="*/ 2294401 w 2699297"/>
                  <a:gd name="connsiteY16" fmla="*/ 3509181 h 3509181"/>
                  <a:gd name="connsiteX17" fmla="*/ 2699297 w 2699297"/>
                  <a:gd name="connsiteY17" fmla="*/ 3104285 h 3509181"/>
                  <a:gd name="connsiteX18" fmla="*/ 2699297 w 2699297"/>
                  <a:gd name="connsiteY18" fmla="*/ 404976 h 3509181"/>
                  <a:gd name="connsiteX19" fmla="*/ 2294401 w 2699297"/>
                  <a:gd name="connsiteY19" fmla="*/ 57 h 3509181"/>
                  <a:gd name="connsiteX20" fmla="*/ 269908 w 2699297"/>
                  <a:gd name="connsiteY20" fmla="*/ 1079735 h 3509181"/>
                  <a:gd name="connsiteX21" fmla="*/ 269908 w 2699297"/>
                  <a:gd name="connsiteY21" fmla="*/ 404908 h 3509181"/>
                  <a:gd name="connsiteX22" fmla="*/ 404879 w 2699297"/>
                  <a:gd name="connsiteY22" fmla="*/ 269937 h 3509181"/>
                  <a:gd name="connsiteX23" fmla="*/ 2294372 w 2699297"/>
                  <a:gd name="connsiteY23" fmla="*/ 269937 h 3509181"/>
                  <a:gd name="connsiteX24" fmla="*/ 2429344 w 2699297"/>
                  <a:gd name="connsiteY24" fmla="*/ 404908 h 3509181"/>
                  <a:gd name="connsiteX25" fmla="*/ 2429344 w 2699297"/>
                  <a:gd name="connsiteY25" fmla="*/ 1079735 h 350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99297" h="3509181">
                    <a:moveTo>
                      <a:pt x="2294390" y="0"/>
                    </a:moveTo>
                    <a:lnTo>
                      <a:pt x="404896" y="0"/>
                    </a:lnTo>
                    <a:cubicBezTo>
                      <a:pt x="181657" y="0"/>
                      <a:pt x="0" y="181674"/>
                      <a:pt x="0" y="404896"/>
                    </a:cubicBezTo>
                    <a:lnTo>
                      <a:pt x="0" y="1214712"/>
                    </a:lnTo>
                    <a:cubicBezTo>
                      <a:pt x="0" y="1289207"/>
                      <a:pt x="60453" y="1349683"/>
                      <a:pt x="134971" y="1349683"/>
                    </a:cubicBezTo>
                    <a:lnTo>
                      <a:pt x="2429372" y="1349683"/>
                    </a:lnTo>
                    <a:lnTo>
                      <a:pt x="2429372" y="2159499"/>
                    </a:lnTo>
                    <a:lnTo>
                      <a:pt x="1484625" y="2159499"/>
                    </a:lnTo>
                    <a:cubicBezTo>
                      <a:pt x="1409994" y="2159499"/>
                      <a:pt x="1349654" y="2219952"/>
                      <a:pt x="1349654" y="2294470"/>
                    </a:cubicBezTo>
                    <a:cubicBezTo>
                      <a:pt x="1349654" y="2368965"/>
                      <a:pt x="1409976" y="2429441"/>
                      <a:pt x="1484625" y="2429441"/>
                    </a:cubicBezTo>
                    <a:lnTo>
                      <a:pt x="2429372" y="2429441"/>
                    </a:lnTo>
                    <a:lnTo>
                      <a:pt x="2429372" y="3104268"/>
                    </a:lnTo>
                    <a:cubicBezTo>
                      <a:pt x="2429372" y="3178632"/>
                      <a:pt x="2368919" y="3239239"/>
                      <a:pt x="2294401" y="3239239"/>
                    </a:cubicBezTo>
                    <a:lnTo>
                      <a:pt x="944747" y="3239239"/>
                    </a:lnTo>
                    <a:cubicBezTo>
                      <a:pt x="870251" y="3239239"/>
                      <a:pt x="809775" y="3299693"/>
                      <a:pt x="809775" y="3374211"/>
                    </a:cubicBezTo>
                    <a:cubicBezTo>
                      <a:pt x="809775" y="3448705"/>
                      <a:pt x="870229" y="3509181"/>
                      <a:pt x="944747" y="3509181"/>
                    </a:cubicBezTo>
                    <a:lnTo>
                      <a:pt x="2294401" y="3509181"/>
                    </a:lnTo>
                    <a:cubicBezTo>
                      <a:pt x="2517640" y="3509181"/>
                      <a:pt x="2699297" y="3327507"/>
                      <a:pt x="2699297" y="3104285"/>
                    </a:cubicBezTo>
                    <a:lnTo>
                      <a:pt x="2699297" y="404976"/>
                    </a:lnTo>
                    <a:cubicBezTo>
                      <a:pt x="2699297" y="181737"/>
                      <a:pt x="2517646" y="57"/>
                      <a:pt x="2294401" y="57"/>
                    </a:cubicBezTo>
                    <a:close/>
                    <a:moveTo>
                      <a:pt x="269908" y="1079735"/>
                    </a:moveTo>
                    <a:lnTo>
                      <a:pt x="269908" y="404908"/>
                    </a:lnTo>
                    <a:cubicBezTo>
                      <a:pt x="269908" y="330544"/>
                      <a:pt x="330516" y="269937"/>
                      <a:pt x="404879" y="269937"/>
                    </a:cubicBezTo>
                    <a:lnTo>
                      <a:pt x="2294372" y="269937"/>
                    </a:lnTo>
                    <a:cubicBezTo>
                      <a:pt x="2368868" y="269937"/>
                      <a:pt x="2429344" y="330544"/>
                      <a:pt x="2429344" y="404908"/>
                    </a:cubicBezTo>
                    <a:lnTo>
                      <a:pt x="2429344" y="1079735"/>
                    </a:lnTo>
                    <a:close/>
                  </a:path>
                </a:pathLst>
              </a:custGeom>
              <a:grpFill/>
              <a:ln w="57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117" name="Graphic 418">
              <a:extLst>
                <a:ext uri="{FF2B5EF4-FFF2-40B4-BE49-F238E27FC236}">
                  <a16:creationId xmlns:a16="http://schemas.microsoft.com/office/drawing/2014/main" id="{9C473848-6CD8-42D6-B38C-A11A4C82E78D}"/>
                </a:ext>
              </a:extLst>
            </p:cNvPr>
            <p:cNvGrpSpPr/>
            <p:nvPr/>
          </p:nvGrpSpPr>
          <p:grpSpPr>
            <a:xfrm>
              <a:off x="5452423" y="3440888"/>
              <a:ext cx="382477" cy="390396"/>
              <a:chOff x="2877786" y="6129769"/>
              <a:chExt cx="517441" cy="517440"/>
            </a:xfrm>
            <a:solidFill>
              <a:schemeClr val="accent2"/>
            </a:solidFill>
          </p:grpSpPr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7EBF23EC-7740-4C1C-8661-DD029780ACC0}"/>
                  </a:ext>
                </a:extLst>
              </p:cNvPr>
              <p:cNvSpPr/>
              <p:nvPr/>
            </p:nvSpPr>
            <p:spPr>
              <a:xfrm>
                <a:off x="2877791" y="6129771"/>
                <a:ext cx="388080" cy="110882"/>
              </a:xfrm>
              <a:custGeom>
                <a:avLst/>
                <a:gdLst>
                  <a:gd name="connsiteX0" fmla="*/ 55443 w 388080"/>
                  <a:gd name="connsiteY0" fmla="*/ 110880 h 110882"/>
                  <a:gd name="connsiteX1" fmla="*/ 107484 w 388080"/>
                  <a:gd name="connsiteY1" fmla="*/ 73922 h 110882"/>
                  <a:gd name="connsiteX2" fmla="*/ 324991 w 388080"/>
                  <a:gd name="connsiteY2" fmla="*/ 73922 h 110882"/>
                  <a:gd name="connsiteX3" fmla="*/ 319578 w 388080"/>
                  <a:gd name="connsiteY3" fmla="*/ 79336 h 110882"/>
                  <a:gd name="connsiteX4" fmla="*/ 319578 w 388080"/>
                  <a:gd name="connsiteY4" fmla="*/ 105468 h 110882"/>
                  <a:gd name="connsiteX5" fmla="*/ 332639 w 388080"/>
                  <a:gd name="connsiteY5" fmla="*/ 110881 h 110882"/>
                  <a:gd name="connsiteX6" fmla="*/ 345703 w 388080"/>
                  <a:gd name="connsiteY6" fmla="*/ 105468 h 110882"/>
                  <a:gd name="connsiteX7" fmla="*/ 382661 w 388080"/>
                  <a:gd name="connsiteY7" fmla="*/ 68509 h 110882"/>
                  <a:gd name="connsiteX8" fmla="*/ 382661 w 388080"/>
                  <a:gd name="connsiteY8" fmla="*/ 42377 h 110882"/>
                  <a:gd name="connsiteX9" fmla="*/ 345703 w 388080"/>
                  <a:gd name="connsiteY9" fmla="*/ 5419 h 110882"/>
                  <a:gd name="connsiteX10" fmla="*/ 319571 w 388080"/>
                  <a:gd name="connsiteY10" fmla="*/ 5419 h 110882"/>
                  <a:gd name="connsiteX11" fmla="*/ 319571 w 388080"/>
                  <a:gd name="connsiteY11" fmla="*/ 31551 h 110882"/>
                  <a:gd name="connsiteX12" fmla="*/ 324987 w 388080"/>
                  <a:gd name="connsiteY12" fmla="*/ 36962 h 110882"/>
                  <a:gd name="connsiteX13" fmla="*/ 107480 w 388080"/>
                  <a:gd name="connsiteY13" fmla="*/ 36962 h 110882"/>
                  <a:gd name="connsiteX14" fmla="*/ 55443 w 388080"/>
                  <a:gd name="connsiteY14" fmla="*/ 0 h 110882"/>
                  <a:gd name="connsiteX15" fmla="*/ 0 w 388080"/>
                  <a:gd name="connsiteY15" fmla="*/ 55443 h 110882"/>
                  <a:gd name="connsiteX16" fmla="*/ 55443 w 388080"/>
                  <a:gd name="connsiteY16" fmla="*/ 110883 h 110882"/>
                  <a:gd name="connsiteX17" fmla="*/ 55443 w 388080"/>
                  <a:gd name="connsiteY17" fmla="*/ 36960 h 110882"/>
                  <a:gd name="connsiteX18" fmla="*/ 73924 w 388080"/>
                  <a:gd name="connsiteY18" fmla="*/ 55441 h 110882"/>
                  <a:gd name="connsiteX19" fmla="*/ 55443 w 388080"/>
                  <a:gd name="connsiteY19" fmla="*/ 73918 h 110882"/>
                  <a:gd name="connsiteX20" fmla="*/ 36963 w 388080"/>
                  <a:gd name="connsiteY20" fmla="*/ 55441 h 110882"/>
                  <a:gd name="connsiteX21" fmla="*/ 55443 w 388080"/>
                  <a:gd name="connsiteY21" fmla="*/ 36960 h 110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8080" h="110882">
                    <a:moveTo>
                      <a:pt x="55443" y="110880"/>
                    </a:moveTo>
                    <a:cubicBezTo>
                      <a:pt x="79506" y="110880"/>
                      <a:pt x="99833" y="95377"/>
                      <a:pt x="107484" y="73922"/>
                    </a:cubicBezTo>
                    <a:lnTo>
                      <a:pt x="324991" y="73922"/>
                    </a:lnTo>
                    <a:lnTo>
                      <a:pt x="319578" y="79336"/>
                    </a:lnTo>
                    <a:cubicBezTo>
                      <a:pt x="312352" y="86561"/>
                      <a:pt x="312352" y="98241"/>
                      <a:pt x="319578" y="105468"/>
                    </a:cubicBezTo>
                    <a:cubicBezTo>
                      <a:pt x="323179" y="109069"/>
                      <a:pt x="327910" y="110881"/>
                      <a:pt x="332639" y="110881"/>
                    </a:cubicBezTo>
                    <a:cubicBezTo>
                      <a:pt x="337370" y="110881"/>
                      <a:pt x="342099" y="109072"/>
                      <a:pt x="345703" y="105468"/>
                    </a:cubicBezTo>
                    <a:lnTo>
                      <a:pt x="382661" y="68509"/>
                    </a:lnTo>
                    <a:cubicBezTo>
                      <a:pt x="389886" y="61284"/>
                      <a:pt x="389886" y="49604"/>
                      <a:pt x="382661" y="42377"/>
                    </a:cubicBezTo>
                    <a:lnTo>
                      <a:pt x="345703" y="5419"/>
                    </a:lnTo>
                    <a:cubicBezTo>
                      <a:pt x="338477" y="-1806"/>
                      <a:pt x="326797" y="-1806"/>
                      <a:pt x="319571" y="5419"/>
                    </a:cubicBezTo>
                    <a:cubicBezTo>
                      <a:pt x="312344" y="12645"/>
                      <a:pt x="312345" y="24325"/>
                      <a:pt x="319571" y="31551"/>
                    </a:cubicBezTo>
                    <a:lnTo>
                      <a:pt x="324987" y="36962"/>
                    </a:lnTo>
                    <a:lnTo>
                      <a:pt x="107480" y="36962"/>
                    </a:lnTo>
                    <a:cubicBezTo>
                      <a:pt x="99829" y="15507"/>
                      <a:pt x="79502" y="0"/>
                      <a:pt x="55443" y="0"/>
                    </a:cubicBezTo>
                    <a:cubicBezTo>
                      <a:pt x="24876" y="0"/>
                      <a:pt x="0" y="24876"/>
                      <a:pt x="0" y="55443"/>
                    </a:cubicBezTo>
                    <a:cubicBezTo>
                      <a:pt x="0" y="86007"/>
                      <a:pt x="24875" y="110883"/>
                      <a:pt x="55443" y="110883"/>
                    </a:cubicBezTo>
                    <a:close/>
                    <a:moveTo>
                      <a:pt x="55443" y="36960"/>
                    </a:moveTo>
                    <a:cubicBezTo>
                      <a:pt x="65643" y="36960"/>
                      <a:pt x="73924" y="45238"/>
                      <a:pt x="73924" y="55441"/>
                    </a:cubicBezTo>
                    <a:cubicBezTo>
                      <a:pt x="73921" y="65641"/>
                      <a:pt x="65643" y="73918"/>
                      <a:pt x="55443" y="73918"/>
                    </a:cubicBezTo>
                    <a:cubicBezTo>
                      <a:pt x="45240" y="73918"/>
                      <a:pt x="36963" y="65641"/>
                      <a:pt x="36963" y="55441"/>
                    </a:cubicBezTo>
                    <a:cubicBezTo>
                      <a:pt x="36963" y="45238"/>
                      <a:pt x="45240" y="36960"/>
                      <a:pt x="55443" y="36960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7E30B3E6-E676-422E-AFE3-7B5CBA46A796}"/>
                  </a:ext>
                </a:extLst>
              </p:cNvPr>
              <p:cNvSpPr/>
              <p:nvPr/>
            </p:nvSpPr>
            <p:spPr>
              <a:xfrm>
                <a:off x="3191943" y="6425443"/>
                <a:ext cx="203284" cy="110884"/>
              </a:xfrm>
              <a:custGeom>
                <a:avLst/>
                <a:gdLst>
                  <a:gd name="connsiteX0" fmla="*/ 147846 w 203284"/>
                  <a:gd name="connsiteY0" fmla="*/ 6 h 110884"/>
                  <a:gd name="connsiteX1" fmla="*/ 95604 w 203284"/>
                  <a:gd name="connsiteY1" fmla="*/ 37613 h 110884"/>
                  <a:gd name="connsiteX2" fmla="*/ 92407 w 203284"/>
                  <a:gd name="connsiteY2" fmla="*/ 36965 h 110884"/>
                  <a:gd name="connsiteX3" fmla="*/ 63096 w 203284"/>
                  <a:gd name="connsiteY3" fmla="*/ 36965 h 110884"/>
                  <a:gd name="connsiteX4" fmla="*/ 68509 w 203284"/>
                  <a:gd name="connsiteY4" fmla="*/ 31552 h 110884"/>
                  <a:gd name="connsiteX5" fmla="*/ 68509 w 203284"/>
                  <a:gd name="connsiteY5" fmla="*/ 5420 h 110884"/>
                  <a:gd name="connsiteX6" fmla="*/ 42377 w 203284"/>
                  <a:gd name="connsiteY6" fmla="*/ 5420 h 110884"/>
                  <a:gd name="connsiteX7" fmla="*/ 5419 w 203284"/>
                  <a:gd name="connsiteY7" fmla="*/ 42378 h 110884"/>
                  <a:gd name="connsiteX8" fmla="*/ 5419 w 203284"/>
                  <a:gd name="connsiteY8" fmla="*/ 68510 h 110884"/>
                  <a:gd name="connsiteX9" fmla="*/ 42377 w 203284"/>
                  <a:gd name="connsiteY9" fmla="*/ 105468 h 110884"/>
                  <a:gd name="connsiteX10" fmla="*/ 55448 w 203284"/>
                  <a:gd name="connsiteY10" fmla="*/ 110885 h 110884"/>
                  <a:gd name="connsiteX11" fmla="*/ 68512 w 203284"/>
                  <a:gd name="connsiteY11" fmla="*/ 105471 h 110884"/>
                  <a:gd name="connsiteX12" fmla="*/ 68512 w 203284"/>
                  <a:gd name="connsiteY12" fmla="*/ 79339 h 110884"/>
                  <a:gd name="connsiteX13" fmla="*/ 63098 w 203284"/>
                  <a:gd name="connsiteY13" fmla="*/ 73926 h 110884"/>
                  <a:gd name="connsiteX14" fmla="*/ 92406 w 203284"/>
                  <a:gd name="connsiteY14" fmla="*/ 73926 h 110884"/>
                  <a:gd name="connsiteX15" fmla="*/ 95603 w 203284"/>
                  <a:gd name="connsiteY15" fmla="*/ 73278 h 110884"/>
                  <a:gd name="connsiteX16" fmla="*/ 147845 w 203284"/>
                  <a:gd name="connsiteY16" fmla="*/ 110885 h 110884"/>
                  <a:gd name="connsiteX17" fmla="*/ 203285 w 203284"/>
                  <a:gd name="connsiteY17" fmla="*/ 55445 h 110884"/>
                  <a:gd name="connsiteX18" fmla="*/ 147845 w 203284"/>
                  <a:gd name="connsiteY18" fmla="*/ 6 h 110884"/>
                  <a:gd name="connsiteX19" fmla="*/ 147846 w 203284"/>
                  <a:gd name="connsiteY19" fmla="*/ 73927 h 110884"/>
                  <a:gd name="connsiteX20" fmla="*/ 129366 w 203284"/>
                  <a:gd name="connsiteY20" fmla="*/ 55446 h 110884"/>
                  <a:gd name="connsiteX21" fmla="*/ 147846 w 203284"/>
                  <a:gd name="connsiteY21" fmla="*/ 36965 h 110884"/>
                  <a:gd name="connsiteX22" fmla="*/ 166327 w 203284"/>
                  <a:gd name="connsiteY22" fmla="*/ 55446 h 110884"/>
                  <a:gd name="connsiteX23" fmla="*/ 147846 w 203284"/>
                  <a:gd name="connsiteY23" fmla="*/ 73927 h 110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03284" h="110884">
                    <a:moveTo>
                      <a:pt x="147846" y="6"/>
                    </a:moveTo>
                    <a:cubicBezTo>
                      <a:pt x="123545" y="6"/>
                      <a:pt x="103087" y="15825"/>
                      <a:pt x="95604" y="37613"/>
                    </a:cubicBezTo>
                    <a:cubicBezTo>
                      <a:pt x="94531" y="37408"/>
                      <a:pt x="93553" y="36965"/>
                      <a:pt x="92407" y="36965"/>
                    </a:cubicBezTo>
                    <a:lnTo>
                      <a:pt x="63096" y="36965"/>
                    </a:lnTo>
                    <a:lnTo>
                      <a:pt x="68509" y="31552"/>
                    </a:lnTo>
                    <a:cubicBezTo>
                      <a:pt x="75736" y="24325"/>
                      <a:pt x="75736" y="12646"/>
                      <a:pt x="68509" y="5420"/>
                    </a:cubicBezTo>
                    <a:cubicBezTo>
                      <a:pt x="61284" y="-1807"/>
                      <a:pt x="49604" y="-1807"/>
                      <a:pt x="42377" y="5420"/>
                    </a:cubicBezTo>
                    <a:lnTo>
                      <a:pt x="5419" y="42378"/>
                    </a:lnTo>
                    <a:cubicBezTo>
                      <a:pt x="-1806" y="49604"/>
                      <a:pt x="-1806" y="61284"/>
                      <a:pt x="5419" y="68510"/>
                    </a:cubicBezTo>
                    <a:lnTo>
                      <a:pt x="42377" y="105468"/>
                    </a:lnTo>
                    <a:cubicBezTo>
                      <a:pt x="45984" y="109075"/>
                      <a:pt x="50716" y="110885"/>
                      <a:pt x="55448" y="110885"/>
                    </a:cubicBezTo>
                    <a:cubicBezTo>
                      <a:pt x="60180" y="110885"/>
                      <a:pt x="64908" y="109075"/>
                      <a:pt x="68512" y="105471"/>
                    </a:cubicBezTo>
                    <a:cubicBezTo>
                      <a:pt x="75738" y="98245"/>
                      <a:pt x="75738" y="86566"/>
                      <a:pt x="68512" y="79339"/>
                    </a:cubicBezTo>
                    <a:lnTo>
                      <a:pt x="63098" y="73926"/>
                    </a:lnTo>
                    <a:lnTo>
                      <a:pt x="92406" y="73926"/>
                    </a:lnTo>
                    <a:cubicBezTo>
                      <a:pt x="93552" y="73926"/>
                      <a:pt x="94530" y="73482"/>
                      <a:pt x="95603" y="73278"/>
                    </a:cubicBezTo>
                    <a:cubicBezTo>
                      <a:pt x="103089" y="95066"/>
                      <a:pt x="123544" y="110885"/>
                      <a:pt x="147845" y="110885"/>
                    </a:cubicBezTo>
                    <a:cubicBezTo>
                      <a:pt x="178412" y="110885"/>
                      <a:pt x="203285" y="86009"/>
                      <a:pt x="203285" y="55445"/>
                    </a:cubicBezTo>
                    <a:cubicBezTo>
                      <a:pt x="203285" y="24879"/>
                      <a:pt x="178413" y="6"/>
                      <a:pt x="147845" y="6"/>
                    </a:cubicBezTo>
                    <a:close/>
                    <a:moveTo>
                      <a:pt x="147846" y="73927"/>
                    </a:moveTo>
                    <a:cubicBezTo>
                      <a:pt x="137646" y="73927"/>
                      <a:pt x="129366" y="65649"/>
                      <a:pt x="129366" y="55446"/>
                    </a:cubicBezTo>
                    <a:cubicBezTo>
                      <a:pt x="129366" y="45246"/>
                      <a:pt x="137643" y="36965"/>
                      <a:pt x="147846" y="36965"/>
                    </a:cubicBezTo>
                    <a:cubicBezTo>
                      <a:pt x="158046" y="36965"/>
                      <a:pt x="166327" y="45243"/>
                      <a:pt x="166327" y="55446"/>
                    </a:cubicBezTo>
                    <a:cubicBezTo>
                      <a:pt x="166327" y="65646"/>
                      <a:pt x="158049" y="73927"/>
                      <a:pt x="147846" y="73927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FF74AF77-C2E5-45F3-9DC3-E6CD8CFD5F5C}"/>
                  </a:ext>
                </a:extLst>
              </p:cNvPr>
              <p:cNvSpPr/>
              <p:nvPr/>
            </p:nvSpPr>
            <p:spPr>
              <a:xfrm>
                <a:off x="3044108" y="6370011"/>
                <a:ext cx="36961" cy="73919"/>
              </a:xfrm>
              <a:custGeom>
                <a:avLst/>
                <a:gdLst>
                  <a:gd name="connsiteX0" fmla="*/ 0 w 36961"/>
                  <a:gd name="connsiteY0" fmla="*/ 18481 h 73919"/>
                  <a:gd name="connsiteX1" fmla="*/ 0 w 36961"/>
                  <a:gd name="connsiteY1" fmla="*/ 55439 h 73919"/>
                  <a:gd name="connsiteX2" fmla="*/ 18481 w 36961"/>
                  <a:gd name="connsiteY2" fmla="*/ 73919 h 73919"/>
                  <a:gd name="connsiteX3" fmla="*/ 36961 w 36961"/>
                  <a:gd name="connsiteY3" fmla="*/ 55439 h 73919"/>
                  <a:gd name="connsiteX4" fmla="*/ 36961 w 36961"/>
                  <a:gd name="connsiteY4" fmla="*/ 18481 h 73919"/>
                  <a:gd name="connsiteX5" fmla="*/ 18481 w 36961"/>
                  <a:gd name="connsiteY5" fmla="*/ 0 h 73919"/>
                  <a:gd name="connsiteX6" fmla="*/ 0 w 36961"/>
                  <a:gd name="connsiteY6" fmla="*/ 18481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61" h="73919">
                    <a:moveTo>
                      <a:pt x="0" y="18481"/>
                    </a:move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lnTo>
                      <a:pt x="36961" y="18481"/>
                    </a:lnTo>
                    <a:cubicBezTo>
                      <a:pt x="36961" y="8262"/>
                      <a:pt x="28702" y="0"/>
                      <a:pt x="18481" y="0"/>
                    </a:cubicBezTo>
                    <a:cubicBezTo>
                      <a:pt x="8259" y="3"/>
                      <a:pt x="0" y="8263"/>
                      <a:pt x="0" y="18481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23F97FE4-5989-4EE4-90EC-E75D5C1BE1DE}"/>
                  </a:ext>
                </a:extLst>
              </p:cNvPr>
              <p:cNvSpPr/>
              <p:nvPr/>
            </p:nvSpPr>
            <p:spPr>
              <a:xfrm>
                <a:off x="3099549" y="6370011"/>
                <a:ext cx="36961" cy="73919"/>
              </a:xfrm>
              <a:custGeom>
                <a:avLst/>
                <a:gdLst>
                  <a:gd name="connsiteX0" fmla="*/ 0 w 36961"/>
                  <a:gd name="connsiteY0" fmla="*/ 18481 h 73919"/>
                  <a:gd name="connsiteX1" fmla="*/ 0 w 36961"/>
                  <a:gd name="connsiteY1" fmla="*/ 55439 h 73919"/>
                  <a:gd name="connsiteX2" fmla="*/ 18481 w 36961"/>
                  <a:gd name="connsiteY2" fmla="*/ 73919 h 73919"/>
                  <a:gd name="connsiteX3" fmla="*/ 36961 w 36961"/>
                  <a:gd name="connsiteY3" fmla="*/ 55439 h 73919"/>
                  <a:gd name="connsiteX4" fmla="*/ 36961 w 36961"/>
                  <a:gd name="connsiteY4" fmla="*/ 18481 h 73919"/>
                  <a:gd name="connsiteX5" fmla="*/ 18481 w 36961"/>
                  <a:gd name="connsiteY5" fmla="*/ 0 h 73919"/>
                  <a:gd name="connsiteX6" fmla="*/ 0 w 36961"/>
                  <a:gd name="connsiteY6" fmla="*/ 18481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61" h="73919">
                    <a:moveTo>
                      <a:pt x="0" y="18481"/>
                    </a:move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lnTo>
                      <a:pt x="36961" y="18481"/>
                    </a:lnTo>
                    <a:cubicBezTo>
                      <a:pt x="36961" y="8262"/>
                      <a:pt x="28702" y="0"/>
                      <a:pt x="18481" y="0"/>
                    </a:cubicBezTo>
                    <a:cubicBezTo>
                      <a:pt x="8259" y="3"/>
                      <a:pt x="0" y="8263"/>
                      <a:pt x="0" y="18481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2ED35571-7B29-43AC-9BC4-290226076EE2}"/>
                  </a:ext>
                </a:extLst>
              </p:cNvPr>
              <p:cNvSpPr/>
              <p:nvPr/>
            </p:nvSpPr>
            <p:spPr>
              <a:xfrm>
                <a:off x="3154987" y="6370011"/>
                <a:ext cx="36961" cy="73919"/>
              </a:xfrm>
              <a:custGeom>
                <a:avLst/>
                <a:gdLst>
                  <a:gd name="connsiteX0" fmla="*/ 36961 w 36961"/>
                  <a:gd name="connsiteY0" fmla="*/ 18481 h 73919"/>
                  <a:gd name="connsiteX1" fmla="*/ 18481 w 36961"/>
                  <a:gd name="connsiteY1" fmla="*/ 0 h 73919"/>
                  <a:gd name="connsiteX2" fmla="*/ 0 w 36961"/>
                  <a:gd name="connsiteY2" fmla="*/ 18481 h 73919"/>
                  <a:gd name="connsiteX3" fmla="*/ 0 w 36961"/>
                  <a:gd name="connsiteY3" fmla="*/ 55439 h 73919"/>
                  <a:gd name="connsiteX4" fmla="*/ 18481 w 36961"/>
                  <a:gd name="connsiteY4" fmla="*/ 73919 h 73919"/>
                  <a:gd name="connsiteX5" fmla="*/ 36961 w 36961"/>
                  <a:gd name="connsiteY5" fmla="*/ 55439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961" h="73919">
                    <a:moveTo>
                      <a:pt x="36961" y="18481"/>
                    </a:moveTo>
                    <a:cubicBezTo>
                      <a:pt x="36961" y="8262"/>
                      <a:pt x="28702" y="0"/>
                      <a:pt x="18481" y="0"/>
                    </a:cubicBezTo>
                    <a:cubicBezTo>
                      <a:pt x="8262" y="0"/>
                      <a:pt x="0" y="8259"/>
                      <a:pt x="0" y="18481"/>
                    </a:cubicBez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92E3472D-1816-4757-A526-0805B4980A15}"/>
                  </a:ext>
                </a:extLst>
              </p:cNvPr>
              <p:cNvSpPr/>
              <p:nvPr/>
            </p:nvSpPr>
            <p:spPr>
              <a:xfrm>
                <a:off x="3044108" y="6517851"/>
                <a:ext cx="36961" cy="73919"/>
              </a:xfrm>
              <a:custGeom>
                <a:avLst/>
                <a:gdLst>
                  <a:gd name="connsiteX0" fmla="*/ 0 w 36961"/>
                  <a:gd name="connsiteY0" fmla="*/ 18481 h 73919"/>
                  <a:gd name="connsiteX1" fmla="*/ 0 w 36961"/>
                  <a:gd name="connsiteY1" fmla="*/ 55439 h 73919"/>
                  <a:gd name="connsiteX2" fmla="*/ 18481 w 36961"/>
                  <a:gd name="connsiteY2" fmla="*/ 73919 h 73919"/>
                  <a:gd name="connsiteX3" fmla="*/ 36961 w 36961"/>
                  <a:gd name="connsiteY3" fmla="*/ 55439 h 73919"/>
                  <a:gd name="connsiteX4" fmla="*/ 36961 w 36961"/>
                  <a:gd name="connsiteY4" fmla="*/ 18481 h 73919"/>
                  <a:gd name="connsiteX5" fmla="*/ 18481 w 36961"/>
                  <a:gd name="connsiteY5" fmla="*/ 0 h 73919"/>
                  <a:gd name="connsiteX6" fmla="*/ 0 w 36961"/>
                  <a:gd name="connsiteY6" fmla="*/ 18481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61" h="73919">
                    <a:moveTo>
                      <a:pt x="0" y="18481"/>
                    </a:move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lnTo>
                      <a:pt x="36961" y="18481"/>
                    </a:lnTo>
                    <a:cubicBezTo>
                      <a:pt x="36961" y="8262"/>
                      <a:pt x="28702" y="0"/>
                      <a:pt x="18481" y="0"/>
                    </a:cubicBezTo>
                    <a:cubicBezTo>
                      <a:pt x="8259" y="0"/>
                      <a:pt x="0" y="8263"/>
                      <a:pt x="0" y="18481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FB25B7FA-6520-4C86-8D48-85720864AC2E}"/>
                  </a:ext>
                </a:extLst>
              </p:cNvPr>
              <p:cNvSpPr/>
              <p:nvPr/>
            </p:nvSpPr>
            <p:spPr>
              <a:xfrm>
                <a:off x="3099549" y="6517851"/>
                <a:ext cx="36961" cy="73919"/>
              </a:xfrm>
              <a:custGeom>
                <a:avLst/>
                <a:gdLst>
                  <a:gd name="connsiteX0" fmla="*/ 0 w 36961"/>
                  <a:gd name="connsiteY0" fmla="*/ 18481 h 73919"/>
                  <a:gd name="connsiteX1" fmla="*/ 0 w 36961"/>
                  <a:gd name="connsiteY1" fmla="*/ 55439 h 73919"/>
                  <a:gd name="connsiteX2" fmla="*/ 18481 w 36961"/>
                  <a:gd name="connsiteY2" fmla="*/ 73919 h 73919"/>
                  <a:gd name="connsiteX3" fmla="*/ 36961 w 36961"/>
                  <a:gd name="connsiteY3" fmla="*/ 55439 h 73919"/>
                  <a:gd name="connsiteX4" fmla="*/ 36961 w 36961"/>
                  <a:gd name="connsiteY4" fmla="*/ 18481 h 73919"/>
                  <a:gd name="connsiteX5" fmla="*/ 18481 w 36961"/>
                  <a:gd name="connsiteY5" fmla="*/ 0 h 73919"/>
                  <a:gd name="connsiteX6" fmla="*/ 0 w 36961"/>
                  <a:gd name="connsiteY6" fmla="*/ 18481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61" h="73919">
                    <a:moveTo>
                      <a:pt x="0" y="18481"/>
                    </a:move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lnTo>
                      <a:pt x="36961" y="18481"/>
                    </a:lnTo>
                    <a:cubicBezTo>
                      <a:pt x="36961" y="8262"/>
                      <a:pt x="28702" y="0"/>
                      <a:pt x="18481" y="0"/>
                    </a:cubicBezTo>
                    <a:cubicBezTo>
                      <a:pt x="8259" y="0"/>
                      <a:pt x="0" y="8263"/>
                      <a:pt x="0" y="18481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12AD09C4-D1FA-493A-AB50-3535C658550F}"/>
                  </a:ext>
                </a:extLst>
              </p:cNvPr>
              <p:cNvSpPr/>
              <p:nvPr/>
            </p:nvSpPr>
            <p:spPr>
              <a:xfrm>
                <a:off x="3154985" y="6517849"/>
                <a:ext cx="36961" cy="73919"/>
              </a:xfrm>
              <a:custGeom>
                <a:avLst/>
                <a:gdLst>
                  <a:gd name="connsiteX0" fmla="*/ 18481 w 36961"/>
                  <a:gd name="connsiteY0" fmla="*/ 0 h 73919"/>
                  <a:gd name="connsiteX1" fmla="*/ 0 w 36961"/>
                  <a:gd name="connsiteY1" fmla="*/ 18481 h 73919"/>
                  <a:gd name="connsiteX2" fmla="*/ 0 w 36961"/>
                  <a:gd name="connsiteY2" fmla="*/ 55439 h 73919"/>
                  <a:gd name="connsiteX3" fmla="*/ 18481 w 36961"/>
                  <a:gd name="connsiteY3" fmla="*/ 73919 h 73919"/>
                  <a:gd name="connsiteX4" fmla="*/ 36961 w 36961"/>
                  <a:gd name="connsiteY4" fmla="*/ 55439 h 73919"/>
                  <a:gd name="connsiteX5" fmla="*/ 36961 w 36961"/>
                  <a:gd name="connsiteY5" fmla="*/ 18481 h 73919"/>
                  <a:gd name="connsiteX6" fmla="*/ 18481 w 36961"/>
                  <a:gd name="connsiteY6" fmla="*/ 0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961" h="73919">
                    <a:moveTo>
                      <a:pt x="18481" y="0"/>
                    </a:moveTo>
                    <a:cubicBezTo>
                      <a:pt x="8262" y="0"/>
                      <a:pt x="0" y="8259"/>
                      <a:pt x="0" y="18481"/>
                    </a:cubicBezTo>
                    <a:lnTo>
                      <a:pt x="0" y="55439"/>
                    </a:lnTo>
                    <a:cubicBezTo>
                      <a:pt x="0" y="65658"/>
                      <a:pt x="8259" y="73919"/>
                      <a:pt x="18481" y="73919"/>
                    </a:cubicBezTo>
                    <a:cubicBezTo>
                      <a:pt x="28699" y="73919"/>
                      <a:pt x="36961" y="65660"/>
                      <a:pt x="36961" y="55439"/>
                    </a:cubicBezTo>
                    <a:lnTo>
                      <a:pt x="36961" y="18481"/>
                    </a:lnTo>
                    <a:cubicBezTo>
                      <a:pt x="36961" y="8262"/>
                      <a:pt x="28699" y="0"/>
                      <a:pt x="18481" y="0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83D8ED86-035C-4481-980C-596BC64FFB7E}"/>
                  </a:ext>
                </a:extLst>
              </p:cNvPr>
              <p:cNvSpPr/>
              <p:nvPr/>
            </p:nvSpPr>
            <p:spPr>
              <a:xfrm>
                <a:off x="2877786" y="6314571"/>
                <a:ext cx="369601" cy="332638"/>
              </a:xfrm>
              <a:custGeom>
                <a:avLst/>
                <a:gdLst>
                  <a:gd name="connsiteX0" fmla="*/ 351121 w 369601"/>
                  <a:gd name="connsiteY0" fmla="*/ 258718 h 332638"/>
                  <a:gd name="connsiteX1" fmla="*/ 332640 w 369601"/>
                  <a:gd name="connsiteY1" fmla="*/ 277199 h 332638"/>
                  <a:gd name="connsiteX2" fmla="*/ 314160 w 369601"/>
                  <a:gd name="connsiteY2" fmla="*/ 295680 h 332638"/>
                  <a:gd name="connsiteX3" fmla="*/ 55445 w 369601"/>
                  <a:gd name="connsiteY3" fmla="*/ 295677 h 332638"/>
                  <a:gd name="connsiteX4" fmla="*/ 36964 w 369601"/>
                  <a:gd name="connsiteY4" fmla="*/ 277196 h 332638"/>
                  <a:gd name="connsiteX5" fmla="*/ 36964 w 369601"/>
                  <a:gd name="connsiteY5" fmla="*/ 184797 h 332638"/>
                  <a:gd name="connsiteX6" fmla="*/ 277204 w 369601"/>
                  <a:gd name="connsiteY6" fmla="*/ 184797 h 332638"/>
                  <a:gd name="connsiteX7" fmla="*/ 295684 w 369601"/>
                  <a:gd name="connsiteY7" fmla="*/ 166316 h 332638"/>
                  <a:gd name="connsiteX8" fmla="*/ 277204 w 369601"/>
                  <a:gd name="connsiteY8" fmla="*/ 147836 h 332638"/>
                  <a:gd name="connsiteX9" fmla="*/ 36964 w 369601"/>
                  <a:gd name="connsiteY9" fmla="*/ 147839 h 332638"/>
                  <a:gd name="connsiteX10" fmla="*/ 36964 w 369601"/>
                  <a:gd name="connsiteY10" fmla="*/ 55440 h 332638"/>
                  <a:gd name="connsiteX11" fmla="*/ 55445 w 369601"/>
                  <a:gd name="connsiteY11" fmla="*/ 36959 h 332638"/>
                  <a:gd name="connsiteX12" fmla="*/ 314160 w 369601"/>
                  <a:gd name="connsiteY12" fmla="*/ 36959 h 332638"/>
                  <a:gd name="connsiteX13" fmla="*/ 332640 w 369601"/>
                  <a:gd name="connsiteY13" fmla="*/ 55440 h 332638"/>
                  <a:gd name="connsiteX14" fmla="*/ 351121 w 369601"/>
                  <a:gd name="connsiteY14" fmla="*/ 73920 h 332638"/>
                  <a:gd name="connsiteX15" fmla="*/ 369601 w 369601"/>
                  <a:gd name="connsiteY15" fmla="*/ 55440 h 332638"/>
                  <a:gd name="connsiteX16" fmla="*/ 314162 w 369601"/>
                  <a:gd name="connsiteY16" fmla="*/ 0 h 332638"/>
                  <a:gd name="connsiteX17" fmla="*/ 55440 w 369601"/>
                  <a:gd name="connsiteY17" fmla="*/ 3 h 332638"/>
                  <a:gd name="connsiteX18" fmla="*/ 0 w 369601"/>
                  <a:gd name="connsiteY18" fmla="*/ 55443 h 332638"/>
                  <a:gd name="connsiteX19" fmla="*/ 0 w 369601"/>
                  <a:gd name="connsiteY19" fmla="*/ 277199 h 332638"/>
                  <a:gd name="connsiteX20" fmla="*/ 55440 w 369601"/>
                  <a:gd name="connsiteY20" fmla="*/ 332639 h 332638"/>
                  <a:gd name="connsiteX21" fmla="*/ 314154 w 369601"/>
                  <a:gd name="connsiteY21" fmla="*/ 332639 h 332638"/>
                  <a:gd name="connsiteX22" fmla="*/ 369594 w 369601"/>
                  <a:gd name="connsiteY22" fmla="*/ 277199 h 332638"/>
                  <a:gd name="connsiteX23" fmla="*/ 351113 w 369601"/>
                  <a:gd name="connsiteY23" fmla="*/ 258718 h 33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69601" h="332638">
                    <a:moveTo>
                      <a:pt x="351121" y="258718"/>
                    </a:moveTo>
                    <a:cubicBezTo>
                      <a:pt x="340902" y="258718"/>
                      <a:pt x="332640" y="266978"/>
                      <a:pt x="332640" y="277199"/>
                    </a:cubicBezTo>
                    <a:cubicBezTo>
                      <a:pt x="332640" y="287399"/>
                      <a:pt x="324363" y="295680"/>
                      <a:pt x="314160" y="295680"/>
                    </a:cubicBezTo>
                    <a:lnTo>
                      <a:pt x="55445" y="295677"/>
                    </a:lnTo>
                    <a:cubicBezTo>
                      <a:pt x="45245" y="295677"/>
                      <a:pt x="36964" y="287399"/>
                      <a:pt x="36964" y="277196"/>
                    </a:cubicBezTo>
                    <a:lnTo>
                      <a:pt x="36964" y="184797"/>
                    </a:lnTo>
                    <a:lnTo>
                      <a:pt x="277204" y="184797"/>
                    </a:lnTo>
                    <a:cubicBezTo>
                      <a:pt x="287423" y="184797"/>
                      <a:pt x="295684" y="176537"/>
                      <a:pt x="295684" y="166316"/>
                    </a:cubicBezTo>
                    <a:cubicBezTo>
                      <a:pt x="295684" y="156097"/>
                      <a:pt x="287425" y="147836"/>
                      <a:pt x="277204" y="147836"/>
                    </a:cubicBezTo>
                    <a:lnTo>
                      <a:pt x="36964" y="147839"/>
                    </a:lnTo>
                    <a:lnTo>
                      <a:pt x="36964" y="55440"/>
                    </a:lnTo>
                    <a:cubicBezTo>
                      <a:pt x="36964" y="45239"/>
                      <a:pt x="45242" y="36959"/>
                      <a:pt x="55445" y="36959"/>
                    </a:cubicBezTo>
                    <a:lnTo>
                      <a:pt x="314160" y="36959"/>
                    </a:lnTo>
                    <a:cubicBezTo>
                      <a:pt x="324360" y="36959"/>
                      <a:pt x="332640" y="45236"/>
                      <a:pt x="332640" y="55440"/>
                    </a:cubicBezTo>
                    <a:cubicBezTo>
                      <a:pt x="332640" y="65658"/>
                      <a:pt x="340900" y="73920"/>
                      <a:pt x="351121" y="73920"/>
                    </a:cubicBezTo>
                    <a:cubicBezTo>
                      <a:pt x="361340" y="73920"/>
                      <a:pt x="369601" y="65661"/>
                      <a:pt x="369601" y="55440"/>
                    </a:cubicBezTo>
                    <a:cubicBezTo>
                      <a:pt x="369601" y="24873"/>
                      <a:pt x="344726" y="0"/>
                      <a:pt x="314162" y="0"/>
                    </a:cubicBezTo>
                    <a:lnTo>
                      <a:pt x="55440" y="3"/>
                    </a:lnTo>
                    <a:cubicBezTo>
                      <a:pt x="24873" y="3"/>
                      <a:pt x="0" y="24878"/>
                      <a:pt x="0" y="55443"/>
                    </a:cubicBezTo>
                    <a:lnTo>
                      <a:pt x="0" y="277199"/>
                    </a:lnTo>
                    <a:cubicBezTo>
                      <a:pt x="0" y="307766"/>
                      <a:pt x="24875" y="332639"/>
                      <a:pt x="55440" y="332639"/>
                    </a:cubicBezTo>
                    <a:lnTo>
                      <a:pt x="314154" y="332639"/>
                    </a:lnTo>
                    <a:cubicBezTo>
                      <a:pt x="344721" y="332639"/>
                      <a:pt x="369594" y="307763"/>
                      <a:pt x="369594" y="277199"/>
                    </a:cubicBezTo>
                    <a:cubicBezTo>
                      <a:pt x="369594" y="266978"/>
                      <a:pt x="361331" y="258718"/>
                      <a:pt x="351113" y="258718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8DC7D1D6-6487-4375-A01B-BF27D454921A}"/>
                  </a:ext>
                </a:extLst>
              </p:cNvPr>
              <p:cNvSpPr/>
              <p:nvPr/>
            </p:nvSpPr>
            <p:spPr>
              <a:xfrm>
                <a:off x="3284338" y="6129769"/>
                <a:ext cx="110886" cy="277199"/>
              </a:xfrm>
              <a:custGeom>
                <a:avLst/>
                <a:gdLst>
                  <a:gd name="connsiteX0" fmla="*/ 79341 w 110886"/>
                  <a:gd name="connsiteY0" fmla="*/ 208696 h 277199"/>
                  <a:gd name="connsiteX1" fmla="*/ 73928 w 110886"/>
                  <a:gd name="connsiteY1" fmla="*/ 214110 h 277199"/>
                  <a:gd name="connsiteX2" fmla="*/ 73928 w 110886"/>
                  <a:gd name="connsiteY2" fmla="*/ 107477 h 277199"/>
                  <a:gd name="connsiteX3" fmla="*/ 110886 w 110886"/>
                  <a:gd name="connsiteY3" fmla="*/ 55440 h 277199"/>
                  <a:gd name="connsiteX4" fmla="*/ 55446 w 110886"/>
                  <a:gd name="connsiteY4" fmla="*/ 0 h 277199"/>
                  <a:gd name="connsiteX5" fmla="*/ 7 w 110886"/>
                  <a:gd name="connsiteY5" fmla="*/ 55440 h 277199"/>
                  <a:gd name="connsiteX6" fmla="*/ 36965 w 110886"/>
                  <a:gd name="connsiteY6" fmla="*/ 107480 h 277199"/>
                  <a:gd name="connsiteX7" fmla="*/ 36965 w 110886"/>
                  <a:gd name="connsiteY7" fmla="*/ 214113 h 277199"/>
                  <a:gd name="connsiteX8" fmla="*/ 31552 w 110886"/>
                  <a:gd name="connsiteY8" fmla="*/ 208699 h 277199"/>
                  <a:gd name="connsiteX9" fmla="*/ 5420 w 110886"/>
                  <a:gd name="connsiteY9" fmla="*/ 208699 h 277199"/>
                  <a:gd name="connsiteX10" fmla="*/ 5420 w 110886"/>
                  <a:gd name="connsiteY10" fmla="*/ 234831 h 277199"/>
                  <a:gd name="connsiteX11" fmla="*/ 42378 w 110886"/>
                  <a:gd name="connsiteY11" fmla="*/ 271790 h 277199"/>
                  <a:gd name="connsiteX12" fmla="*/ 55445 w 110886"/>
                  <a:gd name="connsiteY12" fmla="*/ 277200 h 277199"/>
                  <a:gd name="connsiteX13" fmla="*/ 68509 w 110886"/>
                  <a:gd name="connsiteY13" fmla="*/ 271786 h 277199"/>
                  <a:gd name="connsiteX14" fmla="*/ 105467 w 110886"/>
                  <a:gd name="connsiteY14" fmla="*/ 234828 h 277199"/>
                  <a:gd name="connsiteX15" fmla="*/ 105467 w 110886"/>
                  <a:gd name="connsiteY15" fmla="*/ 208696 h 277199"/>
                  <a:gd name="connsiteX16" fmla="*/ 79338 w 110886"/>
                  <a:gd name="connsiteY16" fmla="*/ 208696 h 277199"/>
                  <a:gd name="connsiteX17" fmla="*/ 55447 w 110886"/>
                  <a:gd name="connsiteY17" fmla="*/ 36966 h 277199"/>
                  <a:gd name="connsiteX18" fmla="*/ 73928 w 110886"/>
                  <a:gd name="connsiteY18" fmla="*/ 55447 h 277199"/>
                  <a:gd name="connsiteX19" fmla="*/ 55447 w 110886"/>
                  <a:gd name="connsiteY19" fmla="*/ 73927 h 277199"/>
                  <a:gd name="connsiteX20" fmla="*/ 36967 w 110886"/>
                  <a:gd name="connsiteY20" fmla="*/ 55447 h 277199"/>
                  <a:gd name="connsiteX21" fmla="*/ 55447 w 110886"/>
                  <a:gd name="connsiteY21" fmla="*/ 36966 h 277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886" h="277199">
                    <a:moveTo>
                      <a:pt x="79341" y="208696"/>
                    </a:moveTo>
                    <a:lnTo>
                      <a:pt x="73928" y="214110"/>
                    </a:lnTo>
                    <a:lnTo>
                      <a:pt x="73928" y="107477"/>
                    </a:lnTo>
                    <a:cubicBezTo>
                      <a:pt x="95383" y="99826"/>
                      <a:pt x="110886" y="79499"/>
                      <a:pt x="110886" y="55440"/>
                    </a:cubicBezTo>
                    <a:cubicBezTo>
                      <a:pt x="110886" y="24873"/>
                      <a:pt x="86011" y="0"/>
                      <a:pt x="55446" y="0"/>
                    </a:cubicBezTo>
                    <a:cubicBezTo>
                      <a:pt x="24880" y="0"/>
                      <a:pt x="7" y="24875"/>
                      <a:pt x="7" y="55440"/>
                    </a:cubicBezTo>
                    <a:cubicBezTo>
                      <a:pt x="7" y="79502"/>
                      <a:pt x="15510" y="99829"/>
                      <a:pt x="36965" y="107480"/>
                    </a:cubicBezTo>
                    <a:lnTo>
                      <a:pt x="36965" y="214113"/>
                    </a:lnTo>
                    <a:lnTo>
                      <a:pt x="31552" y="208699"/>
                    </a:lnTo>
                    <a:cubicBezTo>
                      <a:pt x="24326" y="201474"/>
                      <a:pt x="12646" y="201474"/>
                      <a:pt x="5420" y="208699"/>
                    </a:cubicBezTo>
                    <a:cubicBezTo>
                      <a:pt x="-1807" y="215925"/>
                      <a:pt x="-1806" y="227605"/>
                      <a:pt x="5420" y="234831"/>
                    </a:cubicBezTo>
                    <a:lnTo>
                      <a:pt x="42378" y="271790"/>
                    </a:lnTo>
                    <a:cubicBezTo>
                      <a:pt x="45984" y="275391"/>
                      <a:pt x="50716" y="277200"/>
                      <a:pt x="55445" y="277200"/>
                    </a:cubicBezTo>
                    <a:cubicBezTo>
                      <a:pt x="60177" y="277200"/>
                      <a:pt x="64905" y="275391"/>
                      <a:pt x="68509" y="271786"/>
                    </a:cubicBezTo>
                    <a:lnTo>
                      <a:pt x="105467" y="234828"/>
                    </a:lnTo>
                    <a:cubicBezTo>
                      <a:pt x="112693" y="227603"/>
                      <a:pt x="112693" y="215923"/>
                      <a:pt x="105467" y="208696"/>
                    </a:cubicBezTo>
                    <a:cubicBezTo>
                      <a:pt x="98244" y="201471"/>
                      <a:pt x="86565" y="201471"/>
                      <a:pt x="79338" y="208696"/>
                    </a:cubicBezTo>
                    <a:close/>
                    <a:moveTo>
                      <a:pt x="55447" y="36966"/>
                    </a:moveTo>
                    <a:cubicBezTo>
                      <a:pt x="65647" y="36966"/>
                      <a:pt x="73928" y="45243"/>
                      <a:pt x="73928" y="55447"/>
                    </a:cubicBezTo>
                    <a:cubicBezTo>
                      <a:pt x="73928" y="65647"/>
                      <a:pt x="65650" y="73927"/>
                      <a:pt x="55447" y="73927"/>
                    </a:cubicBezTo>
                    <a:cubicBezTo>
                      <a:pt x="45247" y="73927"/>
                      <a:pt x="36967" y="65650"/>
                      <a:pt x="36967" y="55447"/>
                    </a:cubicBezTo>
                    <a:cubicBezTo>
                      <a:pt x="36970" y="45243"/>
                      <a:pt x="45247" y="36966"/>
                      <a:pt x="55447" y="36966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128" name="Graphic 431">
              <a:extLst>
                <a:ext uri="{FF2B5EF4-FFF2-40B4-BE49-F238E27FC236}">
                  <a16:creationId xmlns:a16="http://schemas.microsoft.com/office/drawing/2014/main" id="{3FD4C9E9-3A90-447F-B53C-5F609C86CE7B}"/>
                </a:ext>
              </a:extLst>
            </p:cNvPr>
            <p:cNvGrpSpPr/>
            <p:nvPr/>
          </p:nvGrpSpPr>
          <p:grpSpPr>
            <a:xfrm>
              <a:off x="5430802" y="4099921"/>
              <a:ext cx="371994" cy="371998"/>
              <a:chOff x="2818543" y="6334463"/>
              <a:chExt cx="371994" cy="371998"/>
            </a:xfrm>
            <a:solidFill>
              <a:schemeClr val="accent2"/>
            </a:solidFill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5BBB5B98-C4EE-4B3F-A262-920E231EB5FC}"/>
                  </a:ext>
                </a:extLst>
              </p:cNvPr>
              <p:cNvSpPr/>
              <p:nvPr/>
            </p:nvSpPr>
            <p:spPr>
              <a:xfrm>
                <a:off x="3044392" y="6400890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4288B908-73D7-41D2-B821-4E8B7A2D708B}"/>
                  </a:ext>
                </a:extLst>
              </p:cNvPr>
              <p:cNvSpPr/>
              <p:nvPr/>
            </p:nvSpPr>
            <p:spPr>
              <a:xfrm>
                <a:off x="3084250" y="6400890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489FEA33-8364-440A-BF7A-FF7F65BDB2D0}"/>
                  </a:ext>
                </a:extLst>
              </p:cNvPr>
              <p:cNvSpPr/>
              <p:nvPr/>
            </p:nvSpPr>
            <p:spPr>
              <a:xfrm>
                <a:off x="3124107" y="6400890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746A573-E723-465E-AECA-E6971E4EAAAC}"/>
                  </a:ext>
                </a:extLst>
              </p:cNvPr>
              <p:cNvSpPr/>
              <p:nvPr/>
            </p:nvSpPr>
            <p:spPr>
              <a:xfrm>
                <a:off x="3044392" y="6507175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410F0839-DF79-4C5F-8456-2DB6DC8A4EE0}"/>
                  </a:ext>
                </a:extLst>
              </p:cNvPr>
              <p:cNvSpPr/>
              <p:nvPr/>
            </p:nvSpPr>
            <p:spPr>
              <a:xfrm>
                <a:off x="3084250" y="6507175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9C36CDF2-A2AB-43DD-BCF2-88D421CD15A0}"/>
                  </a:ext>
                </a:extLst>
              </p:cNvPr>
              <p:cNvSpPr/>
              <p:nvPr/>
            </p:nvSpPr>
            <p:spPr>
              <a:xfrm>
                <a:off x="3124107" y="6507175"/>
                <a:ext cx="26572" cy="53141"/>
              </a:xfrm>
              <a:custGeom>
                <a:avLst/>
                <a:gdLst>
                  <a:gd name="connsiteX0" fmla="*/ 26572 w 26572"/>
                  <a:gd name="connsiteY0" fmla="*/ 39856 h 53141"/>
                  <a:gd name="connsiteX1" fmla="*/ 26572 w 26572"/>
                  <a:gd name="connsiteY1" fmla="*/ 13286 h 53141"/>
                  <a:gd name="connsiteX2" fmla="*/ 13286 w 26572"/>
                  <a:gd name="connsiteY2" fmla="*/ 0 h 53141"/>
                  <a:gd name="connsiteX3" fmla="*/ 0 w 26572"/>
                  <a:gd name="connsiteY3" fmla="*/ 13286 h 53141"/>
                  <a:gd name="connsiteX4" fmla="*/ 0 w 26572"/>
                  <a:gd name="connsiteY4" fmla="*/ 39856 h 53141"/>
                  <a:gd name="connsiteX5" fmla="*/ 13286 w 26572"/>
                  <a:gd name="connsiteY5" fmla="*/ 53142 h 53141"/>
                  <a:gd name="connsiteX6" fmla="*/ 26572 w 26572"/>
                  <a:gd name="connsiteY6" fmla="*/ 39856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26572" y="39856"/>
                    </a:move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89"/>
                      <a:pt x="5938" y="53142"/>
                      <a:pt x="13286" y="53142"/>
                    </a:cubicBezTo>
                    <a:cubicBezTo>
                      <a:pt x="20634" y="53142"/>
                      <a:pt x="26572" y="47189"/>
                      <a:pt x="26572" y="39856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BE4FE9C8-6A4C-41CC-BAD5-76B252FE4B1F}"/>
                  </a:ext>
                </a:extLst>
              </p:cNvPr>
              <p:cNvSpPr/>
              <p:nvPr/>
            </p:nvSpPr>
            <p:spPr>
              <a:xfrm>
                <a:off x="3044391" y="6613462"/>
                <a:ext cx="26572" cy="53141"/>
              </a:xfrm>
              <a:custGeom>
                <a:avLst/>
                <a:gdLst>
                  <a:gd name="connsiteX0" fmla="*/ 13286 w 26572"/>
                  <a:gd name="connsiteY0" fmla="*/ 53142 h 53141"/>
                  <a:gd name="connsiteX1" fmla="*/ 26572 w 26572"/>
                  <a:gd name="connsiteY1" fmla="*/ 39856 h 53141"/>
                  <a:gd name="connsiteX2" fmla="*/ 26572 w 26572"/>
                  <a:gd name="connsiteY2" fmla="*/ 13286 h 53141"/>
                  <a:gd name="connsiteX3" fmla="*/ 13286 w 26572"/>
                  <a:gd name="connsiteY3" fmla="*/ 0 h 53141"/>
                  <a:gd name="connsiteX4" fmla="*/ 0 w 26572"/>
                  <a:gd name="connsiteY4" fmla="*/ 13286 h 53141"/>
                  <a:gd name="connsiteX5" fmla="*/ 0 w 26572"/>
                  <a:gd name="connsiteY5" fmla="*/ 39856 h 53141"/>
                  <a:gd name="connsiteX6" fmla="*/ 13286 w 26572"/>
                  <a:gd name="connsiteY6" fmla="*/ 53142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13286" y="53142"/>
                    </a:moveTo>
                    <a:cubicBezTo>
                      <a:pt x="20633" y="53142"/>
                      <a:pt x="26572" y="47191"/>
                      <a:pt x="26572" y="39856"/>
                    </a:cubicBez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2" y="47191"/>
                      <a:pt x="5940" y="53142"/>
                      <a:pt x="13286" y="53142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64D23F2-44EF-4705-AFCC-D974D4C80B74}"/>
                  </a:ext>
                </a:extLst>
              </p:cNvPr>
              <p:cNvSpPr/>
              <p:nvPr/>
            </p:nvSpPr>
            <p:spPr>
              <a:xfrm>
                <a:off x="3084248" y="6613462"/>
                <a:ext cx="26572" cy="53141"/>
              </a:xfrm>
              <a:custGeom>
                <a:avLst/>
                <a:gdLst>
                  <a:gd name="connsiteX0" fmla="*/ 13286 w 26572"/>
                  <a:gd name="connsiteY0" fmla="*/ 53142 h 53141"/>
                  <a:gd name="connsiteX1" fmla="*/ 26572 w 26572"/>
                  <a:gd name="connsiteY1" fmla="*/ 39856 h 53141"/>
                  <a:gd name="connsiteX2" fmla="*/ 26572 w 26572"/>
                  <a:gd name="connsiteY2" fmla="*/ 13286 h 53141"/>
                  <a:gd name="connsiteX3" fmla="*/ 13286 w 26572"/>
                  <a:gd name="connsiteY3" fmla="*/ 0 h 53141"/>
                  <a:gd name="connsiteX4" fmla="*/ 0 w 26572"/>
                  <a:gd name="connsiteY4" fmla="*/ 13286 h 53141"/>
                  <a:gd name="connsiteX5" fmla="*/ 0 w 26572"/>
                  <a:gd name="connsiteY5" fmla="*/ 39856 h 53141"/>
                  <a:gd name="connsiteX6" fmla="*/ 13286 w 26572"/>
                  <a:gd name="connsiteY6" fmla="*/ 53142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13286" y="53142"/>
                    </a:moveTo>
                    <a:cubicBezTo>
                      <a:pt x="20633" y="53142"/>
                      <a:pt x="26572" y="47191"/>
                      <a:pt x="26572" y="39856"/>
                    </a:cubicBez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2" y="47191"/>
                      <a:pt x="5940" y="53142"/>
                      <a:pt x="13286" y="53142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19B00F39-0C01-471C-9CB1-7BB5E720411F}"/>
                  </a:ext>
                </a:extLst>
              </p:cNvPr>
              <p:cNvSpPr/>
              <p:nvPr/>
            </p:nvSpPr>
            <p:spPr>
              <a:xfrm>
                <a:off x="3124106" y="6613462"/>
                <a:ext cx="26572" cy="53141"/>
              </a:xfrm>
              <a:custGeom>
                <a:avLst/>
                <a:gdLst>
                  <a:gd name="connsiteX0" fmla="*/ 13286 w 26572"/>
                  <a:gd name="connsiteY0" fmla="*/ 53142 h 53141"/>
                  <a:gd name="connsiteX1" fmla="*/ 26572 w 26572"/>
                  <a:gd name="connsiteY1" fmla="*/ 39856 h 53141"/>
                  <a:gd name="connsiteX2" fmla="*/ 26572 w 26572"/>
                  <a:gd name="connsiteY2" fmla="*/ 13286 h 53141"/>
                  <a:gd name="connsiteX3" fmla="*/ 13286 w 26572"/>
                  <a:gd name="connsiteY3" fmla="*/ 0 h 53141"/>
                  <a:gd name="connsiteX4" fmla="*/ 0 w 26572"/>
                  <a:gd name="connsiteY4" fmla="*/ 13286 h 53141"/>
                  <a:gd name="connsiteX5" fmla="*/ 0 w 26572"/>
                  <a:gd name="connsiteY5" fmla="*/ 39856 h 53141"/>
                  <a:gd name="connsiteX6" fmla="*/ 13286 w 26572"/>
                  <a:gd name="connsiteY6" fmla="*/ 53142 h 5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572" h="53141">
                    <a:moveTo>
                      <a:pt x="13286" y="53142"/>
                    </a:moveTo>
                    <a:cubicBezTo>
                      <a:pt x="20633" y="53142"/>
                      <a:pt x="26572" y="47191"/>
                      <a:pt x="26572" y="39856"/>
                    </a:cubicBezTo>
                    <a:lnTo>
                      <a:pt x="26572" y="13286"/>
                    </a:lnTo>
                    <a:cubicBezTo>
                      <a:pt x="26572" y="5953"/>
                      <a:pt x="20634" y="0"/>
                      <a:pt x="13286" y="0"/>
                    </a:cubicBezTo>
                    <a:cubicBezTo>
                      <a:pt x="5940" y="0"/>
                      <a:pt x="0" y="5951"/>
                      <a:pt x="0" y="13286"/>
                    </a:cubicBezTo>
                    <a:lnTo>
                      <a:pt x="0" y="39856"/>
                    </a:lnTo>
                    <a:cubicBezTo>
                      <a:pt x="0" y="47191"/>
                      <a:pt x="5938" y="53142"/>
                      <a:pt x="13286" y="53142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D24833E3-D8E0-4A5A-AAD3-F6812CB2615D}"/>
                  </a:ext>
                </a:extLst>
              </p:cNvPr>
              <p:cNvSpPr/>
              <p:nvPr/>
            </p:nvSpPr>
            <p:spPr>
              <a:xfrm>
                <a:off x="2924826" y="6361036"/>
                <a:ext cx="265711" cy="345425"/>
              </a:xfrm>
              <a:custGeom>
                <a:avLst/>
                <a:gdLst>
                  <a:gd name="connsiteX0" fmla="*/ 226382 w 265711"/>
                  <a:gd name="connsiteY0" fmla="*/ 0 h 345425"/>
                  <a:gd name="connsiteX1" fmla="*/ 92993 w 265711"/>
                  <a:gd name="connsiteY1" fmla="*/ 0 h 345425"/>
                  <a:gd name="connsiteX2" fmla="*/ 79707 w 265711"/>
                  <a:gd name="connsiteY2" fmla="*/ 13286 h 345425"/>
                  <a:gd name="connsiteX3" fmla="*/ 92993 w 265711"/>
                  <a:gd name="connsiteY3" fmla="*/ 26572 h 345425"/>
                  <a:gd name="connsiteX4" fmla="*/ 226382 w 265711"/>
                  <a:gd name="connsiteY4" fmla="*/ 26572 h 345425"/>
                  <a:gd name="connsiteX5" fmla="*/ 239137 w 265711"/>
                  <a:gd name="connsiteY5" fmla="*/ 39324 h 345425"/>
                  <a:gd name="connsiteX6" fmla="*/ 239137 w 265711"/>
                  <a:gd name="connsiteY6" fmla="*/ 106286 h 345425"/>
                  <a:gd name="connsiteX7" fmla="*/ 92994 w 265711"/>
                  <a:gd name="connsiteY7" fmla="*/ 106286 h 345425"/>
                  <a:gd name="connsiteX8" fmla="*/ 79708 w 265711"/>
                  <a:gd name="connsiteY8" fmla="*/ 119572 h 345425"/>
                  <a:gd name="connsiteX9" fmla="*/ 92994 w 265711"/>
                  <a:gd name="connsiteY9" fmla="*/ 132858 h 345425"/>
                  <a:gd name="connsiteX10" fmla="*/ 239137 w 265711"/>
                  <a:gd name="connsiteY10" fmla="*/ 132858 h 345425"/>
                  <a:gd name="connsiteX11" fmla="*/ 239137 w 265711"/>
                  <a:gd name="connsiteY11" fmla="*/ 212573 h 345425"/>
                  <a:gd name="connsiteX12" fmla="*/ 53142 w 265711"/>
                  <a:gd name="connsiteY12" fmla="*/ 212571 h 345425"/>
                  <a:gd name="connsiteX13" fmla="*/ 13286 w 265711"/>
                  <a:gd name="connsiteY13" fmla="*/ 212571 h 345425"/>
                  <a:gd name="connsiteX14" fmla="*/ 0 w 265711"/>
                  <a:gd name="connsiteY14" fmla="*/ 225857 h 345425"/>
                  <a:gd name="connsiteX15" fmla="*/ 0 w 265711"/>
                  <a:gd name="connsiteY15" fmla="*/ 306101 h 345425"/>
                  <a:gd name="connsiteX16" fmla="*/ 39324 w 265711"/>
                  <a:gd name="connsiteY16" fmla="*/ 345425 h 345425"/>
                  <a:gd name="connsiteX17" fmla="*/ 226388 w 265711"/>
                  <a:gd name="connsiteY17" fmla="*/ 345425 h 345425"/>
                  <a:gd name="connsiteX18" fmla="*/ 265712 w 265711"/>
                  <a:gd name="connsiteY18" fmla="*/ 306101 h 345425"/>
                  <a:gd name="connsiteX19" fmla="*/ 265712 w 265711"/>
                  <a:gd name="connsiteY19" fmla="*/ 39328 h 345425"/>
                  <a:gd name="connsiteX20" fmla="*/ 226388 w 265711"/>
                  <a:gd name="connsiteY20" fmla="*/ 4 h 345425"/>
                  <a:gd name="connsiteX21" fmla="*/ 239137 w 265711"/>
                  <a:gd name="connsiteY21" fmla="*/ 306096 h 345425"/>
                  <a:gd name="connsiteX22" fmla="*/ 226382 w 265711"/>
                  <a:gd name="connsiteY22" fmla="*/ 318850 h 345425"/>
                  <a:gd name="connsiteX23" fmla="*/ 39319 w 265711"/>
                  <a:gd name="connsiteY23" fmla="*/ 318850 h 345425"/>
                  <a:gd name="connsiteX24" fmla="*/ 26567 w 265711"/>
                  <a:gd name="connsiteY24" fmla="*/ 306096 h 345425"/>
                  <a:gd name="connsiteX25" fmla="*/ 26567 w 265711"/>
                  <a:gd name="connsiteY25" fmla="*/ 239140 h 345425"/>
                  <a:gd name="connsiteX26" fmla="*/ 239137 w 265711"/>
                  <a:gd name="connsiteY26" fmla="*/ 239140 h 345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65711" h="345425">
                    <a:moveTo>
                      <a:pt x="226382" y="0"/>
                    </a:moveTo>
                    <a:lnTo>
                      <a:pt x="92993" y="0"/>
                    </a:lnTo>
                    <a:cubicBezTo>
                      <a:pt x="85647" y="0"/>
                      <a:pt x="79707" y="5951"/>
                      <a:pt x="79707" y="13286"/>
                    </a:cubicBezTo>
                    <a:cubicBezTo>
                      <a:pt x="79707" y="20619"/>
                      <a:pt x="85645" y="26572"/>
                      <a:pt x="92993" y="26572"/>
                    </a:cubicBezTo>
                    <a:lnTo>
                      <a:pt x="226382" y="26572"/>
                    </a:lnTo>
                    <a:cubicBezTo>
                      <a:pt x="233410" y="26570"/>
                      <a:pt x="239137" y="32297"/>
                      <a:pt x="239137" y="39324"/>
                    </a:cubicBezTo>
                    <a:lnTo>
                      <a:pt x="239137" y="106286"/>
                    </a:lnTo>
                    <a:lnTo>
                      <a:pt x="92994" y="106286"/>
                    </a:lnTo>
                    <a:cubicBezTo>
                      <a:pt x="85648" y="106286"/>
                      <a:pt x="79708" y="112237"/>
                      <a:pt x="79708" y="119572"/>
                    </a:cubicBezTo>
                    <a:cubicBezTo>
                      <a:pt x="79708" y="126905"/>
                      <a:pt x="85646" y="132858"/>
                      <a:pt x="92994" y="132858"/>
                    </a:cubicBezTo>
                    <a:lnTo>
                      <a:pt x="239137" y="132858"/>
                    </a:lnTo>
                    <a:lnTo>
                      <a:pt x="239137" y="212573"/>
                    </a:lnTo>
                    <a:lnTo>
                      <a:pt x="53142" y="212571"/>
                    </a:lnTo>
                    <a:lnTo>
                      <a:pt x="13286" y="212571"/>
                    </a:lnTo>
                    <a:cubicBezTo>
                      <a:pt x="5940" y="212571"/>
                      <a:pt x="0" y="218522"/>
                      <a:pt x="0" y="225857"/>
                    </a:cubicBezTo>
                    <a:lnTo>
                      <a:pt x="0" y="306101"/>
                    </a:lnTo>
                    <a:cubicBezTo>
                      <a:pt x="0" y="327784"/>
                      <a:pt x="17644" y="345425"/>
                      <a:pt x="39324" y="345425"/>
                    </a:cubicBezTo>
                    <a:lnTo>
                      <a:pt x="226388" y="345425"/>
                    </a:lnTo>
                    <a:cubicBezTo>
                      <a:pt x="248070" y="345425"/>
                      <a:pt x="265712" y="327782"/>
                      <a:pt x="265712" y="306101"/>
                    </a:cubicBezTo>
                    <a:lnTo>
                      <a:pt x="265712" y="39328"/>
                    </a:lnTo>
                    <a:cubicBezTo>
                      <a:pt x="265712" y="17648"/>
                      <a:pt x="248070" y="4"/>
                      <a:pt x="226388" y="4"/>
                    </a:cubicBezTo>
                    <a:close/>
                    <a:moveTo>
                      <a:pt x="239137" y="306096"/>
                    </a:moveTo>
                    <a:cubicBezTo>
                      <a:pt x="239137" y="313137"/>
                      <a:pt x="233410" y="318850"/>
                      <a:pt x="226382" y="318850"/>
                    </a:cubicBezTo>
                    <a:lnTo>
                      <a:pt x="39319" y="318850"/>
                    </a:lnTo>
                    <a:cubicBezTo>
                      <a:pt x="32292" y="318850"/>
                      <a:pt x="26567" y="313123"/>
                      <a:pt x="26567" y="306096"/>
                    </a:cubicBezTo>
                    <a:lnTo>
                      <a:pt x="26567" y="239140"/>
                    </a:lnTo>
                    <a:lnTo>
                      <a:pt x="239137" y="239140"/>
                    </a:ln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6B36E53F-677E-40E9-8F58-8DB01F2514D2}"/>
                  </a:ext>
                </a:extLst>
              </p:cNvPr>
              <p:cNvSpPr/>
              <p:nvPr/>
            </p:nvSpPr>
            <p:spPr>
              <a:xfrm>
                <a:off x="2818543" y="6334463"/>
                <a:ext cx="172713" cy="212566"/>
              </a:xfrm>
              <a:custGeom>
                <a:avLst/>
                <a:gdLst>
                  <a:gd name="connsiteX0" fmla="*/ 92997 w 172713"/>
                  <a:gd name="connsiteY0" fmla="*/ 185998 h 212566"/>
                  <a:gd name="connsiteX1" fmla="*/ 26570 w 172713"/>
                  <a:gd name="connsiteY1" fmla="*/ 185998 h 212566"/>
                  <a:gd name="connsiteX2" fmla="*/ 26570 w 172713"/>
                  <a:gd name="connsiteY2" fmla="*/ 26574 h 212566"/>
                  <a:gd name="connsiteX3" fmla="*/ 114071 w 172713"/>
                  <a:gd name="connsiteY3" fmla="*/ 26574 h 212566"/>
                  <a:gd name="connsiteX4" fmla="*/ 146141 w 172713"/>
                  <a:gd name="connsiteY4" fmla="*/ 58644 h 212566"/>
                  <a:gd name="connsiteX5" fmla="*/ 146141 w 172713"/>
                  <a:gd name="connsiteY5" fmla="*/ 132858 h 212566"/>
                  <a:gd name="connsiteX6" fmla="*/ 159427 w 172713"/>
                  <a:gd name="connsiteY6" fmla="*/ 146144 h 212566"/>
                  <a:gd name="connsiteX7" fmla="*/ 172713 w 172713"/>
                  <a:gd name="connsiteY7" fmla="*/ 132858 h 212566"/>
                  <a:gd name="connsiteX8" fmla="*/ 172713 w 172713"/>
                  <a:gd name="connsiteY8" fmla="*/ 53142 h 212566"/>
                  <a:gd name="connsiteX9" fmla="*/ 168822 w 172713"/>
                  <a:gd name="connsiteY9" fmla="*/ 43750 h 212566"/>
                  <a:gd name="connsiteX10" fmla="*/ 128965 w 172713"/>
                  <a:gd name="connsiteY10" fmla="*/ 3894 h 212566"/>
                  <a:gd name="connsiteX11" fmla="*/ 119571 w 172713"/>
                  <a:gd name="connsiteY11" fmla="*/ 0 h 212566"/>
                  <a:gd name="connsiteX12" fmla="*/ 13286 w 172713"/>
                  <a:gd name="connsiteY12" fmla="*/ 0 h 212566"/>
                  <a:gd name="connsiteX13" fmla="*/ 0 w 172713"/>
                  <a:gd name="connsiteY13" fmla="*/ 13286 h 212566"/>
                  <a:gd name="connsiteX14" fmla="*/ 0 w 172713"/>
                  <a:gd name="connsiteY14" fmla="*/ 199280 h 212566"/>
                  <a:gd name="connsiteX15" fmla="*/ 13286 w 172713"/>
                  <a:gd name="connsiteY15" fmla="*/ 212567 h 212566"/>
                  <a:gd name="connsiteX16" fmla="*/ 93001 w 172713"/>
                  <a:gd name="connsiteY16" fmla="*/ 212567 h 212566"/>
                  <a:gd name="connsiteX17" fmla="*/ 106287 w 172713"/>
                  <a:gd name="connsiteY17" fmla="*/ 199280 h 212566"/>
                  <a:gd name="connsiteX18" fmla="*/ 93001 w 172713"/>
                  <a:gd name="connsiteY18" fmla="*/ 185994 h 212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2713" h="212566">
                    <a:moveTo>
                      <a:pt x="92997" y="185998"/>
                    </a:moveTo>
                    <a:lnTo>
                      <a:pt x="26570" y="185998"/>
                    </a:lnTo>
                    <a:lnTo>
                      <a:pt x="26570" y="26574"/>
                    </a:lnTo>
                    <a:lnTo>
                      <a:pt x="114071" y="26574"/>
                    </a:lnTo>
                    <a:lnTo>
                      <a:pt x="146141" y="58644"/>
                    </a:lnTo>
                    <a:lnTo>
                      <a:pt x="146141" y="132858"/>
                    </a:lnTo>
                    <a:cubicBezTo>
                      <a:pt x="146141" y="140191"/>
                      <a:pt x="152079" y="146144"/>
                      <a:pt x="159427" y="146144"/>
                    </a:cubicBezTo>
                    <a:cubicBezTo>
                      <a:pt x="166774" y="146144"/>
                      <a:pt x="172713" y="140193"/>
                      <a:pt x="172713" y="132858"/>
                    </a:cubicBezTo>
                    <a:lnTo>
                      <a:pt x="172713" y="53142"/>
                    </a:lnTo>
                    <a:cubicBezTo>
                      <a:pt x="172713" y="49622"/>
                      <a:pt x="171318" y="46234"/>
                      <a:pt x="168822" y="43750"/>
                    </a:cubicBezTo>
                    <a:lnTo>
                      <a:pt x="128965" y="3894"/>
                    </a:lnTo>
                    <a:cubicBezTo>
                      <a:pt x="126480" y="1396"/>
                      <a:pt x="123104" y="0"/>
                      <a:pt x="119571" y="0"/>
                    </a:cubicBezTo>
                    <a:lnTo>
                      <a:pt x="13286" y="0"/>
                    </a:lnTo>
                    <a:cubicBezTo>
                      <a:pt x="5940" y="0"/>
                      <a:pt x="0" y="5953"/>
                      <a:pt x="0" y="13286"/>
                    </a:cubicBezTo>
                    <a:lnTo>
                      <a:pt x="0" y="199280"/>
                    </a:lnTo>
                    <a:cubicBezTo>
                      <a:pt x="0" y="206613"/>
                      <a:pt x="5938" y="212567"/>
                      <a:pt x="13286" y="212567"/>
                    </a:cubicBezTo>
                    <a:lnTo>
                      <a:pt x="93001" y="212567"/>
                    </a:lnTo>
                    <a:cubicBezTo>
                      <a:pt x="100348" y="212567"/>
                      <a:pt x="106287" y="206616"/>
                      <a:pt x="106287" y="199280"/>
                    </a:cubicBezTo>
                    <a:cubicBezTo>
                      <a:pt x="106287" y="191947"/>
                      <a:pt x="100349" y="185994"/>
                      <a:pt x="93001" y="185994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8EC3BA85-2D3E-429E-B928-DDBB2CE86A00}"/>
                  </a:ext>
                </a:extLst>
              </p:cNvPr>
              <p:cNvSpPr/>
              <p:nvPr/>
            </p:nvSpPr>
            <p:spPr>
              <a:xfrm>
                <a:off x="2845111" y="6400885"/>
                <a:ext cx="53144" cy="79717"/>
              </a:xfrm>
              <a:custGeom>
                <a:avLst/>
                <a:gdLst>
                  <a:gd name="connsiteX0" fmla="*/ 30464 w 53144"/>
                  <a:gd name="connsiteY0" fmla="*/ 75825 h 79717"/>
                  <a:gd name="connsiteX1" fmla="*/ 39856 w 53144"/>
                  <a:gd name="connsiteY1" fmla="*/ 79717 h 79717"/>
                  <a:gd name="connsiteX2" fmla="*/ 49248 w 53144"/>
                  <a:gd name="connsiteY2" fmla="*/ 75825 h 79717"/>
                  <a:gd name="connsiteX3" fmla="*/ 49248 w 53144"/>
                  <a:gd name="connsiteY3" fmla="*/ 57039 h 79717"/>
                  <a:gd name="connsiteX4" fmla="*/ 32071 w 53144"/>
                  <a:gd name="connsiteY4" fmla="*/ 39861 h 79717"/>
                  <a:gd name="connsiteX5" fmla="*/ 49248 w 53144"/>
                  <a:gd name="connsiteY5" fmla="*/ 22683 h 79717"/>
                  <a:gd name="connsiteX6" fmla="*/ 49248 w 53144"/>
                  <a:gd name="connsiteY6" fmla="*/ 3896 h 79717"/>
                  <a:gd name="connsiteX7" fmla="*/ 30462 w 53144"/>
                  <a:gd name="connsiteY7" fmla="*/ 3896 h 79717"/>
                  <a:gd name="connsiteX8" fmla="*/ 3892 w 53144"/>
                  <a:gd name="connsiteY8" fmla="*/ 30466 h 79717"/>
                  <a:gd name="connsiteX9" fmla="*/ 0 w 53144"/>
                  <a:gd name="connsiteY9" fmla="*/ 39860 h 79717"/>
                  <a:gd name="connsiteX10" fmla="*/ 3892 w 53144"/>
                  <a:gd name="connsiteY10" fmla="*/ 49252 h 7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144" h="79717">
                    <a:moveTo>
                      <a:pt x="30464" y="75825"/>
                    </a:moveTo>
                    <a:cubicBezTo>
                      <a:pt x="33056" y="78417"/>
                      <a:pt x="36455" y="79717"/>
                      <a:pt x="39856" y="79717"/>
                    </a:cubicBezTo>
                    <a:cubicBezTo>
                      <a:pt x="43258" y="79717"/>
                      <a:pt x="46658" y="78417"/>
                      <a:pt x="49248" y="75825"/>
                    </a:cubicBezTo>
                    <a:cubicBezTo>
                      <a:pt x="54443" y="70631"/>
                      <a:pt x="54443" y="62234"/>
                      <a:pt x="49248" y="57039"/>
                    </a:cubicBezTo>
                    <a:lnTo>
                      <a:pt x="32071" y="39861"/>
                    </a:lnTo>
                    <a:lnTo>
                      <a:pt x="49248" y="22683"/>
                    </a:lnTo>
                    <a:cubicBezTo>
                      <a:pt x="54443" y="17488"/>
                      <a:pt x="54443" y="9092"/>
                      <a:pt x="49248" y="3896"/>
                    </a:cubicBezTo>
                    <a:cubicBezTo>
                      <a:pt x="44054" y="-1299"/>
                      <a:pt x="35657" y="-1298"/>
                      <a:pt x="30462" y="3896"/>
                    </a:cubicBezTo>
                    <a:lnTo>
                      <a:pt x="3892" y="30466"/>
                    </a:lnTo>
                    <a:cubicBezTo>
                      <a:pt x="1301" y="33059"/>
                      <a:pt x="0" y="36458"/>
                      <a:pt x="0" y="39860"/>
                    </a:cubicBezTo>
                    <a:cubicBezTo>
                      <a:pt x="0" y="43262"/>
                      <a:pt x="1301" y="46662"/>
                      <a:pt x="3892" y="49252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C5755588-F2E4-404E-B9D3-1A4000F4489C}"/>
                  </a:ext>
                </a:extLst>
              </p:cNvPr>
              <p:cNvSpPr/>
              <p:nvPr/>
            </p:nvSpPr>
            <p:spPr>
              <a:xfrm>
                <a:off x="2911534" y="6400891"/>
                <a:ext cx="53146" cy="79717"/>
              </a:xfrm>
              <a:custGeom>
                <a:avLst/>
                <a:gdLst>
                  <a:gd name="connsiteX0" fmla="*/ 22683 w 53146"/>
                  <a:gd name="connsiteY0" fmla="*/ 3896 h 79717"/>
                  <a:gd name="connsiteX1" fmla="*/ 3896 w 53146"/>
                  <a:gd name="connsiteY1" fmla="*/ 3896 h 79717"/>
                  <a:gd name="connsiteX2" fmla="*/ 3896 w 53146"/>
                  <a:gd name="connsiteY2" fmla="*/ 22683 h 79717"/>
                  <a:gd name="connsiteX3" fmla="*/ 21076 w 53146"/>
                  <a:gd name="connsiteY3" fmla="*/ 39861 h 79717"/>
                  <a:gd name="connsiteX4" fmla="*/ 3898 w 53146"/>
                  <a:gd name="connsiteY4" fmla="*/ 57038 h 79717"/>
                  <a:gd name="connsiteX5" fmla="*/ 3898 w 53146"/>
                  <a:gd name="connsiteY5" fmla="*/ 75825 h 79717"/>
                  <a:gd name="connsiteX6" fmla="*/ 13290 w 53146"/>
                  <a:gd name="connsiteY6" fmla="*/ 79717 h 79717"/>
                  <a:gd name="connsiteX7" fmla="*/ 22682 w 53146"/>
                  <a:gd name="connsiteY7" fmla="*/ 75825 h 79717"/>
                  <a:gd name="connsiteX8" fmla="*/ 49252 w 53146"/>
                  <a:gd name="connsiteY8" fmla="*/ 49255 h 79717"/>
                  <a:gd name="connsiteX9" fmla="*/ 53146 w 53146"/>
                  <a:gd name="connsiteY9" fmla="*/ 39861 h 79717"/>
                  <a:gd name="connsiteX10" fmla="*/ 49255 w 53146"/>
                  <a:gd name="connsiteY10" fmla="*/ 30469 h 79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146" h="79717">
                    <a:moveTo>
                      <a:pt x="22683" y="3896"/>
                    </a:moveTo>
                    <a:cubicBezTo>
                      <a:pt x="17488" y="-1299"/>
                      <a:pt x="9091" y="-1299"/>
                      <a:pt x="3896" y="3896"/>
                    </a:cubicBezTo>
                    <a:cubicBezTo>
                      <a:pt x="-1299" y="9091"/>
                      <a:pt x="-1298" y="17488"/>
                      <a:pt x="3896" y="22683"/>
                    </a:cubicBezTo>
                    <a:lnTo>
                      <a:pt x="21076" y="39861"/>
                    </a:lnTo>
                    <a:lnTo>
                      <a:pt x="3898" y="57038"/>
                    </a:lnTo>
                    <a:cubicBezTo>
                      <a:pt x="-1296" y="62233"/>
                      <a:pt x="-1296" y="70630"/>
                      <a:pt x="3898" y="75825"/>
                    </a:cubicBezTo>
                    <a:cubicBezTo>
                      <a:pt x="6490" y="78416"/>
                      <a:pt x="9889" y="79717"/>
                      <a:pt x="13290" y="79717"/>
                    </a:cubicBezTo>
                    <a:cubicBezTo>
                      <a:pt x="16692" y="79717"/>
                      <a:pt x="20092" y="78416"/>
                      <a:pt x="22682" y="75825"/>
                    </a:cubicBezTo>
                    <a:lnTo>
                      <a:pt x="49252" y="49255"/>
                    </a:lnTo>
                    <a:cubicBezTo>
                      <a:pt x="51845" y="46665"/>
                      <a:pt x="53146" y="43263"/>
                      <a:pt x="53146" y="39861"/>
                    </a:cubicBezTo>
                    <a:cubicBezTo>
                      <a:pt x="53146" y="36459"/>
                      <a:pt x="51845" y="33060"/>
                      <a:pt x="49255" y="30469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5E2E4B60-C40C-4737-B4E1-625862B8EB7B}"/>
                  </a:ext>
                </a:extLst>
              </p:cNvPr>
              <p:cNvSpPr/>
              <p:nvPr/>
            </p:nvSpPr>
            <p:spPr>
              <a:xfrm>
                <a:off x="2938111" y="6493888"/>
                <a:ext cx="79716" cy="79716"/>
              </a:xfrm>
              <a:custGeom>
                <a:avLst/>
                <a:gdLst>
                  <a:gd name="connsiteX0" fmla="*/ 53144 w 79716"/>
                  <a:gd name="connsiteY0" fmla="*/ 66430 h 79716"/>
                  <a:gd name="connsiteX1" fmla="*/ 53144 w 79716"/>
                  <a:gd name="connsiteY1" fmla="*/ 53144 h 79716"/>
                  <a:gd name="connsiteX2" fmla="*/ 66430 w 79716"/>
                  <a:gd name="connsiteY2" fmla="*/ 53144 h 79716"/>
                  <a:gd name="connsiteX3" fmla="*/ 79716 w 79716"/>
                  <a:gd name="connsiteY3" fmla="*/ 39858 h 79716"/>
                  <a:gd name="connsiteX4" fmla="*/ 66430 w 79716"/>
                  <a:gd name="connsiteY4" fmla="*/ 26572 h 79716"/>
                  <a:gd name="connsiteX5" fmla="*/ 53144 w 79716"/>
                  <a:gd name="connsiteY5" fmla="*/ 26572 h 79716"/>
                  <a:gd name="connsiteX6" fmla="*/ 53144 w 79716"/>
                  <a:gd name="connsiteY6" fmla="*/ 13286 h 79716"/>
                  <a:gd name="connsiteX7" fmla="*/ 39858 w 79716"/>
                  <a:gd name="connsiteY7" fmla="*/ 0 h 79716"/>
                  <a:gd name="connsiteX8" fmla="*/ 26572 w 79716"/>
                  <a:gd name="connsiteY8" fmla="*/ 13286 h 79716"/>
                  <a:gd name="connsiteX9" fmla="*/ 26572 w 79716"/>
                  <a:gd name="connsiteY9" fmla="*/ 26572 h 79716"/>
                  <a:gd name="connsiteX10" fmla="*/ 13286 w 79716"/>
                  <a:gd name="connsiteY10" fmla="*/ 26572 h 79716"/>
                  <a:gd name="connsiteX11" fmla="*/ 0 w 79716"/>
                  <a:gd name="connsiteY11" fmla="*/ 39858 h 79716"/>
                  <a:gd name="connsiteX12" fmla="*/ 13286 w 79716"/>
                  <a:gd name="connsiteY12" fmla="*/ 53144 h 79716"/>
                  <a:gd name="connsiteX13" fmla="*/ 26572 w 79716"/>
                  <a:gd name="connsiteY13" fmla="*/ 53144 h 79716"/>
                  <a:gd name="connsiteX14" fmla="*/ 26572 w 79716"/>
                  <a:gd name="connsiteY14" fmla="*/ 66430 h 79716"/>
                  <a:gd name="connsiteX15" fmla="*/ 39858 w 79716"/>
                  <a:gd name="connsiteY15" fmla="*/ 79716 h 79716"/>
                  <a:gd name="connsiteX16" fmla="*/ 53144 w 79716"/>
                  <a:gd name="connsiteY16" fmla="*/ 66430 h 79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9716" h="79716">
                    <a:moveTo>
                      <a:pt x="53144" y="66430"/>
                    </a:moveTo>
                    <a:lnTo>
                      <a:pt x="53144" y="53144"/>
                    </a:lnTo>
                    <a:lnTo>
                      <a:pt x="66430" y="53144"/>
                    </a:lnTo>
                    <a:cubicBezTo>
                      <a:pt x="73777" y="53144"/>
                      <a:pt x="79716" y="47193"/>
                      <a:pt x="79716" y="39858"/>
                    </a:cubicBezTo>
                    <a:cubicBezTo>
                      <a:pt x="79716" y="32525"/>
                      <a:pt x="73778" y="26572"/>
                      <a:pt x="66430" y="26572"/>
                    </a:cubicBezTo>
                    <a:lnTo>
                      <a:pt x="53144" y="26572"/>
                    </a:lnTo>
                    <a:lnTo>
                      <a:pt x="53144" y="13286"/>
                    </a:lnTo>
                    <a:cubicBezTo>
                      <a:pt x="53144" y="5953"/>
                      <a:pt x="47206" y="0"/>
                      <a:pt x="39858" y="0"/>
                    </a:cubicBezTo>
                    <a:cubicBezTo>
                      <a:pt x="32512" y="0"/>
                      <a:pt x="26572" y="5951"/>
                      <a:pt x="26572" y="13286"/>
                    </a:cubicBezTo>
                    <a:lnTo>
                      <a:pt x="26572" y="26572"/>
                    </a:lnTo>
                    <a:lnTo>
                      <a:pt x="13286" y="26572"/>
                    </a:lnTo>
                    <a:cubicBezTo>
                      <a:pt x="5940" y="26572"/>
                      <a:pt x="0" y="32523"/>
                      <a:pt x="0" y="39858"/>
                    </a:cubicBezTo>
                    <a:cubicBezTo>
                      <a:pt x="0" y="47191"/>
                      <a:pt x="5938" y="53144"/>
                      <a:pt x="13286" y="53144"/>
                    </a:cubicBezTo>
                    <a:lnTo>
                      <a:pt x="26572" y="53144"/>
                    </a:lnTo>
                    <a:lnTo>
                      <a:pt x="26572" y="66430"/>
                    </a:lnTo>
                    <a:cubicBezTo>
                      <a:pt x="26572" y="73763"/>
                      <a:pt x="32510" y="79716"/>
                      <a:pt x="39858" y="79716"/>
                    </a:cubicBezTo>
                    <a:cubicBezTo>
                      <a:pt x="47205" y="79714"/>
                      <a:pt x="53144" y="73763"/>
                      <a:pt x="53144" y="66430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143" name="Graphic 448">
              <a:extLst>
                <a:ext uri="{FF2B5EF4-FFF2-40B4-BE49-F238E27FC236}">
                  <a16:creationId xmlns:a16="http://schemas.microsoft.com/office/drawing/2014/main" id="{155A607B-10A8-476B-B218-24B5D20BD930}"/>
                </a:ext>
              </a:extLst>
            </p:cNvPr>
            <p:cNvGrpSpPr/>
            <p:nvPr/>
          </p:nvGrpSpPr>
          <p:grpSpPr>
            <a:xfrm>
              <a:off x="6837477" y="2879197"/>
              <a:ext cx="375263" cy="446353"/>
              <a:chOff x="2785751" y="6396912"/>
              <a:chExt cx="342349" cy="342340"/>
            </a:xfrm>
            <a:solidFill>
              <a:schemeClr val="accent2"/>
            </a:solidFill>
          </p:grpSpPr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385B5DEC-86C0-467C-9A53-27032C8AA038}"/>
                  </a:ext>
                </a:extLst>
              </p:cNvPr>
              <p:cNvSpPr/>
              <p:nvPr/>
            </p:nvSpPr>
            <p:spPr>
              <a:xfrm>
                <a:off x="2916977" y="6465381"/>
                <a:ext cx="79881" cy="57055"/>
              </a:xfrm>
              <a:custGeom>
                <a:avLst/>
                <a:gdLst>
                  <a:gd name="connsiteX0" fmla="*/ 74175 w 79881"/>
                  <a:gd name="connsiteY0" fmla="*/ 0 h 57055"/>
                  <a:gd name="connsiteX1" fmla="*/ 5706 w 79881"/>
                  <a:gd name="connsiteY1" fmla="*/ 0 h 57055"/>
                  <a:gd name="connsiteX2" fmla="*/ 0 w 79881"/>
                  <a:gd name="connsiteY2" fmla="*/ 5706 h 57055"/>
                  <a:gd name="connsiteX3" fmla="*/ 0 w 79881"/>
                  <a:gd name="connsiteY3" fmla="*/ 51349 h 57055"/>
                  <a:gd name="connsiteX4" fmla="*/ 5706 w 79881"/>
                  <a:gd name="connsiteY4" fmla="*/ 57055 h 57055"/>
                  <a:gd name="connsiteX5" fmla="*/ 74175 w 79881"/>
                  <a:gd name="connsiteY5" fmla="*/ 57055 h 57055"/>
                  <a:gd name="connsiteX6" fmla="*/ 79881 w 79881"/>
                  <a:gd name="connsiteY6" fmla="*/ 51349 h 57055"/>
                  <a:gd name="connsiteX7" fmla="*/ 79881 w 79881"/>
                  <a:gd name="connsiteY7" fmla="*/ 5706 h 57055"/>
                  <a:gd name="connsiteX8" fmla="*/ 74177 w 79881"/>
                  <a:gd name="connsiteY8" fmla="*/ 0 h 57055"/>
                  <a:gd name="connsiteX9" fmla="*/ 11413 w 79881"/>
                  <a:gd name="connsiteY9" fmla="*/ 11412 h 57055"/>
                  <a:gd name="connsiteX10" fmla="*/ 68469 w 79881"/>
                  <a:gd name="connsiteY10" fmla="*/ 11412 h 57055"/>
                  <a:gd name="connsiteX11" fmla="*/ 68469 w 79881"/>
                  <a:gd name="connsiteY11" fmla="*/ 22823 h 57055"/>
                  <a:gd name="connsiteX12" fmla="*/ 11413 w 79881"/>
                  <a:gd name="connsiteY12" fmla="*/ 22821 h 57055"/>
                  <a:gd name="connsiteX13" fmla="*/ 68469 w 79881"/>
                  <a:gd name="connsiteY13" fmla="*/ 45645 h 57055"/>
                  <a:gd name="connsiteX14" fmla="*/ 11413 w 79881"/>
                  <a:gd name="connsiteY14" fmla="*/ 45645 h 57055"/>
                  <a:gd name="connsiteX15" fmla="*/ 11413 w 79881"/>
                  <a:gd name="connsiteY15" fmla="*/ 34234 h 57055"/>
                  <a:gd name="connsiteX16" fmla="*/ 68469 w 79881"/>
                  <a:gd name="connsiteY16" fmla="*/ 34234 h 57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9881" h="57055">
                    <a:moveTo>
                      <a:pt x="74175" y="0"/>
                    </a:moveTo>
                    <a:lnTo>
                      <a:pt x="5706" y="0"/>
                    </a:lnTo>
                    <a:cubicBezTo>
                      <a:pt x="2556" y="0"/>
                      <a:pt x="0" y="2556"/>
                      <a:pt x="0" y="5706"/>
                    </a:cubicBezTo>
                    <a:lnTo>
                      <a:pt x="0" y="51349"/>
                    </a:lnTo>
                    <a:cubicBezTo>
                      <a:pt x="0" y="54500"/>
                      <a:pt x="2556" y="57055"/>
                      <a:pt x="5706" y="57055"/>
                    </a:cubicBezTo>
                    <a:lnTo>
                      <a:pt x="74175" y="57055"/>
                    </a:lnTo>
                    <a:cubicBezTo>
                      <a:pt x="77326" y="57055"/>
                      <a:pt x="79881" y="54500"/>
                      <a:pt x="79881" y="51349"/>
                    </a:cubicBezTo>
                    <a:lnTo>
                      <a:pt x="79881" y="5706"/>
                    </a:lnTo>
                    <a:cubicBezTo>
                      <a:pt x="79881" y="2556"/>
                      <a:pt x="77326" y="0"/>
                      <a:pt x="74177" y="0"/>
                    </a:cubicBezTo>
                    <a:close/>
                    <a:moveTo>
                      <a:pt x="11413" y="11412"/>
                    </a:moveTo>
                    <a:lnTo>
                      <a:pt x="68469" y="11412"/>
                    </a:lnTo>
                    <a:lnTo>
                      <a:pt x="68469" y="22823"/>
                    </a:lnTo>
                    <a:lnTo>
                      <a:pt x="11413" y="22821"/>
                    </a:lnTo>
                    <a:close/>
                    <a:moveTo>
                      <a:pt x="68469" y="45645"/>
                    </a:moveTo>
                    <a:lnTo>
                      <a:pt x="11413" y="45645"/>
                    </a:lnTo>
                    <a:lnTo>
                      <a:pt x="11413" y="34234"/>
                    </a:lnTo>
                    <a:lnTo>
                      <a:pt x="68469" y="34234"/>
                    </a:lnTo>
                    <a:close/>
                  </a:path>
                </a:pathLst>
              </a:custGeom>
              <a:grpFill/>
              <a:ln w="4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CE2BE2F6-3324-48B9-BD84-C1BB58DD8EBD}"/>
                  </a:ext>
                </a:extLst>
              </p:cNvPr>
              <p:cNvSpPr/>
              <p:nvPr/>
            </p:nvSpPr>
            <p:spPr>
              <a:xfrm>
                <a:off x="2785751" y="6396912"/>
                <a:ext cx="342349" cy="342340"/>
              </a:xfrm>
              <a:custGeom>
                <a:avLst/>
                <a:gdLst>
                  <a:gd name="connsiteX0" fmla="*/ 336629 w 342349"/>
                  <a:gd name="connsiteY0" fmla="*/ 148347 h 342340"/>
                  <a:gd name="connsiteX1" fmla="*/ 304181 w 342349"/>
                  <a:gd name="connsiteY1" fmla="*/ 148347 h 342340"/>
                  <a:gd name="connsiteX2" fmla="*/ 233929 w 342349"/>
                  <a:gd name="connsiteY2" fmla="*/ 99713 h 342340"/>
                  <a:gd name="connsiteX3" fmla="*/ 233929 w 342349"/>
                  <a:gd name="connsiteY3" fmla="*/ 51350 h 342340"/>
                  <a:gd name="connsiteX4" fmla="*/ 231788 w 342349"/>
                  <a:gd name="connsiteY4" fmla="*/ 46893 h 342340"/>
                  <a:gd name="connsiteX5" fmla="*/ 222517 w 342349"/>
                  <a:gd name="connsiteY5" fmla="*/ 39477 h 342340"/>
                  <a:gd name="connsiteX6" fmla="*/ 222517 w 342349"/>
                  <a:gd name="connsiteY6" fmla="*/ 5706 h 342340"/>
                  <a:gd name="connsiteX7" fmla="*/ 216811 w 342349"/>
                  <a:gd name="connsiteY7" fmla="*/ 0 h 342340"/>
                  <a:gd name="connsiteX8" fmla="*/ 193989 w 342349"/>
                  <a:gd name="connsiteY8" fmla="*/ 0 h 342340"/>
                  <a:gd name="connsiteX9" fmla="*/ 188283 w 342349"/>
                  <a:gd name="connsiteY9" fmla="*/ 5706 h 342340"/>
                  <a:gd name="connsiteX10" fmla="*/ 188283 w 342349"/>
                  <a:gd name="connsiteY10" fmla="*/ 12097 h 342340"/>
                  <a:gd name="connsiteX11" fmla="*/ 174733 w 342349"/>
                  <a:gd name="connsiteY11" fmla="*/ 1257 h 342340"/>
                  <a:gd name="connsiteX12" fmla="*/ 167606 w 342349"/>
                  <a:gd name="connsiteY12" fmla="*/ 1257 h 342340"/>
                  <a:gd name="connsiteX13" fmla="*/ 110550 w 342349"/>
                  <a:gd name="connsiteY13" fmla="*/ 46903 h 342340"/>
                  <a:gd name="connsiteX14" fmla="*/ 108406 w 342349"/>
                  <a:gd name="connsiteY14" fmla="*/ 51349 h 342340"/>
                  <a:gd name="connsiteX15" fmla="*/ 108406 w 342349"/>
                  <a:gd name="connsiteY15" fmla="*/ 99713 h 342340"/>
                  <a:gd name="connsiteX16" fmla="*/ 38154 w 342349"/>
                  <a:gd name="connsiteY16" fmla="*/ 148346 h 342340"/>
                  <a:gd name="connsiteX17" fmla="*/ 5706 w 342349"/>
                  <a:gd name="connsiteY17" fmla="*/ 148346 h 342340"/>
                  <a:gd name="connsiteX18" fmla="*/ 0 w 342349"/>
                  <a:gd name="connsiteY18" fmla="*/ 154053 h 342340"/>
                  <a:gd name="connsiteX19" fmla="*/ 0 w 342349"/>
                  <a:gd name="connsiteY19" fmla="*/ 199696 h 342340"/>
                  <a:gd name="connsiteX20" fmla="*/ 5706 w 342349"/>
                  <a:gd name="connsiteY20" fmla="*/ 205402 h 342340"/>
                  <a:gd name="connsiteX21" fmla="*/ 74175 w 342349"/>
                  <a:gd name="connsiteY21" fmla="*/ 205402 h 342340"/>
                  <a:gd name="connsiteX22" fmla="*/ 79881 w 342349"/>
                  <a:gd name="connsiteY22" fmla="*/ 199696 h 342340"/>
                  <a:gd name="connsiteX23" fmla="*/ 79881 w 342349"/>
                  <a:gd name="connsiteY23" fmla="*/ 154053 h 342340"/>
                  <a:gd name="connsiteX24" fmla="*/ 74175 w 342349"/>
                  <a:gd name="connsiteY24" fmla="*/ 148346 h 342340"/>
                  <a:gd name="connsiteX25" fmla="*/ 58205 w 342349"/>
                  <a:gd name="connsiteY25" fmla="*/ 148346 h 342340"/>
                  <a:gd name="connsiteX26" fmla="*/ 108409 w 342349"/>
                  <a:gd name="connsiteY26" fmla="*/ 113594 h 342340"/>
                  <a:gd name="connsiteX27" fmla="*/ 108409 w 342349"/>
                  <a:gd name="connsiteY27" fmla="*/ 142640 h 342340"/>
                  <a:gd name="connsiteX28" fmla="*/ 114115 w 342349"/>
                  <a:gd name="connsiteY28" fmla="*/ 148346 h 342340"/>
                  <a:gd name="connsiteX29" fmla="*/ 151694 w 342349"/>
                  <a:gd name="connsiteY29" fmla="*/ 148346 h 342340"/>
                  <a:gd name="connsiteX30" fmla="*/ 54697 w 342349"/>
                  <a:gd name="connsiteY30" fmla="*/ 245344 h 342340"/>
                  <a:gd name="connsiteX31" fmla="*/ 28530 w 342349"/>
                  <a:gd name="connsiteY31" fmla="*/ 245344 h 342340"/>
                  <a:gd name="connsiteX32" fmla="*/ 22824 w 342349"/>
                  <a:gd name="connsiteY32" fmla="*/ 251050 h 342340"/>
                  <a:gd name="connsiteX33" fmla="*/ 22824 w 342349"/>
                  <a:gd name="connsiteY33" fmla="*/ 296693 h 342340"/>
                  <a:gd name="connsiteX34" fmla="*/ 28530 w 342349"/>
                  <a:gd name="connsiteY34" fmla="*/ 302399 h 342340"/>
                  <a:gd name="connsiteX35" fmla="*/ 96999 w 342349"/>
                  <a:gd name="connsiteY35" fmla="*/ 302399 h 342340"/>
                  <a:gd name="connsiteX36" fmla="*/ 102706 w 342349"/>
                  <a:gd name="connsiteY36" fmla="*/ 296693 h 342340"/>
                  <a:gd name="connsiteX37" fmla="*/ 102706 w 342349"/>
                  <a:gd name="connsiteY37" fmla="*/ 251050 h 342340"/>
                  <a:gd name="connsiteX38" fmla="*/ 96999 w 342349"/>
                  <a:gd name="connsiteY38" fmla="*/ 245344 h 342340"/>
                  <a:gd name="connsiteX39" fmla="*/ 70833 w 342349"/>
                  <a:gd name="connsiteY39" fmla="*/ 245344 h 342340"/>
                  <a:gd name="connsiteX40" fmla="*/ 165468 w 342349"/>
                  <a:gd name="connsiteY40" fmla="*/ 150709 h 342340"/>
                  <a:gd name="connsiteX41" fmla="*/ 165468 w 342349"/>
                  <a:gd name="connsiteY41" fmla="*/ 285285 h 342340"/>
                  <a:gd name="connsiteX42" fmla="*/ 136940 w 342349"/>
                  <a:gd name="connsiteY42" fmla="*/ 285285 h 342340"/>
                  <a:gd name="connsiteX43" fmla="*/ 131234 w 342349"/>
                  <a:gd name="connsiteY43" fmla="*/ 290991 h 342340"/>
                  <a:gd name="connsiteX44" fmla="*/ 131234 w 342349"/>
                  <a:gd name="connsiteY44" fmla="*/ 336634 h 342340"/>
                  <a:gd name="connsiteX45" fmla="*/ 136940 w 342349"/>
                  <a:gd name="connsiteY45" fmla="*/ 342340 h 342340"/>
                  <a:gd name="connsiteX46" fmla="*/ 205409 w 342349"/>
                  <a:gd name="connsiteY46" fmla="*/ 342340 h 342340"/>
                  <a:gd name="connsiteX47" fmla="*/ 211115 w 342349"/>
                  <a:gd name="connsiteY47" fmla="*/ 336634 h 342340"/>
                  <a:gd name="connsiteX48" fmla="*/ 211115 w 342349"/>
                  <a:gd name="connsiteY48" fmla="*/ 290991 h 342340"/>
                  <a:gd name="connsiteX49" fmla="*/ 205409 w 342349"/>
                  <a:gd name="connsiteY49" fmla="*/ 285285 h 342340"/>
                  <a:gd name="connsiteX50" fmla="*/ 176882 w 342349"/>
                  <a:gd name="connsiteY50" fmla="*/ 285285 h 342340"/>
                  <a:gd name="connsiteX51" fmla="*/ 176880 w 342349"/>
                  <a:gd name="connsiteY51" fmla="*/ 150709 h 342340"/>
                  <a:gd name="connsiteX52" fmla="*/ 271514 w 342349"/>
                  <a:gd name="connsiteY52" fmla="*/ 245344 h 342340"/>
                  <a:gd name="connsiteX53" fmla="*/ 245350 w 342349"/>
                  <a:gd name="connsiteY53" fmla="*/ 245344 h 342340"/>
                  <a:gd name="connsiteX54" fmla="*/ 239644 w 342349"/>
                  <a:gd name="connsiteY54" fmla="*/ 251050 h 342340"/>
                  <a:gd name="connsiteX55" fmla="*/ 239644 w 342349"/>
                  <a:gd name="connsiteY55" fmla="*/ 296693 h 342340"/>
                  <a:gd name="connsiteX56" fmla="*/ 245350 w 342349"/>
                  <a:gd name="connsiteY56" fmla="*/ 302399 h 342340"/>
                  <a:gd name="connsiteX57" fmla="*/ 313819 w 342349"/>
                  <a:gd name="connsiteY57" fmla="*/ 302399 h 342340"/>
                  <a:gd name="connsiteX58" fmla="*/ 319525 w 342349"/>
                  <a:gd name="connsiteY58" fmla="*/ 296693 h 342340"/>
                  <a:gd name="connsiteX59" fmla="*/ 319525 w 342349"/>
                  <a:gd name="connsiteY59" fmla="*/ 251050 h 342340"/>
                  <a:gd name="connsiteX60" fmla="*/ 313819 w 342349"/>
                  <a:gd name="connsiteY60" fmla="*/ 245344 h 342340"/>
                  <a:gd name="connsiteX61" fmla="*/ 287653 w 342349"/>
                  <a:gd name="connsiteY61" fmla="*/ 245344 h 342340"/>
                  <a:gd name="connsiteX62" fmla="*/ 190656 w 342349"/>
                  <a:gd name="connsiteY62" fmla="*/ 148346 h 342340"/>
                  <a:gd name="connsiteX63" fmla="*/ 228234 w 342349"/>
                  <a:gd name="connsiteY63" fmla="*/ 148346 h 342340"/>
                  <a:gd name="connsiteX64" fmla="*/ 233940 w 342349"/>
                  <a:gd name="connsiteY64" fmla="*/ 142640 h 342340"/>
                  <a:gd name="connsiteX65" fmla="*/ 233940 w 342349"/>
                  <a:gd name="connsiteY65" fmla="*/ 113594 h 342340"/>
                  <a:gd name="connsiteX66" fmla="*/ 284144 w 342349"/>
                  <a:gd name="connsiteY66" fmla="*/ 148346 h 342340"/>
                  <a:gd name="connsiteX67" fmla="*/ 268174 w 342349"/>
                  <a:gd name="connsiteY67" fmla="*/ 148346 h 342340"/>
                  <a:gd name="connsiteX68" fmla="*/ 262468 w 342349"/>
                  <a:gd name="connsiteY68" fmla="*/ 154053 h 342340"/>
                  <a:gd name="connsiteX69" fmla="*/ 262468 w 342349"/>
                  <a:gd name="connsiteY69" fmla="*/ 199696 h 342340"/>
                  <a:gd name="connsiteX70" fmla="*/ 268174 w 342349"/>
                  <a:gd name="connsiteY70" fmla="*/ 205402 h 342340"/>
                  <a:gd name="connsiteX71" fmla="*/ 336643 w 342349"/>
                  <a:gd name="connsiteY71" fmla="*/ 205402 h 342340"/>
                  <a:gd name="connsiteX72" fmla="*/ 342349 w 342349"/>
                  <a:gd name="connsiteY72" fmla="*/ 199696 h 342340"/>
                  <a:gd name="connsiteX73" fmla="*/ 342349 w 342349"/>
                  <a:gd name="connsiteY73" fmla="*/ 154053 h 342340"/>
                  <a:gd name="connsiteX74" fmla="*/ 336643 w 342349"/>
                  <a:gd name="connsiteY74" fmla="*/ 148346 h 342340"/>
                  <a:gd name="connsiteX75" fmla="*/ 68464 w 342349"/>
                  <a:gd name="connsiteY75" fmla="*/ 193992 h 342340"/>
                  <a:gd name="connsiteX76" fmla="*/ 11408 w 342349"/>
                  <a:gd name="connsiteY76" fmla="*/ 193992 h 342340"/>
                  <a:gd name="connsiteX77" fmla="*/ 11408 w 342349"/>
                  <a:gd name="connsiteY77" fmla="*/ 182581 h 342340"/>
                  <a:gd name="connsiteX78" fmla="*/ 68464 w 342349"/>
                  <a:gd name="connsiteY78" fmla="*/ 182581 h 342340"/>
                  <a:gd name="connsiteX79" fmla="*/ 68464 w 342349"/>
                  <a:gd name="connsiteY79" fmla="*/ 171169 h 342340"/>
                  <a:gd name="connsiteX80" fmla="*/ 11408 w 342349"/>
                  <a:gd name="connsiteY80" fmla="*/ 171169 h 342340"/>
                  <a:gd name="connsiteX81" fmla="*/ 11408 w 342349"/>
                  <a:gd name="connsiteY81" fmla="*/ 159757 h 342340"/>
                  <a:gd name="connsiteX82" fmla="*/ 68464 w 342349"/>
                  <a:gd name="connsiteY82" fmla="*/ 159757 h 342340"/>
                  <a:gd name="connsiteX83" fmla="*/ 91285 w 342349"/>
                  <a:gd name="connsiteY83" fmla="*/ 290987 h 342340"/>
                  <a:gd name="connsiteX84" fmla="*/ 34229 w 342349"/>
                  <a:gd name="connsiteY84" fmla="*/ 290987 h 342340"/>
                  <a:gd name="connsiteX85" fmla="*/ 34229 w 342349"/>
                  <a:gd name="connsiteY85" fmla="*/ 279576 h 342340"/>
                  <a:gd name="connsiteX86" fmla="*/ 91285 w 342349"/>
                  <a:gd name="connsiteY86" fmla="*/ 279576 h 342340"/>
                  <a:gd name="connsiteX87" fmla="*/ 91285 w 342349"/>
                  <a:gd name="connsiteY87" fmla="*/ 268166 h 342340"/>
                  <a:gd name="connsiteX88" fmla="*/ 34229 w 342349"/>
                  <a:gd name="connsiteY88" fmla="*/ 268166 h 342340"/>
                  <a:gd name="connsiteX89" fmla="*/ 34229 w 342349"/>
                  <a:gd name="connsiteY89" fmla="*/ 256754 h 342340"/>
                  <a:gd name="connsiteX90" fmla="*/ 91285 w 342349"/>
                  <a:gd name="connsiteY90" fmla="*/ 256754 h 342340"/>
                  <a:gd name="connsiteX91" fmla="*/ 199695 w 342349"/>
                  <a:gd name="connsiteY91" fmla="*/ 330928 h 342340"/>
                  <a:gd name="connsiteX92" fmla="*/ 142639 w 342349"/>
                  <a:gd name="connsiteY92" fmla="*/ 330928 h 342340"/>
                  <a:gd name="connsiteX93" fmla="*/ 142639 w 342349"/>
                  <a:gd name="connsiteY93" fmla="*/ 319517 h 342340"/>
                  <a:gd name="connsiteX94" fmla="*/ 199695 w 342349"/>
                  <a:gd name="connsiteY94" fmla="*/ 319517 h 342340"/>
                  <a:gd name="connsiteX95" fmla="*/ 199695 w 342349"/>
                  <a:gd name="connsiteY95" fmla="*/ 308107 h 342340"/>
                  <a:gd name="connsiteX96" fmla="*/ 142639 w 342349"/>
                  <a:gd name="connsiteY96" fmla="*/ 308107 h 342340"/>
                  <a:gd name="connsiteX97" fmla="*/ 142639 w 342349"/>
                  <a:gd name="connsiteY97" fmla="*/ 296695 h 342340"/>
                  <a:gd name="connsiteX98" fmla="*/ 199695 w 342349"/>
                  <a:gd name="connsiteY98" fmla="*/ 296695 h 342340"/>
                  <a:gd name="connsiteX99" fmla="*/ 308101 w 342349"/>
                  <a:gd name="connsiteY99" fmla="*/ 290989 h 342340"/>
                  <a:gd name="connsiteX100" fmla="*/ 251045 w 342349"/>
                  <a:gd name="connsiteY100" fmla="*/ 290989 h 342340"/>
                  <a:gd name="connsiteX101" fmla="*/ 251045 w 342349"/>
                  <a:gd name="connsiteY101" fmla="*/ 279578 h 342340"/>
                  <a:gd name="connsiteX102" fmla="*/ 308101 w 342349"/>
                  <a:gd name="connsiteY102" fmla="*/ 279578 h 342340"/>
                  <a:gd name="connsiteX103" fmla="*/ 308101 w 342349"/>
                  <a:gd name="connsiteY103" fmla="*/ 268168 h 342340"/>
                  <a:gd name="connsiteX104" fmla="*/ 251045 w 342349"/>
                  <a:gd name="connsiteY104" fmla="*/ 268168 h 342340"/>
                  <a:gd name="connsiteX105" fmla="*/ 251045 w 342349"/>
                  <a:gd name="connsiteY105" fmla="*/ 256756 h 342340"/>
                  <a:gd name="connsiteX106" fmla="*/ 308101 w 342349"/>
                  <a:gd name="connsiteY106" fmla="*/ 256756 h 342340"/>
                  <a:gd name="connsiteX107" fmla="*/ 222517 w 342349"/>
                  <a:gd name="connsiteY107" fmla="*/ 136936 h 342340"/>
                  <a:gd name="connsiteX108" fmla="*/ 119818 w 342349"/>
                  <a:gd name="connsiteY108" fmla="*/ 136936 h 342340"/>
                  <a:gd name="connsiteX109" fmla="*/ 119818 w 342349"/>
                  <a:gd name="connsiteY109" fmla="*/ 54092 h 342340"/>
                  <a:gd name="connsiteX110" fmla="*/ 171167 w 342349"/>
                  <a:gd name="connsiteY110" fmla="*/ 13011 h 342340"/>
                  <a:gd name="connsiteX111" fmla="*/ 190424 w 342349"/>
                  <a:gd name="connsiteY111" fmla="*/ 28416 h 342340"/>
                  <a:gd name="connsiteX112" fmla="*/ 196460 w 342349"/>
                  <a:gd name="connsiteY112" fmla="*/ 29107 h 342340"/>
                  <a:gd name="connsiteX113" fmla="*/ 199695 w 342349"/>
                  <a:gd name="connsiteY113" fmla="*/ 23968 h 342340"/>
                  <a:gd name="connsiteX114" fmla="*/ 199695 w 342349"/>
                  <a:gd name="connsiteY114" fmla="*/ 11414 h 342340"/>
                  <a:gd name="connsiteX115" fmla="*/ 211107 w 342349"/>
                  <a:gd name="connsiteY115" fmla="*/ 11414 h 342340"/>
                  <a:gd name="connsiteX116" fmla="*/ 211107 w 342349"/>
                  <a:gd name="connsiteY116" fmla="*/ 42224 h 342340"/>
                  <a:gd name="connsiteX117" fmla="*/ 213247 w 342349"/>
                  <a:gd name="connsiteY117" fmla="*/ 46680 h 342340"/>
                  <a:gd name="connsiteX118" fmla="*/ 222517 w 342349"/>
                  <a:gd name="connsiteY118" fmla="*/ 54092 h 342340"/>
                  <a:gd name="connsiteX119" fmla="*/ 273866 w 342349"/>
                  <a:gd name="connsiteY119" fmla="*/ 159760 h 342340"/>
                  <a:gd name="connsiteX120" fmla="*/ 330922 w 342349"/>
                  <a:gd name="connsiteY120" fmla="*/ 159760 h 342340"/>
                  <a:gd name="connsiteX121" fmla="*/ 330922 w 342349"/>
                  <a:gd name="connsiteY121" fmla="*/ 171171 h 342340"/>
                  <a:gd name="connsiteX122" fmla="*/ 273866 w 342349"/>
                  <a:gd name="connsiteY122" fmla="*/ 171169 h 342340"/>
                  <a:gd name="connsiteX123" fmla="*/ 330922 w 342349"/>
                  <a:gd name="connsiteY123" fmla="*/ 193993 h 342340"/>
                  <a:gd name="connsiteX124" fmla="*/ 273866 w 342349"/>
                  <a:gd name="connsiteY124" fmla="*/ 193993 h 342340"/>
                  <a:gd name="connsiteX125" fmla="*/ 273866 w 342349"/>
                  <a:gd name="connsiteY125" fmla="*/ 182581 h 342340"/>
                  <a:gd name="connsiteX126" fmla="*/ 330922 w 342349"/>
                  <a:gd name="connsiteY126" fmla="*/ 182581 h 342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342349" h="342340">
                    <a:moveTo>
                      <a:pt x="336629" y="148347"/>
                    </a:moveTo>
                    <a:lnTo>
                      <a:pt x="304181" y="148347"/>
                    </a:lnTo>
                    <a:lnTo>
                      <a:pt x="233929" y="99713"/>
                    </a:lnTo>
                    <a:lnTo>
                      <a:pt x="233929" y="51350"/>
                    </a:lnTo>
                    <a:cubicBezTo>
                      <a:pt x="233929" y="49615"/>
                      <a:pt x="233142" y="47977"/>
                      <a:pt x="231788" y="46893"/>
                    </a:cubicBezTo>
                    <a:lnTo>
                      <a:pt x="222517" y="39477"/>
                    </a:lnTo>
                    <a:lnTo>
                      <a:pt x="222517" y="5706"/>
                    </a:lnTo>
                    <a:cubicBezTo>
                      <a:pt x="222517" y="2556"/>
                      <a:pt x="219961" y="0"/>
                      <a:pt x="216811" y="0"/>
                    </a:cubicBezTo>
                    <a:lnTo>
                      <a:pt x="193989" y="0"/>
                    </a:lnTo>
                    <a:cubicBezTo>
                      <a:pt x="190839" y="0"/>
                      <a:pt x="188283" y="2556"/>
                      <a:pt x="188283" y="5706"/>
                    </a:cubicBezTo>
                    <a:lnTo>
                      <a:pt x="188283" y="12097"/>
                    </a:lnTo>
                    <a:lnTo>
                      <a:pt x="174733" y="1257"/>
                    </a:lnTo>
                    <a:cubicBezTo>
                      <a:pt x="172651" y="-409"/>
                      <a:pt x="169689" y="-409"/>
                      <a:pt x="167606" y="1257"/>
                    </a:cubicBezTo>
                    <a:lnTo>
                      <a:pt x="110550" y="46903"/>
                    </a:lnTo>
                    <a:cubicBezTo>
                      <a:pt x="109193" y="47979"/>
                      <a:pt x="108406" y="49615"/>
                      <a:pt x="108406" y="51349"/>
                    </a:cubicBezTo>
                    <a:lnTo>
                      <a:pt x="108406" y="99713"/>
                    </a:lnTo>
                    <a:lnTo>
                      <a:pt x="38154" y="148346"/>
                    </a:lnTo>
                    <a:lnTo>
                      <a:pt x="5706" y="148346"/>
                    </a:lnTo>
                    <a:cubicBezTo>
                      <a:pt x="2556" y="148346"/>
                      <a:pt x="0" y="150902"/>
                      <a:pt x="0" y="154053"/>
                    </a:cubicBezTo>
                    <a:lnTo>
                      <a:pt x="0" y="199696"/>
                    </a:lnTo>
                    <a:cubicBezTo>
                      <a:pt x="0" y="202846"/>
                      <a:pt x="2556" y="205402"/>
                      <a:pt x="5706" y="205402"/>
                    </a:cubicBezTo>
                    <a:lnTo>
                      <a:pt x="74175" y="205402"/>
                    </a:lnTo>
                    <a:cubicBezTo>
                      <a:pt x="77325" y="205402"/>
                      <a:pt x="79881" y="202846"/>
                      <a:pt x="79881" y="199696"/>
                    </a:cubicBezTo>
                    <a:lnTo>
                      <a:pt x="79881" y="154053"/>
                    </a:lnTo>
                    <a:cubicBezTo>
                      <a:pt x="79881" y="150903"/>
                      <a:pt x="77326" y="148346"/>
                      <a:pt x="74175" y="148346"/>
                    </a:cubicBezTo>
                    <a:lnTo>
                      <a:pt x="58205" y="148346"/>
                    </a:lnTo>
                    <a:lnTo>
                      <a:pt x="108409" y="113594"/>
                    </a:lnTo>
                    <a:lnTo>
                      <a:pt x="108409" y="142640"/>
                    </a:lnTo>
                    <a:cubicBezTo>
                      <a:pt x="108409" y="145791"/>
                      <a:pt x="110965" y="148346"/>
                      <a:pt x="114115" y="148346"/>
                    </a:cubicBezTo>
                    <a:lnTo>
                      <a:pt x="151694" y="148346"/>
                    </a:lnTo>
                    <a:lnTo>
                      <a:pt x="54697" y="245344"/>
                    </a:lnTo>
                    <a:lnTo>
                      <a:pt x="28530" y="245344"/>
                    </a:lnTo>
                    <a:cubicBezTo>
                      <a:pt x="25380" y="245344"/>
                      <a:pt x="22824" y="247900"/>
                      <a:pt x="22824" y="251050"/>
                    </a:cubicBezTo>
                    <a:lnTo>
                      <a:pt x="22824" y="296693"/>
                    </a:lnTo>
                    <a:cubicBezTo>
                      <a:pt x="22824" y="299843"/>
                      <a:pt x="25380" y="302399"/>
                      <a:pt x="28530" y="302399"/>
                    </a:cubicBezTo>
                    <a:lnTo>
                      <a:pt x="96999" y="302399"/>
                    </a:lnTo>
                    <a:cubicBezTo>
                      <a:pt x="100149" y="302399"/>
                      <a:pt x="102706" y="299843"/>
                      <a:pt x="102706" y="296693"/>
                    </a:cubicBezTo>
                    <a:lnTo>
                      <a:pt x="102706" y="251050"/>
                    </a:lnTo>
                    <a:cubicBezTo>
                      <a:pt x="102706" y="247900"/>
                      <a:pt x="100150" y="245344"/>
                      <a:pt x="96999" y="245344"/>
                    </a:cubicBezTo>
                    <a:lnTo>
                      <a:pt x="70833" y="245344"/>
                    </a:lnTo>
                    <a:lnTo>
                      <a:pt x="165468" y="150709"/>
                    </a:lnTo>
                    <a:lnTo>
                      <a:pt x="165468" y="285285"/>
                    </a:lnTo>
                    <a:lnTo>
                      <a:pt x="136940" y="285285"/>
                    </a:lnTo>
                    <a:cubicBezTo>
                      <a:pt x="133790" y="285285"/>
                      <a:pt x="131234" y="287840"/>
                      <a:pt x="131234" y="290991"/>
                    </a:cubicBezTo>
                    <a:lnTo>
                      <a:pt x="131234" y="336634"/>
                    </a:lnTo>
                    <a:cubicBezTo>
                      <a:pt x="131234" y="339784"/>
                      <a:pt x="133790" y="342340"/>
                      <a:pt x="136940" y="342340"/>
                    </a:cubicBezTo>
                    <a:lnTo>
                      <a:pt x="205409" y="342340"/>
                    </a:lnTo>
                    <a:cubicBezTo>
                      <a:pt x="208559" y="342340"/>
                      <a:pt x="211115" y="339784"/>
                      <a:pt x="211115" y="336634"/>
                    </a:cubicBezTo>
                    <a:lnTo>
                      <a:pt x="211115" y="290991"/>
                    </a:lnTo>
                    <a:cubicBezTo>
                      <a:pt x="211115" y="287841"/>
                      <a:pt x="208560" y="285285"/>
                      <a:pt x="205409" y="285285"/>
                    </a:cubicBezTo>
                    <a:lnTo>
                      <a:pt x="176882" y="285285"/>
                    </a:lnTo>
                    <a:lnTo>
                      <a:pt x="176880" y="150709"/>
                    </a:lnTo>
                    <a:lnTo>
                      <a:pt x="271514" y="245344"/>
                    </a:lnTo>
                    <a:lnTo>
                      <a:pt x="245350" y="245344"/>
                    </a:lnTo>
                    <a:cubicBezTo>
                      <a:pt x="242199" y="245344"/>
                      <a:pt x="239644" y="247900"/>
                      <a:pt x="239644" y="251050"/>
                    </a:cubicBezTo>
                    <a:lnTo>
                      <a:pt x="239644" y="296693"/>
                    </a:lnTo>
                    <a:cubicBezTo>
                      <a:pt x="239644" y="299843"/>
                      <a:pt x="242199" y="302399"/>
                      <a:pt x="245350" y="302399"/>
                    </a:cubicBezTo>
                    <a:lnTo>
                      <a:pt x="313819" y="302399"/>
                    </a:lnTo>
                    <a:cubicBezTo>
                      <a:pt x="316969" y="302399"/>
                      <a:pt x="319525" y="299843"/>
                      <a:pt x="319525" y="296693"/>
                    </a:cubicBezTo>
                    <a:lnTo>
                      <a:pt x="319525" y="251050"/>
                    </a:lnTo>
                    <a:cubicBezTo>
                      <a:pt x="319525" y="247900"/>
                      <a:pt x="316969" y="245344"/>
                      <a:pt x="313819" y="245344"/>
                    </a:cubicBezTo>
                    <a:lnTo>
                      <a:pt x="287653" y="245344"/>
                    </a:lnTo>
                    <a:lnTo>
                      <a:pt x="190656" y="148346"/>
                    </a:lnTo>
                    <a:lnTo>
                      <a:pt x="228234" y="148346"/>
                    </a:lnTo>
                    <a:cubicBezTo>
                      <a:pt x="231384" y="148346"/>
                      <a:pt x="233940" y="145791"/>
                      <a:pt x="233940" y="142640"/>
                    </a:cubicBezTo>
                    <a:lnTo>
                      <a:pt x="233940" y="113594"/>
                    </a:lnTo>
                    <a:lnTo>
                      <a:pt x="284144" y="148346"/>
                    </a:lnTo>
                    <a:lnTo>
                      <a:pt x="268174" y="148346"/>
                    </a:lnTo>
                    <a:cubicBezTo>
                      <a:pt x="265024" y="148346"/>
                      <a:pt x="262468" y="150902"/>
                      <a:pt x="262468" y="154053"/>
                    </a:cubicBezTo>
                    <a:lnTo>
                      <a:pt x="262468" y="199696"/>
                    </a:lnTo>
                    <a:cubicBezTo>
                      <a:pt x="262468" y="202846"/>
                      <a:pt x="265024" y="205402"/>
                      <a:pt x="268174" y="205402"/>
                    </a:cubicBezTo>
                    <a:lnTo>
                      <a:pt x="336643" y="205402"/>
                    </a:lnTo>
                    <a:cubicBezTo>
                      <a:pt x="339793" y="205402"/>
                      <a:pt x="342349" y="202846"/>
                      <a:pt x="342349" y="199696"/>
                    </a:cubicBezTo>
                    <a:lnTo>
                      <a:pt x="342349" y="154053"/>
                    </a:lnTo>
                    <a:cubicBezTo>
                      <a:pt x="342349" y="150903"/>
                      <a:pt x="339794" y="148346"/>
                      <a:pt x="336643" y="148346"/>
                    </a:cubicBezTo>
                    <a:close/>
                    <a:moveTo>
                      <a:pt x="68464" y="193992"/>
                    </a:moveTo>
                    <a:lnTo>
                      <a:pt x="11408" y="193992"/>
                    </a:lnTo>
                    <a:lnTo>
                      <a:pt x="11408" y="182581"/>
                    </a:lnTo>
                    <a:lnTo>
                      <a:pt x="68464" y="182581"/>
                    </a:lnTo>
                    <a:close/>
                    <a:moveTo>
                      <a:pt x="68464" y="171169"/>
                    </a:moveTo>
                    <a:lnTo>
                      <a:pt x="11408" y="171169"/>
                    </a:lnTo>
                    <a:lnTo>
                      <a:pt x="11408" y="159757"/>
                    </a:lnTo>
                    <a:lnTo>
                      <a:pt x="68464" y="159757"/>
                    </a:lnTo>
                    <a:close/>
                    <a:moveTo>
                      <a:pt x="91285" y="290987"/>
                    </a:moveTo>
                    <a:lnTo>
                      <a:pt x="34229" y="290987"/>
                    </a:lnTo>
                    <a:lnTo>
                      <a:pt x="34229" y="279576"/>
                    </a:lnTo>
                    <a:lnTo>
                      <a:pt x="91285" y="279576"/>
                    </a:lnTo>
                    <a:close/>
                    <a:moveTo>
                      <a:pt x="91285" y="268166"/>
                    </a:moveTo>
                    <a:lnTo>
                      <a:pt x="34229" y="268166"/>
                    </a:lnTo>
                    <a:lnTo>
                      <a:pt x="34229" y="256754"/>
                    </a:lnTo>
                    <a:lnTo>
                      <a:pt x="91285" y="256754"/>
                    </a:lnTo>
                    <a:close/>
                    <a:moveTo>
                      <a:pt x="199695" y="330928"/>
                    </a:moveTo>
                    <a:lnTo>
                      <a:pt x="142639" y="330928"/>
                    </a:lnTo>
                    <a:lnTo>
                      <a:pt x="142639" y="319517"/>
                    </a:lnTo>
                    <a:lnTo>
                      <a:pt x="199695" y="319517"/>
                    </a:lnTo>
                    <a:close/>
                    <a:moveTo>
                      <a:pt x="199695" y="308107"/>
                    </a:moveTo>
                    <a:lnTo>
                      <a:pt x="142639" y="308107"/>
                    </a:lnTo>
                    <a:lnTo>
                      <a:pt x="142639" y="296695"/>
                    </a:lnTo>
                    <a:lnTo>
                      <a:pt x="199695" y="296695"/>
                    </a:lnTo>
                    <a:close/>
                    <a:moveTo>
                      <a:pt x="308101" y="290989"/>
                    </a:moveTo>
                    <a:lnTo>
                      <a:pt x="251045" y="290989"/>
                    </a:lnTo>
                    <a:lnTo>
                      <a:pt x="251045" y="279578"/>
                    </a:lnTo>
                    <a:lnTo>
                      <a:pt x="308101" y="279578"/>
                    </a:lnTo>
                    <a:close/>
                    <a:moveTo>
                      <a:pt x="308101" y="268168"/>
                    </a:moveTo>
                    <a:lnTo>
                      <a:pt x="251045" y="268168"/>
                    </a:lnTo>
                    <a:lnTo>
                      <a:pt x="251045" y="256756"/>
                    </a:lnTo>
                    <a:lnTo>
                      <a:pt x="308101" y="256756"/>
                    </a:lnTo>
                    <a:close/>
                    <a:moveTo>
                      <a:pt x="222517" y="136936"/>
                    </a:moveTo>
                    <a:lnTo>
                      <a:pt x="119818" y="136936"/>
                    </a:lnTo>
                    <a:lnTo>
                      <a:pt x="119818" y="54092"/>
                    </a:lnTo>
                    <a:lnTo>
                      <a:pt x="171167" y="13011"/>
                    </a:lnTo>
                    <a:lnTo>
                      <a:pt x="190424" y="28416"/>
                    </a:lnTo>
                    <a:cubicBezTo>
                      <a:pt x="192136" y="29785"/>
                      <a:pt x="194480" y="30043"/>
                      <a:pt x="196460" y="29107"/>
                    </a:cubicBezTo>
                    <a:cubicBezTo>
                      <a:pt x="198440" y="28162"/>
                      <a:pt x="199695" y="26157"/>
                      <a:pt x="199695" y="23968"/>
                    </a:cubicBezTo>
                    <a:lnTo>
                      <a:pt x="199695" y="11414"/>
                    </a:lnTo>
                    <a:lnTo>
                      <a:pt x="211107" y="11414"/>
                    </a:lnTo>
                    <a:lnTo>
                      <a:pt x="211107" y="42224"/>
                    </a:lnTo>
                    <a:cubicBezTo>
                      <a:pt x="211107" y="43958"/>
                      <a:pt x="211894" y="45596"/>
                      <a:pt x="213247" y="46680"/>
                    </a:cubicBezTo>
                    <a:lnTo>
                      <a:pt x="222517" y="54092"/>
                    </a:lnTo>
                    <a:close/>
                    <a:moveTo>
                      <a:pt x="273866" y="159760"/>
                    </a:moveTo>
                    <a:lnTo>
                      <a:pt x="330922" y="159760"/>
                    </a:lnTo>
                    <a:lnTo>
                      <a:pt x="330922" y="171171"/>
                    </a:lnTo>
                    <a:lnTo>
                      <a:pt x="273866" y="171169"/>
                    </a:lnTo>
                    <a:close/>
                    <a:moveTo>
                      <a:pt x="330922" y="193993"/>
                    </a:moveTo>
                    <a:lnTo>
                      <a:pt x="273866" y="193993"/>
                    </a:lnTo>
                    <a:lnTo>
                      <a:pt x="273866" y="182581"/>
                    </a:lnTo>
                    <a:lnTo>
                      <a:pt x="330922" y="182581"/>
                    </a:lnTo>
                    <a:close/>
                  </a:path>
                </a:pathLst>
              </a:custGeom>
              <a:grpFill/>
              <a:ln w="4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146" name="Arrow: Right 145">
              <a:extLst>
                <a:ext uri="{FF2B5EF4-FFF2-40B4-BE49-F238E27FC236}">
                  <a16:creationId xmlns:a16="http://schemas.microsoft.com/office/drawing/2014/main" id="{35862887-798F-4D1A-8265-32FA4F4D79D3}"/>
                </a:ext>
              </a:extLst>
            </p:cNvPr>
            <p:cNvSpPr/>
            <p:nvPr/>
          </p:nvSpPr>
          <p:spPr>
            <a:xfrm>
              <a:off x="10227076" y="2301801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147" name="Arrow: Right 146">
              <a:extLst>
                <a:ext uri="{FF2B5EF4-FFF2-40B4-BE49-F238E27FC236}">
                  <a16:creationId xmlns:a16="http://schemas.microsoft.com/office/drawing/2014/main" id="{F2AA5B9D-9842-4FA1-847E-8DC380540F6D}"/>
                </a:ext>
              </a:extLst>
            </p:cNvPr>
            <p:cNvSpPr/>
            <p:nvPr/>
          </p:nvSpPr>
          <p:spPr>
            <a:xfrm>
              <a:off x="10211327" y="2865871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148" name="Arrow: Right 147">
              <a:extLst>
                <a:ext uri="{FF2B5EF4-FFF2-40B4-BE49-F238E27FC236}">
                  <a16:creationId xmlns:a16="http://schemas.microsoft.com/office/drawing/2014/main" id="{BEE81661-8929-432A-B2CD-E8988B2C02FE}"/>
                </a:ext>
              </a:extLst>
            </p:cNvPr>
            <p:cNvSpPr/>
            <p:nvPr/>
          </p:nvSpPr>
          <p:spPr>
            <a:xfrm>
              <a:off x="10222910" y="3373430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149" name="Arrow: Right 148">
              <a:extLst>
                <a:ext uri="{FF2B5EF4-FFF2-40B4-BE49-F238E27FC236}">
                  <a16:creationId xmlns:a16="http://schemas.microsoft.com/office/drawing/2014/main" id="{7F743B21-5CE8-4709-8217-F8E5E6756D93}"/>
                </a:ext>
              </a:extLst>
            </p:cNvPr>
            <p:cNvSpPr/>
            <p:nvPr/>
          </p:nvSpPr>
          <p:spPr>
            <a:xfrm>
              <a:off x="10225266" y="3925311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150" name="Arrow: Right 149">
              <a:extLst>
                <a:ext uri="{FF2B5EF4-FFF2-40B4-BE49-F238E27FC236}">
                  <a16:creationId xmlns:a16="http://schemas.microsoft.com/office/drawing/2014/main" id="{DD6FEB9D-503C-456A-9325-1B1F28DD8B7F}"/>
                </a:ext>
              </a:extLst>
            </p:cNvPr>
            <p:cNvSpPr/>
            <p:nvPr/>
          </p:nvSpPr>
          <p:spPr>
            <a:xfrm>
              <a:off x="10226171" y="4877437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D5BE0A55-C8DD-4D13-9FDC-54B1BEB72F7D}"/>
                </a:ext>
              </a:extLst>
            </p:cNvPr>
            <p:cNvSpPr/>
            <p:nvPr/>
          </p:nvSpPr>
          <p:spPr>
            <a:xfrm>
              <a:off x="10542149" y="2966212"/>
              <a:ext cx="1136342" cy="1266314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PPLICATIONS</a:t>
              </a:r>
            </a:p>
          </p:txBody>
        </p:sp>
        <p:pic>
          <p:nvPicPr>
            <p:cNvPr id="152" name="Picture 151" descr="Text&#10;&#10;Description automatically generated">
              <a:extLst>
                <a:ext uri="{FF2B5EF4-FFF2-40B4-BE49-F238E27FC236}">
                  <a16:creationId xmlns:a16="http://schemas.microsoft.com/office/drawing/2014/main" id="{A5918854-4566-4C28-A4F7-5A18DA600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643263" y="3204360"/>
              <a:ext cx="901407" cy="378591"/>
            </a:xfrm>
            <a:prstGeom prst="rect">
              <a:avLst/>
            </a:prstGeom>
          </p:spPr>
        </p:pic>
        <p:pic>
          <p:nvPicPr>
            <p:cNvPr id="153" name="Picture 152" descr="Logo&#10;&#10;Description automatically generated">
              <a:extLst>
                <a:ext uri="{FF2B5EF4-FFF2-40B4-BE49-F238E27FC236}">
                  <a16:creationId xmlns:a16="http://schemas.microsoft.com/office/drawing/2014/main" id="{AF7EEE1F-9305-4477-8945-44CFC500C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595014" y="3592940"/>
              <a:ext cx="997904" cy="296520"/>
            </a:xfrm>
            <a:prstGeom prst="rect">
              <a:avLst/>
            </a:prstGeom>
          </p:spPr>
        </p:pic>
        <p:pic>
          <p:nvPicPr>
            <p:cNvPr id="154" name="Picture 153" descr="Logo&#10;&#10;Description automatically generated">
              <a:extLst>
                <a:ext uri="{FF2B5EF4-FFF2-40B4-BE49-F238E27FC236}">
                  <a16:creationId xmlns:a16="http://schemas.microsoft.com/office/drawing/2014/main" id="{EC75B189-0703-4DE6-8617-4970FDCB4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0866802" y="3878469"/>
              <a:ext cx="587825" cy="317743"/>
            </a:xfrm>
            <a:prstGeom prst="rect">
              <a:avLst/>
            </a:prstGeom>
          </p:spPr>
        </p:pic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035E7287-B963-4AAB-B128-A042A9BB864B}"/>
                </a:ext>
              </a:extLst>
            </p:cNvPr>
            <p:cNvSpPr txBox="1"/>
            <p:nvPr/>
          </p:nvSpPr>
          <p:spPr>
            <a:xfrm>
              <a:off x="3959204" y="3098387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L2 Data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9B72310B-66AB-45B8-AD23-B206BF151DEA}"/>
                </a:ext>
              </a:extLst>
            </p:cNvPr>
            <p:cNvSpPr txBox="1"/>
            <p:nvPr/>
          </p:nvSpPr>
          <p:spPr>
            <a:xfrm>
              <a:off x="5081915" y="3156574"/>
              <a:ext cx="11817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Streams</a:t>
              </a:r>
              <a:r>
                <a:rPr lang="en-AU" sz="800">
                  <a:solidFill>
                    <a:schemeClr val="accent2"/>
                  </a:solidFill>
                </a:rPr>
                <a:t> </a:t>
              </a:r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and</a:t>
              </a:r>
              <a:r>
                <a:rPr lang="en-AU" sz="800">
                  <a:solidFill>
                    <a:schemeClr val="accent2"/>
                  </a:solidFill>
                </a:rPr>
                <a:t> </a:t>
              </a:r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Tasks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F544058F-3197-4F9B-B529-202E4229EC11}"/>
                </a:ext>
              </a:extLst>
            </p:cNvPr>
            <p:cNvSpPr txBox="1"/>
            <p:nvPr/>
          </p:nvSpPr>
          <p:spPr>
            <a:xfrm>
              <a:off x="5234560" y="3786266"/>
              <a:ext cx="72167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SnowPark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4F63BD8C-DBEB-46CD-9D34-8A87A7A3A3E1}"/>
                </a:ext>
              </a:extLst>
            </p:cNvPr>
            <p:cNvSpPr txBox="1"/>
            <p:nvPr/>
          </p:nvSpPr>
          <p:spPr>
            <a:xfrm>
              <a:off x="5006903" y="4399586"/>
              <a:ext cx="11961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Stored Procedures</a:t>
              </a: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01C08B36-C938-4DD4-858A-6DC1464C11ED}"/>
                </a:ext>
              </a:extLst>
            </p:cNvPr>
            <p:cNvSpPr txBox="1"/>
            <p:nvPr/>
          </p:nvSpPr>
          <p:spPr>
            <a:xfrm>
              <a:off x="6294668" y="3027337"/>
              <a:ext cx="47801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sz="800" b="0">
                  <a:solidFill>
                    <a:schemeClr val="accent2"/>
                  </a:solidFill>
                </a:rPr>
                <a:t>MRDW</a:t>
              </a:r>
              <a:endParaRPr lang="en-AU" b="0">
                <a:solidFill>
                  <a:schemeClr val="accent2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201C6D35-3A32-4FE5-9450-F4BA995840CE}"/>
                </a:ext>
              </a:extLst>
            </p:cNvPr>
            <p:cNvSpPr txBox="1"/>
            <p:nvPr/>
          </p:nvSpPr>
          <p:spPr>
            <a:xfrm>
              <a:off x="6767257" y="3321733"/>
              <a:ext cx="47652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sz="800" b="0">
                  <a:solidFill>
                    <a:schemeClr val="accent2"/>
                  </a:solidFill>
                </a:rPr>
                <a:t>HR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D3DB7E0C-3E69-4DAD-A230-D4EE05E3BFFD}"/>
                </a:ext>
              </a:extLst>
            </p:cNvPr>
            <p:cNvSpPr txBox="1"/>
            <p:nvPr/>
          </p:nvSpPr>
          <p:spPr>
            <a:xfrm>
              <a:off x="7707638" y="2920185"/>
              <a:ext cx="87235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Materialised</a:t>
              </a:r>
              <a:r>
                <a:rPr lang="en-AU" sz="800">
                  <a:solidFill>
                    <a:schemeClr val="accent2"/>
                  </a:solidFill>
                </a:rPr>
                <a:t> </a:t>
              </a:r>
            </a:p>
            <a:p>
              <a:pPr algn="ctr"/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Views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2BD443AF-49F1-45AC-A053-5E8AA8E39EB9}"/>
                </a:ext>
              </a:extLst>
            </p:cNvPr>
            <p:cNvSpPr txBox="1"/>
            <p:nvPr/>
          </p:nvSpPr>
          <p:spPr>
            <a:xfrm>
              <a:off x="7611892" y="3640910"/>
              <a:ext cx="110959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Zero Copy Clone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93678BA8-B11B-46CA-B54C-44EA7766D4AF}"/>
                </a:ext>
              </a:extLst>
            </p:cNvPr>
            <p:cNvSpPr txBox="1"/>
            <p:nvPr/>
          </p:nvSpPr>
          <p:spPr>
            <a:xfrm>
              <a:off x="4088603" y="5560746"/>
              <a:ext cx="1200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Role Based Access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575E8A2-029A-47F9-822F-7B16609892D3}"/>
                </a:ext>
              </a:extLst>
            </p:cNvPr>
            <p:cNvSpPr txBox="1"/>
            <p:nvPr/>
          </p:nvSpPr>
          <p:spPr>
            <a:xfrm>
              <a:off x="5977072" y="5576135"/>
              <a:ext cx="47641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Audit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CD79716-5A90-4CCB-9C58-180F55BB2DAD}"/>
                </a:ext>
              </a:extLst>
            </p:cNvPr>
            <p:cNvSpPr txBox="1"/>
            <p:nvPr/>
          </p:nvSpPr>
          <p:spPr>
            <a:xfrm>
              <a:off x="7017779" y="5563656"/>
              <a:ext cx="69121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Metadata</a:t>
              </a:r>
            </a:p>
          </p:txBody>
        </p:sp>
        <p:grpSp>
          <p:nvGrpSpPr>
            <p:cNvPr id="166" name="Graphic 481">
              <a:extLst>
                <a:ext uri="{FF2B5EF4-FFF2-40B4-BE49-F238E27FC236}">
                  <a16:creationId xmlns:a16="http://schemas.microsoft.com/office/drawing/2014/main" id="{5E4D3ECB-8181-42FA-A3BF-18E082AEC7C0}"/>
                </a:ext>
              </a:extLst>
            </p:cNvPr>
            <p:cNvGrpSpPr/>
            <p:nvPr/>
          </p:nvGrpSpPr>
          <p:grpSpPr>
            <a:xfrm>
              <a:off x="6832662" y="3533320"/>
              <a:ext cx="384876" cy="410662"/>
              <a:chOff x="2812132" y="6315156"/>
              <a:chExt cx="384876" cy="410662"/>
            </a:xfrm>
            <a:solidFill>
              <a:schemeClr val="accent2"/>
            </a:solidFill>
          </p:grpSpPr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F90D132A-9C71-4B5C-87FA-B2D9F3779103}"/>
                  </a:ext>
                </a:extLst>
              </p:cNvPr>
              <p:cNvSpPr/>
              <p:nvPr/>
            </p:nvSpPr>
            <p:spPr>
              <a:xfrm>
                <a:off x="2812132" y="6315156"/>
                <a:ext cx="384876" cy="217354"/>
              </a:xfrm>
              <a:custGeom>
                <a:avLst/>
                <a:gdLst>
                  <a:gd name="connsiteX0" fmla="*/ 377533 w 384876"/>
                  <a:gd name="connsiteY0" fmla="*/ 174775 h 217354"/>
                  <a:gd name="connsiteX1" fmla="*/ 210052 w 384876"/>
                  <a:gd name="connsiteY1" fmla="*/ 7295 h 217354"/>
                  <a:gd name="connsiteX2" fmla="*/ 174754 w 384876"/>
                  <a:gd name="connsiteY2" fmla="*/ 7295 h 217354"/>
                  <a:gd name="connsiteX3" fmla="*/ 50304 w 384876"/>
                  <a:gd name="connsiteY3" fmla="*/ 131745 h 217354"/>
                  <a:gd name="connsiteX4" fmla="*/ 50304 w 384876"/>
                  <a:gd name="connsiteY4" fmla="*/ 139733 h 217354"/>
                  <a:gd name="connsiteX5" fmla="*/ 58292 w 384876"/>
                  <a:gd name="connsiteY5" fmla="*/ 139733 h 217354"/>
                  <a:gd name="connsiteX6" fmla="*/ 182742 w 384876"/>
                  <a:gd name="connsiteY6" fmla="*/ 15282 h 217354"/>
                  <a:gd name="connsiteX7" fmla="*/ 202067 w 384876"/>
                  <a:gd name="connsiteY7" fmla="*/ 15282 h 217354"/>
                  <a:gd name="connsiteX8" fmla="*/ 369547 w 384876"/>
                  <a:gd name="connsiteY8" fmla="*/ 182763 h 217354"/>
                  <a:gd name="connsiteX9" fmla="*/ 373540 w 384876"/>
                  <a:gd name="connsiteY9" fmla="*/ 192425 h 217354"/>
                  <a:gd name="connsiteX10" fmla="*/ 369547 w 384876"/>
                  <a:gd name="connsiteY10" fmla="*/ 202088 h 217354"/>
                  <a:gd name="connsiteX11" fmla="*/ 350222 w 384876"/>
                  <a:gd name="connsiteY11" fmla="*/ 202088 h 217354"/>
                  <a:gd name="connsiteX12" fmla="*/ 196401 w 384876"/>
                  <a:gd name="connsiteY12" fmla="*/ 48267 h 217354"/>
                  <a:gd name="connsiteX13" fmla="*/ 188413 w 384876"/>
                  <a:gd name="connsiteY13" fmla="*/ 48267 h 217354"/>
                  <a:gd name="connsiteX14" fmla="*/ 34591 w 384876"/>
                  <a:gd name="connsiteY14" fmla="*/ 202088 h 217354"/>
                  <a:gd name="connsiteX15" fmla="*/ 15266 w 384876"/>
                  <a:gd name="connsiteY15" fmla="*/ 202088 h 217354"/>
                  <a:gd name="connsiteX16" fmla="*/ 11273 w 384876"/>
                  <a:gd name="connsiteY16" fmla="*/ 192425 h 217354"/>
                  <a:gd name="connsiteX17" fmla="*/ 15266 w 384876"/>
                  <a:gd name="connsiteY17" fmla="*/ 182763 h 217354"/>
                  <a:gd name="connsiteX18" fmla="*/ 43416 w 384876"/>
                  <a:gd name="connsiteY18" fmla="*/ 154613 h 217354"/>
                  <a:gd name="connsiteX19" fmla="*/ 43416 w 384876"/>
                  <a:gd name="connsiteY19" fmla="*/ 146625 h 217354"/>
                  <a:gd name="connsiteX20" fmla="*/ 35429 w 384876"/>
                  <a:gd name="connsiteY20" fmla="*/ 146625 h 217354"/>
                  <a:gd name="connsiteX21" fmla="*/ 7278 w 384876"/>
                  <a:gd name="connsiteY21" fmla="*/ 174775 h 217354"/>
                  <a:gd name="connsiteX22" fmla="*/ 0 w 384876"/>
                  <a:gd name="connsiteY22" fmla="*/ 192425 h 217354"/>
                  <a:gd name="connsiteX23" fmla="*/ 7278 w 384876"/>
                  <a:gd name="connsiteY23" fmla="*/ 210076 h 217354"/>
                  <a:gd name="connsiteX24" fmla="*/ 42577 w 384876"/>
                  <a:gd name="connsiteY24" fmla="*/ 210076 h 217354"/>
                  <a:gd name="connsiteX25" fmla="*/ 192404 w 384876"/>
                  <a:gd name="connsiteY25" fmla="*/ 60249 h 217354"/>
                  <a:gd name="connsiteX26" fmla="*/ 342232 w 384876"/>
                  <a:gd name="connsiteY26" fmla="*/ 210076 h 217354"/>
                  <a:gd name="connsiteX27" fmla="*/ 359882 w 384876"/>
                  <a:gd name="connsiteY27" fmla="*/ 217354 h 217354"/>
                  <a:gd name="connsiteX28" fmla="*/ 377532 w 384876"/>
                  <a:gd name="connsiteY28" fmla="*/ 210076 h 217354"/>
                  <a:gd name="connsiteX29" fmla="*/ 384877 w 384876"/>
                  <a:gd name="connsiteY29" fmla="*/ 192425 h 217354"/>
                  <a:gd name="connsiteX30" fmla="*/ 377532 w 384876"/>
                  <a:gd name="connsiteY30" fmla="*/ 174775 h 217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84876" h="217354">
                    <a:moveTo>
                      <a:pt x="377533" y="174775"/>
                    </a:moveTo>
                    <a:lnTo>
                      <a:pt x="210052" y="7295"/>
                    </a:lnTo>
                    <a:cubicBezTo>
                      <a:pt x="200326" y="-2432"/>
                      <a:pt x="184480" y="-2432"/>
                      <a:pt x="174754" y="7295"/>
                    </a:cubicBezTo>
                    <a:lnTo>
                      <a:pt x="50304" y="131745"/>
                    </a:lnTo>
                    <a:cubicBezTo>
                      <a:pt x="48113" y="133935"/>
                      <a:pt x="48113" y="137542"/>
                      <a:pt x="50304" y="139733"/>
                    </a:cubicBezTo>
                    <a:cubicBezTo>
                      <a:pt x="52494" y="141923"/>
                      <a:pt x="56101" y="141923"/>
                      <a:pt x="58292" y="139733"/>
                    </a:cubicBezTo>
                    <a:lnTo>
                      <a:pt x="182742" y="15282"/>
                    </a:lnTo>
                    <a:cubicBezTo>
                      <a:pt x="187895" y="10129"/>
                      <a:pt x="196913" y="10129"/>
                      <a:pt x="202067" y="15282"/>
                    </a:cubicBezTo>
                    <a:lnTo>
                      <a:pt x="369547" y="182763"/>
                    </a:lnTo>
                    <a:cubicBezTo>
                      <a:pt x="372125" y="185341"/>
                      <a:pt x="373540" y="188753"/>
                      <a:pt x="373540" y="192425"/>
                    </a:cubicBezTo>
                    <a:cubicBezTo>
                      <a:pt x="373540" y="196097"/>
                      <a:pt x="372123" y="199510"/>
                      <a:pt x="369547" y="202088"/>
                    </a:cubicBezTo>
                    <a:cubicBezTo>
                      <a:pt x="364394" y="207241"/>
                      <a:pt x="355376" y="207241"/>
                      <a:pt x="350222" y="202088"/>
                    </a:cubicBezTo>
                    <a:lnTo>
                      <a:pt x="196401" y="48267"/>
                    </a:lnTo>
                    <a:cubicBezTo>
                      <a:pt x="194210" y="46076"/>
                      <a:pt x="190603" y="46076"/>
                      <a:pt x="188413" y="48267"/>
                    </a:cubicBezTo>
                    <a:lnTo>
                      <a:pt x="34591" y="202088"/>
                    </a:lnTo>
                    <a:cubicBezTo>
                      <a:pt x="29245" y="207435"/>
                      <a:pt x="20613" y="207435"/>
                      <a:pt x="15266" y="202088"/>
                    </a:cubicBezTo>
                    <a:cubicBezTo>
                      <a:pt x="12689" y="199510"/>
                      <a:pt x="11273" y="196098"/>
                      <a:pt x="11273" y="192425"/>
                    </a:cubicBezTo>
                    <a:cubicBezTo>
                      <a:pt x="11273" y="188754"/>
                      <a:pt x="12691" y="185341"/>
                      <a:pt x="15266" y="182763"/>
                    </a:cubicBezTo>
                    <a:lnTo>
                      <a:pt x="43416" y="154613"/>
                    </a:lnTo>
                    <a:cubicBezTo>
                      <a:pt x="45608" y="152422"/>
                      <a:pt x="45608" y="148816"/>
                      <a:pt x="43416" y="146625"/>
                    </a:cubicBezTo>
                    <a:cubicBezTo>
                      <a:pt x="41226" y="144434"/>
                      <a:pt x="37619" y="144434"/>
                      <a:pt x="35429" y="146625"/>
                    </a:cubicBezTo>
                    <a:lnTo>
                      <a:pt x="7278" y="174775"/>
                    </a:lnTo>
                    <a:cubicBezTo>
                      <a:pt x="2576" y="179478"/>
                      <a:pt x="0" y="185725"/>
                      <a:pt x="0" y="192425"/>
                    </a:cubicBezTo>
                    <a:cubicBezTo>
                      <a:pt x="0" y="199126"/>
                      <a:pt x="2578" y="205373"/>
                      <a:pt x="7278" y="210076"/>
                    </a:cubicBezTo>
                    <a:cubicBezTo>
                      <a:pt x="16684" y="219481"/>
                      <a:pt x="33174" y="219481"/>
                      <a:pt x="42577" y="210076"/>
                    </a:cubicBezTo>
                    <a:lnTo>
                      <a:pt x="192404" y="60249"/>
                    </a:lnTo>
                    <a:lnTo>
                      <a:pt x="342232" y="210076"/>
                    </a:lnTo>
                    <a:cubicBezTo>
                      <a:pt x="346934" y="214778"/>
                      <a:pt x="353245" y="217354"/>
                      <a:pt x="359882" y="217354"/>
                    </a:cubicBezTo>
                    <a:cubicBezTo>
                      <a:pt x="366516" y="217354"/>
                      <a:pt x="372830" y="214777"/>
                      <a:pt x="377532" y="210076"/>
                    </a:cubicBezTo>
                    <a:cubicBezTo>
                      <a:pt x="382235" y="205373"/>
                      <a:pt x="384877" y="199062"/>
                      <a:pt x="384877" y="192425"/>
                    </a:cubicBezTo>
                    <a:cubicBezTo>
                      <a:pt x="384874" y="185725"/>
                      <a:pt x="382235" y="179478"/>
                      <a:pt x="377532" y="174775"/>
                    </a:cubicBez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D638799D-3E20-48F9-B8DE-6088E5E7C581}"/>
                  </a:ext>
                </a:extLst>
              </p:cNvPr>
              <p:cNvSpPr/>
              <p:nvPr/>
            </p:nvSpPr>
            <p:spPr>
              <a:xfrm>
                <a:off x="2837835" y="6450378"/>
                <a:ext cx="333410" cy="275440"/>
              </a:xfrm>
              <a:custGeom>
                <a:avLst/>
                <a:gdLst>
                  <a:gd name="connsiteX0" fmla="*/ 327742 w 333410"/>
                  <a:gd name="connsiteY0" fmla="*/ 244775 h 275440"/>
                  <a:gd name="connsiteX1" fmla="*/ 198138 w 333410"/>
                  <a:gd name="connsiteY1" fmla="*/ 244775 h 275440"/>
                  <a:gd name="connsiteX2" fmla="*/ 198138 w 333410"/>
                  <a:gd name="connsiteY2" fmla="*/ 231120 h 275440"/>
                  <a:gd name="connsiteX3" fmla="*/ 192469 w 333410"/>
                  <a:gd name="connsiteY3" fmla="*/ 225451 h 275440"/>
                  <a:gd name="connsiteX4" fmla="*/ 172307 w 333410"/>
                  <a:gd name="connsiteY4" fmla="*/ 225451 h 275440"/>
                  <a:gd name="connsiteX5" fmla="*/ 172307 w 333410"/>
                  <a:gd name="connsiteY5" fmla="*/ 210958 h 275440"/>
                  <a:gd name="connsiteX6" fmla="*/ 295536 w 333410"/>
                  <a:gd name="connsiteY6" fmla="*/ 210958 h 275440"/>
                  <a:gd name="connsiteX7" fmla="*/ 301206 w 333410"/>
                  <a:gd name="connsiteY7" fmla="*/ 205289 h 275440"/>
                  <a:gd name="connsiteX8" fmla="*/ 301203 w 333410"/>
                  <a:gd name="connsiteY8" fmla="*/ 73176 h 275440"/>
                  <a:gd name="connsiteX9" fmla="*/ 295534 w 333410"/>
                  <a:gd name="connsiteY9" fmla="*/ 67507 h 275440"/>
                  <a:gd name="connsiteX10" fmla="*/ 289864 w 333410"/>
                  <a:gd name="connsiteY10" fmla="*/ 73176 h 275440"/>
                  <a:gd name="connsiteX11" fmla="*/ 289864 w 333410"/>
                  <a:gd name="connsiteY11" fmla="*/ 199686 h 275440"/>
                  <a:gd name="connsiteX12" fmla="*/ 172373 w 333410"/>
                  <a:gd name="connsiteY12" fmla="*/ 199686 h 275440"/>
                  <a:gd name="connsiteX13" fmla="*/ 172373 w 333410"/>
                  <a:gd name="connsiteY13" fmla="*/ 192471 h 275440"/>
                  <a:gd name="connsiteX14" fmla="*/ 172180 w 333410"/>
                  <a:gd name="connsiteY14" fmla="*/ 191504 h 275440"/>
                  <a:gd name="connsiteX15" fmla="*/ 211473 w 333410"/>
                  <a:gd name="connsiteY15" fmla="*/ 185965 h 275440"/>
                  <a:gd name="connsiteX16" fmla="*/ 215339 w 333410"/>
                  <a:gd name="connsiteY16" fmla="*/ 179007 h 275440"/>
                  <a:gd name="connsiteX17" fmla="*/ 208382 w 333410"/>
                  <a:gd name="connsiteY17" fmla="*/ 175141 h 275440"/>
                  <a:gd name="connsiteX18" fmla="*/ 166706 w 333410"/>
                  <a:gd name="connsiteY18" fmla="*/ 180424 h 275440"/>
                  <a:gd name="connsiteX19" fmla="*/ 95013 w 333410"/>
                  <a:gd name="connsiteY19" fmla="*/ 153821 h 275440"/>
                  <a:gd name="connsiteX20" fmla="*/ 95013 w 333410"/>
                  <a:gd name="connsiteY20" fmla="*/ 134690 h 275440"/>
                  <a:gd name="connsiteX21" fmla="*/ 166706 w 333410"/>
                  <a:gd name="connsiteY21" fmla="*/ 152984 h 275440"/>
                  <a:gd name="connsiteX22" fmla="*/ 238399 w 333410"/>
                  <a:gd name="connsiteY22" fmla="*/ 134690 h 275440"/>
                  <a:gd name="connsiteX23" fmla="*/ 238397 w 333410"/>
                  <a:gd name="connsiteY23" fmla="*/ 153824 h 275440"/>
                  <a:gd name="connsiteX24" fmla="*/ 224676 w 333410"/>
                  <a:gd name="connsiteY24" fmla="*/ 168833 h 275440"/>
                  <a:gd name="connsiteX25" fmla="*/ 222291 w 333410"/>
                  <a:gd name="connsiteY25" fmla="*/ 176434 h 275440"/>
                  <a:gd name="connsiteX26" fmla="*/ 227315 w 333410"/>
                  <a:gd name="connsiteY26" fmla="*/ 179463 h 275440"/>
                  <a:gd name="connsiteX27" fmla="*/ 229956 w 333410"/>
                  <a:gd name="connsiteY27" fmla="*/ 178818 h 275440"/>
                  <a:gd name="connsiteX28" fmla="*/ 249667 w 333410"/>
                  <a:gd name="connsiteY28" fmla="*/ 153826 h 275440"/>
                  <a:gd name="connsiteX29" fmla="*/ 249670 w 333410"/>
                  <a:gd name="connsiteY29" fmla="*/ 37876 h 275440"/>
                  <a:gd name="connsiteX30" fmla="*/ 166703 w 333410"/>
                  <a:gd name="connsiteY30" fmla="*/ 0 h 275440"/>
                  <a:gd name="connsiteX31" fmla="*/ 83804 w 333410"/>
                  <a:gd name="connsiteY31" fmla="*/ 37876 h 275440"/>
                  <a:gd name="connsiteX32" fmla="*/ 83804 w 333410"/>
                  <a:gd name="connsiteY32" fmla="*/ 153826 h 275440"/>
                  <a:gd name="connsiteX33" fmla="*/ 161297 w 333410"/>
                  <a:gd name="connsiteY33" fmla="*/ 191573 h 275440"/>
                  <a:gd name="connsiteX34" fmla="*/ 161103 w 333410"/>
                  <a:gd name="connsiteY34" fmla="*/ 192474 h 275440"/>
                  <a:gd name="connsiteX35" fmla="*/ 161103 w 333410"/>
                  <a:gd name="connsiteY35" fmla="*/ 199752 h 275440"/>
                  <a:gd name="connsiteX36" fmla="*/ 43550 w 333410"/>
                  <a:gd name="connsiteY36" fmla="*/ 199755 h 275440"/>
                  <a:gd name="connsiteX37" fmla="*/ 43550 w 333410"/>
                  <a:gd name="connsiteY37" fmla="*/ 73178 h 275440"/>
                  <a:gd name="connsiteX38" fmla="*/ 37881 w 333410"/>
                  <a:gd name="connsiteY38" fmla="*/ 67509 h 275440"/>
                  <a:gd name="connsiteX39" fmla="*/ 32211 w 333410"/>
                  <a:gd name="connsiteY39" fmla="*/ 73178 h 275440"/>
                  <a:gd name="connsiteX40" fmla="*/ 32213 w 333410"/>
                  <a:gd name="connsiteY40" fmla="*/ 205358 h 275440"/>
                  <a:gd name="connsiteX41" fmla="*/ 37883 w 333410"/>
                  <a:gd name="connsiteY41" fmla="*/ 211027 h 275440"/>
                  <a:gd name="connsiteX42" fmla="*/ 161107 w 333410"/>
                  <a:gd name="connsiteY42" fmla="*/ 211027 h 275440"/>
                  <a:gd name="connsiteX43" fmla="*/ 161107 w 333410"/>
                  <a:gd name="connsiteY43" fmla="*/ 225520 h 275440"/>
                  <a:gd name="connsiteX44" fmla="*/ 140942 w 333410"/>
                  <a:gd name="connsiteY44" fmla="*/ 225520 h 275440"/>
                  <a:gd name="connsiteX45" fmla="*/ 135273 w 333410"/>
                  <a:gd name="connsiteY45" fmla="*/ 231190 h 275440"/>
                  <a:gd name="connsiteX46" fmla="*/ 135273 w 333410"/>
                  <a:gd name="connsiteY46" fmla="*/ 244911 h 275440"/>
                  <a:gd name="connsiteX47" fmla="*/ 5670 w 333410"/>
                  <a:gd name="connsiteY47" fmla="*/ 244909 h 275440"/>
                  <a:gd name="connsiteX48" fmla="*/ 0 w 333410"/>
                  <a:gd name="connsiteY48" fmla="*/ 250578 h 275440"/>
                  <a:gd name="connsiteX49" fmla="*/ 5670 w 333410"/>
                  <a:gd name="connsiteY49" fmla="*/ 256052 h 275440"/>
                  <a:gd name="connsiteX50" fmla="*/ 135335 w 333410"/>
                  <a:gd name="connsiteY50" fmla="*/ 256052 h 275440"/>
                  <a:gd name="connsiteX51" fmla="*/ 135335 w 333410"/>
                  <a:gd name="connsiteY51" fmla="*/ 269771 h 275440"/>
                  <a:gd name="connsiteX52" fmla="*/ 141004 w 333410"/>
                  <a:gd name="connsiteY52" fmla="*/ 275441 h 275440"/>
                  <a:gd name="connsiteX53" fmla="*/ 192536 w 333410"/>
                  <a:gd name="connsiteY53" fmla="*/ 275441 h 275440"/>
                  <a:gd name="connsiteX54" fmla="*/ 198205 w 333410"/>
                  <a:gd name="connsiteY54" fmla="*/ 269771 h 275440"/>
                  <a:gd name="connsiteX55" fmla="*/ 198205 w 333410"/>
                  <a:gd name="connsiteY55" fmla="*/ 256050 h 275440"/>
                  <a:gd name="connsiteX56" fmla="*/ 327741 w 333410"/>
                  <a:gd name="connsiteY56" fmla="*/ 256052 h 275440"/>
                  <a:gd name="connsiteX57" fmla="*/ 333411 w 333410"/>
                  <a:gd name="connsiteY57" fmla="*/ 250383 h 275440"/>
                  <a:gd name="connsiteX58" fmla="*/ 327741 w 333410"/>
                  <a:gd name="connsiteY58" fmla="*/ 244779 h 275440"/>
                  <a:gd name="connsiteX59" fmla="*/ 238395 w 333410"/>
                  <a:gd name="connsiteY59" fmla="*/ 76524 h 275440"/>
                  <a:gd name="connsiteX60" fmla="*/ 166702 w 333410"/>
                  <a:gd name="connsiteY60" fmla="*/ 103127 h 275440"/>
                  <a:gd name="connsiteX61" fmla="*/ 95077 w 333410"/>
                  <a:gd name="connsiteY61" fmla="*/ 76524 h 275440"/>
                  <a:gd name="connsiteX62" fmla="*/ 95077 w 333410"/>
                  <a:gd name="connsiteY62" fmla="*/ 57393 h 275440"/>
                  <a:gd name="connsiteX63" fmla="*/ 166770 w 333410"/>
                  <a:gd name="connsiteY63" fmla="*/ 75687 h 275440"/>
                  <a:gd name="connsiteX64" fmla="*/ 238463 w 333410"/>
                  <a:gd name="connsiteY64" fmla="*/ 57393 h 275440"/>
                  <a:gd name="connsiteX65" fmla="*/ 238463 w 333410"/>
                  <a:gd name="connsiteY65" fmla="*/ 76524 h 275440"/>
                  <a:gd name="connsiteX66" fmla="*/ 166702 w 333410"/>
                  <a:gd name="connsiteY66" fmla="*/ 141714 h 275440"/>
                  <a:gd name="connsiteX67" fmla="*/ 95009 w 333410"/>
                  <a:gd name="connsiteY67" fmla="*/ 115111 h 275440"/>
                  <a:gd name="connsiteX68" fmla="*/ 95009 w 333410"/>
                  <a:gd name="connsiteY68" fmla="*/ 96109 h 275440"/>
                  <a:gd name="connsiteX69" fmla="*/ 166702 w 333410"/>
                  <a:gd name="connsiteY69" fmla="*/ 114337 h 275440"/>
                  <a:gd name="connsiteX70" fmla="*/ 238395 w 333410"/>
                  <a:gd name="connsiteY70" fmla="*/ 96109 h 275440"/>
                  <a:gd name="connsiteX71" fmla="*/ 238395 w 333410"/>
                  <a:gd name="connsiteY71" fmla="*/ 115175 h 275440"/>
                  <a:gd name="connsiteX72" fmla="*/ 166702 w 333410"/>
                  <a:gd name="connsiteY72" fmla="*/ 141715 h 275440"/>
                  <a:gd name="connsiteX73" fmla="*/ 166702 w 333410"/>
                  <a:gd name="connsiteY73" fmla="*/ 11273 h 275440"/>
                  <a:gd name="connsiteX74" fmla="*/ 238395 w 333410"/>
                  <a:gd name="connsiteY74" fmla="*/ 37876 h 275440"/>
                  <a:gd name="connsiteX75" fmla="*/ 166702 w 333410"/>
                  <a:gd name="connsiteY75" fmla="*/ 64415 h 275440"/>
                  <a:gd name="connsiteX76" fmla="*/ 95077 w 333410"/>
                  <a:gd name="connsiteY76" fmla="*/ 37876 h 275440"/>
                  <a:gd name="connsiteX77" fmla="*/ 166702 w 333410"/>
                  <a:gd name="connsiteY77" fmla="*/ 11273 h 275440"/>
                  <a:gd name="connsiteX78" fmla="*/ 186865 w 333410"/>
                  <a:gd name="connsiteY78" fmla="*/ 264099 h 275440"/>
                  <a:gd name="connsiteX79" fmla="*/ 146607 w 333410"/>
                  <a:gd name="connsiteY79" fmla="*/ 264099 h 275440"/>
                  <a:gd name="connsiteX80" fmla="*/ 146607 w 333410"/>
                  <a:gd name="connsiteY80" fmla="*/ 236723 h 275440"/>
                  <a:gd name="connsiteX81" fmla="*/ 186865 w 333410"/>
                  <a:gd name="connsiteY81" fmla="*/ 236723 h 27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333410" h="275440">
                    <a:moveTo>
                      <a:pt x="327742" y="244775"/>
                    </a:moveTo>
                    <a:lnTo>
                      <a:pt x="198138" y="244775"/>
                    </a:lnTo>
                    <a:lnTo>
                      <a:pt x="198138" y="231120"/>
                    </a:lnTo>
                    <a:cubicBezTo>
                      <a:pt x="198138" y="228029"/>
                      <a:pt x="195627" y="225451"/>
                      <a:pt x="192469" y="225451"/>
                    </a:cubicBezTo>
                    <a:lnTo>
                      <a:pt x="172307" y="225451"/>
                    </a:lnTo>
                    <a:lnTo>
                      <a:pt x="172307" y="210958"/>
                    </a:lnTo>
                    <a:lnTo>
                      <a:pt x="295536" y="210958"/>
                    </a:lnTo>
                    <a:cubicBezTo>
                      <a:pt x="298628" y="210958"/>
                      <a:pt x="301206" y="208446"/>
                      <a:pt x="301206" y="205289"/>
                    </a:cubicBezTo>
                    <a:lnTo>
                      <a:pt x="301203" y="73176"/>
                    </a:lnTo>
                    <a:cubicBezTo>
                      <a:pt x="301203" y="70085"/>
                      <a:pt x="298691" y="67507"/>
                      <a:pt x="295534" y="67507"/>
                    </a:cubicBezTo>
                    <a:cubicBezTo>
                      <a:pt x="292378" y="67507"/>
                      <a:pt x="289864" y="70019"/>
                      <a:pt x="289864" y="73176"/>
                    </a:cubicBezTo>
                    <a:lnTo>
                      <a:pt x="289864" y="199686"/>
                    </a:lnTo>
                    <a:lnTo>
                      <a:pt x="172373" y="199686"/>
                    </a:lnTo>
                    <a:lnTo>
                      <a:pt x="172373" y="192471"/>
                    </a:lnTo>
                    <a:cubicBezTo>
                      <a:pt x="172373" y="192148"/>
                      <a:pt x="172244" y="191828"/>
                      <a:pt x="172180" y="191504"/>
                    </a:cubicBezTo>
                    <a:cubicBezTo>
                      <a:pt x="186222" y="191118"/>
                      <a:pt x="199750" y="189249"/>
                      <a:pt x="211473" y="185965"/>
                    </a:cubicBezTo>
                    <a:cubicBezTo>
                      <a:pt x="214436" y="185127"/>
                      <a:pt x="216240" y="182035"/>
                      <a:pt x="215339" y="179007"/>
                    </a:cubicBezTo>
                    <a:cubicBezTo>
                      <a:pt x="214502" y="176045"/>
                      <a:pt x="211410" y="174241"/>
                      <a:pt x="208382" y="175141"/>
                    </a:cubicBezTo>
                    <a:cubicBezTo>
                      <a:pt x="196078" y="178620"/>
                      <a:pt x="181715" y="180424"/>
                      <a:pt x="166706" y="180424"/>
                    </a:cubicBezTo>
                    <a:cubicBezTo>
                      <a:pt x="124450" y="180424"/>
                      <a:pt x="95013" y="166446"/>
                      <a:pt x="95013" y="153821"/>
                    </a:cubicBezTo>
                    <a:lnTo>
                      <a:pt x="95013" y="134690"/>
                    </a:lnTo>
                    <a:cubicBezTo>
                      <a:pt x="109119" y="145834"/>
                      <a:pt x="135337" y="152984"/>
                      <a:pt x="166706" y="152984"/>
                    </a:cubicBezTo>
                    <a:cubicBezTo>
                      <a:pt x="198075" y="152984"/>
                      <a:pt x="224228" y="145770"/>
                      <a:pt x="238399" y="134690"/>
                    </a:cubicBezTo>
                    <a:lnTo>
                      <a:pt x="238397" y="153824"/>
                    </a:lnTo>
                    <a:cubicBezTo>
                      <a:pt x="238397" y="158783"/>
                      <a:pt x="233373" y="164260"/>
                      <a:pt x="224676" y="168833"/>
                    </a:cubicBezTo>
                    <a:cubicBezTo>
                      <a:pt x="221907" y="170250"/>
                      <a:pt x="220876" y="173663"/>
                      <a:pt x="222291" y="176434"/>
                    </a:cubicBezTo>
                    <a:cubicBezTo>
                      <a:pt x="223322" y="178366"/>
                      <a:pt x="225253" y="179463"/>
                      <a:pt x="227315" y="179463"/>
                    </a:cubicBezTo>
                    <a:cubicBezTo>
                      <a:pt x="228216" y="179463"/>
                      <a:pt x="229119" y="179269"/>
                      <a:pt x="229956" y="178818"/>
                    </a:cubicBezTo>
                    <a:cubicBezTo>
                      <a:pt x="246253" y="170251"/>
                      <a:pt x="249667" y="160524"/>
                      <a:pt x="249667" y="153826"/>
                    </a:cubicBezTo>
                    <a:lnTo>
                      <a:pt x="249670" y="37876"/>
                    </a:lnTo>
                    <a:cubicBezTo>
                      <a:pt x="249670" y="16297"/>
                      <a:pt x="213984" y="0"/>
                      <a:pt x="166703" y="0"/>
                    </a:cubicBezTo>
                    <a:cubicBezTo>
                      <a:pt x="119424" y="0"/>
                      <a:pt x="83804" y="16297"/>
                      <a:pt x="83804" y="37876"/>
                    </a:cubicBezTo>
                    <a:lnTo>
                      <a:pt x="83804" y="153826"/>
                    </a:lnTo>
                    <a:cubicBezTo>
                      <a:pt x="83804" y="174568"/>
                      <a:pt x="116784" y="190349"/>
                      <a:pt x="161297" y="191573"/>
                    </a:cubicBezTo>
                    <a:cubicBezTo>
                      <a:pt x="161233" y="191896"/>
                      <a:pt x="161103" y="192153"/>
                      <a:pt x="161103" y="192474"/>
                    </a:cubicBezTo>
                    <a:lnTo>
                      <a:pt x="161103" y="199752"/>
                    </a:lnTo>
                    <a:lnTo>
                      <a:pt x="43550" y="199755"/>
                    </a:lnTo>
                    <a:lnTo>
                      <a:pt x="43550" y="73178"/>
                    </a:lnTo>
                    <a:cubicBezTo>
                      <a:pt x="43550" y="70086"/>
                      <a:pt x="41039" y="67509"/>
                      <a:pt x="37881" y="67509"/>
                    </a:cubicBezTo>
                    <a:cubicBezTo>
                      <a:pt x="34725" y="67509"/>
                      <a:pt x="32211" y="70020"/>
                      <a:pt x="32211" y="73178"/>
                    </a:cubicBezTo>
                    <a:lnTo>
                      <a:pt x="32213" y="205358"/>
                    </a:lnTo>
                    <a:cubicBezTo>
                      <a:pt x="32213" y="208450"/>
                      <a:pt x="34725" y="211027"/>
                      <a:pt x="37883" y="211027"/>
                    </a:cubicBezTo>
                    <a:lnTo>
                      <a:pt x="161107" y="211027"/>
                    </a:lnTo>
                    <a:lnTo>
                      <a:pt x="161107" y="225520"/>
                    </a:lnTo>
                    <a:lnTo>
                      <a:pt x="140942" y="225520"/>
                    </a:lnTo>
                    <a:cubicBezTo>
                      <a:pt x="137850" y="225520"/>
                      <a:pt x="135273" y="228032"/>
                      <a:pt x="135273" y="231190"/>
                    </a:cubicBezTo>
                    <a:lnTo>
                      <a:pt x="135273" y="244911"/>
                    </a:lnTo>
                    <a:lnTo>
                      <a:pt x="5670" y="244909"/>
                    </a:lnTo>
                    <a:cubicBezTo>
                      <a:pt x="2578" y="244909"/>
                      <a:pt x="0" y="247421"/>
                      <a:pt x="0" y="250578"/>
                    </a:cubicBezTo>
                    <a:cubicBezTo>
                      <a:pt x="2" y="253734"/>
                      <a:pt x="2578" y="256052"/>
                      <a:pt x="5670" y="256052"/>
                    </a:cubicBezTo>
                    <a:lnTo>
                      <a:pt x="135335" y="256052"/>
                    </a:lnTo>
                    <a:lnTo>
                      <a:pt x="135335" y="269771"/>
                    </a:lnTo>
                    <a:cubicBezTo>
                      <a:pt x="135335" y="272863"/>
                      <a:pt x="137846" y="275441"/>
                      <a:pt x="141004" y="275441"/>
                    </a:cubicBezTo>
                    <a:lnTo>
                      <a:pt x="192536" y="275441"/>
                    </a:lnTo>
                    <a:cubicBezTo>
                      <a:pt x="195628" y="275441"/>
                      <a:pt x="198205" y="272929"/>
                      <a:pt x="198205" y="269771"/>
                    </a:cubicBezTo>
                    <a:lnTo>
                      <a:pt x="198205" y="256050"/>
                    </a:lnTo>
                    <a:lnTo>
                      <a:pt x="327741" y="256052"/>
                    </a:lnTo>
                    <a:cubicBezTo>
                      <a:pt x="330833" y="256052"/>
                      <a:pt x="333411" y="253541"/>
                      <a:pt x="333411" y="250383"/>
                    </a:cubicBezTo>
                    <a:cubicBezTo>
                      <a:pt x="333408" y="247227"/>
                      <a:pt x="330833" y="244779"/>
                      <a:pt x="327741" y="244779"/>
                    </a:cubicBezTo>
                    <a:close/>
                    <a:moveTo>
                      <a:pt x="238395" y="76524"/>
                    </a:moveTo>
                    <a:cubicBezTo>
                      <a:pt x="238395" y="89085"/>
                      <a:pt x="208958" y="103127"/>
                      <a:pt x="166702" y="103127"/>
                    </a:cubicBezTo>
                    <a:cubicBezTo>
                      <a:pt x="124447" y="103127"/>
                      <a:pt x="95077" y="89085"/>
                      <a:pt x="95077" y="76524"/>
                    </a:cubicBezTo>
                    <a:lnTo>
                      <a:pt x="95077" y="57393"/>
                    </a:lnTo>
                    <a:cubicBezTo>
                      <a:pt x="109183" y="68536"/>
                      <a:pt x="135401" y="75687"/>
                      <a:pt x="166770" y="75687"/>
                    </a:cubicBezTo>
                    <a:cubicBezTo>
                      <a:pt x="198140" y="75687"/>
                      <a:pt x="224292" y="68473"/>
                      <a:pt x="238463" y="57393"/>
                    </a:cubicBezTo>
                    <a:lnTo>
                      <a:pt x="238463" y="76524"/>
                    </a:lnTo>
                    <a:close/>
                    <a:moveTo>
                      <a:pt x="166702" y="141714"/>
                    </a:moveTo>
                    <a:cubicBezTo>
                      <a:pt x="124447" y="141714"/>
                      <a:pt x="95009" y="127735"/>
                      <a:pt x="95009" y="115111"/>
                    </a:cubicBezTo>
                    <a:lnTo>
                      <a:pt x="95009" y="96109"/>
                    </a:lnTo>
                    <a:cubicBezTo>
                      <a:pt x="109115" y="107189"/>
                      <a:pt x="135334" y="114337"/>
                      <a:pt x="166702" y="114337"/>
                    </a:cubicBezTo>
                    <a:cubicBezTo>
                      <a:pt x="198071" y="114337"/>
                      <a:pt x="224224" y="107187"/>
                      <a:pt x="238395" y="96109"/>
                    </a:cubicBezTo>
                    <a:lnTo>
                      <a:pt x="238395" y="115175"/>
                    </a:lnTo>
                    <a:cubicBezTo>
                      <a:pt x="238395" y="127736"/>
                      <a:pt x="208958" y="141715"/>
                      <a:pt x="166702" y="141715"/>
                    </a:cubicBezTo>
                    <a:close/>
                    <a:moveTo>
                      <a:pt x="166702" y="11273"/>
                    </a:moveTo>
                    <a:cubicBezTo>
                      <a:pt x="208958" y="11273"/>
                      <a:pt x="238395" y="25251"/>
                      <a:pt x="238395" y="37876"/>
                    </a:cubicBezTo>
                    <a:cubicBezTo>
                      <a:pt x="238395" y="50500"/>
                      <a:pt x="208958" y="64415"/>
                      <a:pt x="166702" y="64415"/>
                    </a:cubicBezTo>
                    <a:cubicBezTo>
                      <a:pt x="124447" y="64415"/>
                      <a:pt x="95077" y="50437"/>
                      <a:pt x="95077" y="37876"/>
                    </a:cubicBezTo>
                    <a:cubicBezTo>
                      <a:pt x="95077" y="25315"/>
                      <a:pt x="124449" y="11273"/>
                      <a:pt x="166702" y="11273"/>
                    </a:cubicBezTo>
                    <a:close/>
                    <a:moveTo>
                      <a:pt x="186865" y="264099"/>
                    </a:moveTo>
                    <a:lnTo>
                      <a:pt x="146607" y="264099"/>
                    </a:lnTo>
                    <a:lnTo>
                      <a:pt x="146607" y="236723"/>
                    </a:lnTo>
                    <a:lnTo>
                      <a:pt x="186865" y="236723"/>
                    </a:lnTo>
                    <a:close/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F23AED21-793F-488C-BDAA-8BFCB13D1F8A}"/>
                  </a:ext>
                </a:extLst>
              </p:cNvPr>
              <p:cNvSpPr/>
              <p:nvPr/>
            </p:nvSpPr>
            <p:spPr>
              <a:xfrm>
                <a:off x="3002672" y="6534955"/>
                <a:ext cx="9662" cy="9662"/>
              </a:xfrm>
              <a:custGeom>
                <a:avLst/>
                <a:gdLst>
                  <a:gd name="connsiteX0" fmla="*/ 9663 w 9662"/>
                  <a:gd name="connsiteY0" fmla="*/ 4830 h 9662"/>
                  <a:gd name="connsiteX1" fmla="*/ 4832 w 9662"/>
                  <a:gd name="connsiteY1" fmla="*/ 9663 h 9662"/>
                  <a:gd name="connsiteX2" fmla="*/ 0 w 9662"/>
                  <a:gd name="connsiteY2" fmla="*/ 4830 h 9662"/>
                  <a:gd name="connsiteX3" fmla="*/ 4832 w 9662"/>
                  <a:gd name="connsiteY3" fmla="*/ 0 h 9662"/>
                  <a:gd name="connsiteX4" fmla="*/ 9663 w 9662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0"/>
                    </a:moveTo>
                    <a:cubicBezTo>
                      <a:pt x="9663" y="7498"/>
                      <a:pt x="7500" y="9663"/>
                      <a:pt x="4832" y="9663"/>
                    </a:cubicBezTo>
                    <a:cubicBezTo>
                      <a:pt x="2165" y="9663"/>
                      <a:pt x="0" y="7498"/>
                      <a:pt x="0" y="4830"/>
                    </a:cubicBezTo>
                    <a:cubicBezTo>
                      <a:pt x="0" y="2162"/>
                      <a:pt x="2165" y="0"/>
                      <a:pt x="4832" y="0"/>
                    </a:cubicBezTo>
                    <a:cubicBezTo>
                      <a:pt x="7500" y="0"/>
                      <a:pt x="9663" y="2162"/>
                      <a:pt x="9663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5BEA81B7-AEEC-4F9A-917C-9AAEE3F27E65}"/>
                  </a:ext>
                </a:extLst>
              </p:cNvPr>
              <p:cNvSpPr/>
              <p:nvPr/>
            </p:nvSpPr>
            <p:spPr>
              <a:xfrm>
                <a:off x="3002672" y="6573601"/>
                <a:ext cx="9662" cy="9662"/>
              </a:xfrm>
              <a:custGeom>
                <a:avLst/>
                <a:gdLst>
                  <a:gd name="connsiteX0" fmla="*/ 9663 w 9662"/>
                  <a:gd name="connsiteY0" fmla="*/ 4832 h 9662"/>
                  <a:gd name="connsiteX1" fmla="*/ 4832 w 9662"/>
                  <a:gd name="connsiteY1" fmla="*/ 9663 h 9662"/>
                  <a:gd name="connsiteX2" fmla="*/ 0 w 9662"/>
                  <a:gd name="connsiteY2" fmla="*/ 4832 h 9662"/>
                  <a:gd name="connsiteX3" fmla="*/ 4832 w 9662"/>
                  <a:gd name="connsiteY3" fmla="*/ 0 h 9662"/>
                  <a:gd name="connsiteX4" fmla="*/ 9663 w 9662"/>
                  <a:gd name="connsiteY4" fmla="*/ 4832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2"/>
                    </a:moveTo>
                    <a:cubicBezTo>
                      <a:pt x="9663" y="7500"/>
                      <a:pt x="7500" y="9663"/>
                      <a:pt x="4832" y="9663"/>
                    </a:cubicBezTo>
                    <a:cubicBezTo>
                      <a:pt x="2165" y="9663"/>
                      <a:pt x="0" y="7500"/>
                      <a:pt x="0" y="4832"/>
                    </a:cubicBezTo>
                    <a:cubicBezTo>
                      <a:pt x="0" y="2165"/>
                      <a:pt x="2165" y="0"/>
                      <a:pt x="4832" y="0"/>
                    </a:cubicBezTo>
                    <a:cubicBezTo>
                      <a:pt x="7500" y="0"/>
                      <a:pt x="9663" y="2165"/>
                      <a:pt x="9663" y="4832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6E050E67-6A9C-4984-8BA8-E4D361354170}"/>
                  </a:ext>
                </a:extLst>
              </p:cNvPr>
              <p:cNvSpPr/>
              <p:nvPr/>
            </p:nvSpPr>
            <p:spPr>
              <a:xfrm>
                <a:off x="3002672" y="6612251"/>
                <a:ext cx="9662" cy="9662"/>
              </a:xfrm>
              <a:custGeom>
                <a:avLst/>
                <a:gdLst>
                  <a:gd name="connsiteX0" fmla="*/ 9663 w 9662"/>
                  <a:gd name="connsiteY0" fmla="*/ 4830 h 9662"/>
                  <a:gd name="connsiteX1" fmla="*/ 4832 w 9662"/>
                  <a:gd name="connsiteY1" fmla="*/ 9663 h 9662"/>
                  <a:gd name="connsiteX2" fmla="*/ 0 w 9662"/>
                  <a:gd name="connsiteY2" fmla="*/ 4830 h 9662"/>
                  <a:gd name="connsiteX3" fmla="*/ 4832 w 9662"/>
                  <a:gd name="connsiteY3" fmla="*/ 0 h 9662"/>
                  <a:gd name="connsiteX4" fmla="*/ 9663 w 9662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0"/>
                    </a:moveTo>
                    <a:cubicBezTo>
                      <a:pt x="9663" y="7498"/>
                      <a:pt x="7500" y="9663"/>
                      <a:pt x="4832" y="9663"/>
                    </a:cubicBezTo>
                    <a:cubicBezTo>
                      <a:pt x="2165" y="9663"/>
                      <a:pt x="0" y="7498"/>
                      <a:pt x="0" y="4830"/>
                    </a:cubicBezTo>
                    <a:cubicBezTo>
                      <a:pt x="0" y="2162"/>
                      <a:pt x="2165" y="0"/>
                      <a:pt x="4832" y="0"/>
                    </a:cubicBezTo>
                    <a:cubicBezTo>
                      <a:pt x="7500" y="0"/>
                      <a:pt x="9663" y="2162"/>
                      <a:pt x="9663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0A6944E4-96A4-403E-B038-A72884C35C3A}"/>
                  </a:ext>
                </a:extLst>
              </p:cNvPr>
              <p:cNvSpPr/>
              <p:nvPr/>
            </p:nvSpPr>
            <p:spPr>
              <a:xfrm>
                <a:off x="3021996" y="6534955"/>
                <a:ext cx="9662" cy="9662"/>
              </a:xfrm>
              <a:custGeom>
                <a:avLst/>
                <a:gdLst>
                  <a:gd name="connsiteX0" fmla="*/ 9663 w 9662"/>
                  <a:gd name="connsiteY0" fmla="*/ 4830 h 9662"/>
                  <a:gd name="connsiteX1" fmla="*/ 4832 w 9662"/>
                  <a:gd name="connsiteY1" fmla="*/ 9663 h 9662"/>
                  <a:gd name="connsiteX2" fmla="*/ 0 w 9662"/>
                  <a:gd name="connsiteY2" fmla="*/ 4830 h 9662"/>
                  <a:gd name="connsiteX3" fmla="*/ 4832 w 9662"/>
                  <a:gd name="connsiteY3" fmla="*/ 0 h 9662"/>
                  <a:gd name="connsiteX4" fmla="*/ 9663 w 9662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0"/>
                    </a:moveTo>
                    <a:cubicBezTo>
                      <a:pt x="9663" y="7498"/>
                      <a:pt x="7500" y="9663"/>
                      <a:pt x="4832" y="9663"/>
                    </a:cubicBezTo>
                    <a:cubicBezTo>
                      <a:pt x="2162" y="9663"/>
                      <a:pt x="0" y="7498"/>
                      <a:pt x="0" y="4830"/>
                    </a:cubicBezTo>
                    <a:cubicBezTo>
                      <a:pt x="0" y="2162"/>
                      <a:pt x="2162" y="0"/>
                      <a:pt x="4832" y="0"/>
                    </a:cubicBezTo>
                    <a:cubicBezTo>
                      <a:pt x="7500" y="0"/>
                      <a:pt x="9663" y="2162"/>
                      <a:pt x="9663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0DF76592-FE85-4BBE-9B77-506412A68EC5}"/>
                  </a:ext>
                </a:extLst>
              </p:cNvPr>
              <p:cNvSpPr/>
              <p:nvPr/>
            </p:nvSpPr>
            <p:spPr>
              <a:xfrm>
                <a:off x="3021996" y="6573601"/>
                <a:ext cx="9662" cy="9662"/>
              </a:xfrm>
              <a:custGeom>
                <a:avLst/>
                <a:gdLst>
                  <a:gd name="connsiteX0" fmla="*/ 9663 w 9662"/>
                  <a:gd name="connsiteY0" fmla="*/ 4832 h 9662"/>
                  <a:gd name="connsiteX1" fmla="*/ 4832 w 9662"/>
                  <a:gd name="connsiteY1" fmla="*/ 9663 h 9662"/>
                  <a:gd name="connsiteX2" fmla="*/ 0 w 9662"/>
                  <a:gd name="connsiteY2" fmla="*/ 4832 h 9662"/>
                  <a:gd name="connsiteX3" fmla="*/ 4832 w 9662"/>
                  <a:gd name="connsiteY3" fmla="*/ 0 h 9662"/>
                  <a:gd name="connsiteX4" fmla="*/ 9663 w 9662"/>
                  <a:gd name="connsiteY4" fmla="*/ 4832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2"/>
                    </a:moveTo>
                    <a:cubicBezTo>
                      <a:pt x="9663" y="7500"/>
                      <a:pt x="7500" y="9663"/>
                      <a:pt x="4832" y="9663"/>
                    </a:cubicBezTo>
                    <a:cubicBezTo>
                      <a:pt x="2162" y="9663"/>
                      <a:pt x="0" y="7500"/>
                      <a:pt x="0" y="4832"/>
                    </a:cubicBezTo>
                    <a:cubicBezTo>
                      <a:pt x="0" y="2165"/>
                      <a:pt x="2162" y="0"/>
                      <a:pt x="4832" y="0"/>
                    </a:cubicBezTo>
                    <a:cubicBezTo>
                      <a:pt x="7500" y="0"/>
                      <a:pt x="9663" y="2165"/>
                      <a:pt x="9663" y="4832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91751515-BF02-4D7C-B64E-F8C7C94D1859}"/>
                  </a:ext>
                </a:extLst>
              </p:cNvPr>
              <p:cNvSpPr/>
              <p:nvPr/>
            </p:nvSpPr>
            <p:spPr>
              <a:xfrm>
                <a:off x="3021996" y="6612251"/>
                <a:ext cx="9662" cy="9662"/>
              </a:xfrm>
              <a:custGeom>
                <a:avLst/>
                <a:gdLst>
                  <a:gd name="connsiteX0" fmla="*/ 9663 w 9662"/>
                  <a:gd name="connsiteY0" fmla="*/ 4830 h 9662"/>
                  <a:gd name="connsiteX1" fmla="*/ 4832 w 9662"/>
                  <a:gd name="connsiteY1" fmla="*/ 9663 h 9662"/>
                  <a:gd name="connsiteX2" fmla="*/ 0 w 9662"/>
                  <a:gd name="connsiteY2" fmla="*/ 4830 h 9662"/>
                  <a:gd name="connsiteX3" fmla="*/ 4832 w 9662"/>
                  <a:gd name="connsiteY3" fmla="*/ 0 h 9662"/>
                  <a:gd name="connsiteX4" fmla="*/ 9663 w 9662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2" h="9662">
                    <a:moveTo>
                      <a:pt x="9663" y="4830"/>
                    </a:moveTo>
                    <a:cubicBezTo>
                      <a:pt x="9663" y="7498"/>
                      <a:pt x="7500" y="9663"/>
                      <a:pt x="4832" y="9663"/>
                    </a:cubicBezTo>
                    <a:cubicBezTo>
                      <a:pt x="2162" y="9663"/>
                      <a:pt x="0" y="7498"/>
                      <a:pt x="0" y="4830"/>
                    </a:cubicBezTo>
                    <a:cubicBezTo>
                      <a:pt x="0" y="2162"/>
                      <a:pt x="2162" y="0"/>
                      <a:pt x="4832" y="0"/>
                    </a:cubicBezTo>
                    <a:cubicBezTo>
                      <a:pt x="7500" y="0"/>
                      <a:pt x="9663" y="2162"/>
                      <a:pt x="9663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4B008A18-E7A1-4B81-A663-02686E6CB8A6}"/>
                  </a:ext>
                </a:extLst>
              </p:cNvPr>
              <p:cNvSpPr/>
              <p:nvPr/>
            </p:nvSpPr>
            <p:spPr>
              <a:xfrm>
                <a:off x="2983344" y="6534955"/>
                <a:ext cx="9660" cy="9662"/>
              </a:xfrm>
              <a:custGeom>
                <a:avLst/>
                <a:gdLst>
                  <a:gd name="connsiteX0" fmla="*/ 9660 w 9660"/>
                  <a:gd name="connsiteY0" fmla="*/ 4830 h 9662"/>
                  <a:gd name="connsiteX1" fmla="*/ 4830 w 9660"/>
                  <a:gd name="connsiteY1" fmla="*/ 9663 h 9662"/>
                  <a:gd name="connsiteX2" fmla="*/ 0 w 9660"/>
                  <a:gd name="connsiteY2" fmla="*/ 4830 h 9662"/>
                  <a:gd name="connsiteX3" fmla="*/ 4830 w 9660"/>
                  <a:gd name="connsiteY3" fmla="*/ 0 h 9662"/>
                  <a:gd name="connsiteX4" fmla="*/ 9660 w 9660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0" h="9662">
                    <a:moveTo>
                      <a:pt x="9660" y="4830"/>
                    </a:moveTo>
                    <a:cubicBezTo>
                      <a:pt x="9660" y="7498"/>
                      <a:pt x="7498" y="9663"/>
                      <a:pt x="4830" y="9663"/>
                    </a:cubicBezTo>
                    <a:cubicBezTo>
                      <a:pt x="2162" y="9663"/>
                      <a:pt x="0" y="7498"/>
                      <a:pt x="0" y="4830"/>
                    </a:cubicBezTo>
                    <a:cubicBezTo>
                      <a:pt x="0" y="2162"/>
                      <a:pt x="2162" y="0"/>
                      <a:pt x="4830" y="0"/>
                    </a:cubicBezTo>
                    <a:cubicBezTo>
                      <a:pt x="7498" y="0"/>
                      <a:pt x="9660" y="2162"/>
                      <a:pt x="9660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DFE9DDC5-CBDB-4EB8-8962-6A0A1B478246}"/>
                  </a:ext>
                </a:extLst>
              </p:cNvPr>
              <p:cNvSpPr/>
              <p:nvPr/>
            </p:nvSpPr>
            <p:spPr>
              <a:xfrm>
                <a:off x="2983344" y="6573601"/>
                <a:ext cx="9660" cy="9662"/>
              </a:xfrm>
              <a:custGeom>
                <a:avLst/>
                <a:gdLst>
                  <a:gd name="connsiteX0" fmla="*/ 9660 w 9660"/>
                  <a:gd name="connsiteY0" fmla="*/ 4832 h 9662"/>
                  <a:gd name="connsiteX1" fmla="*/ 4830 w 9660"/>
                  <a:gd name="connsiteY1" fmla="*/ 9663 h 9662"/>
                  <a:gd name="connsiteX2" fmla="*/ 0 w 9660"/>
                  <a:gd name="connsiteY2" fmla="*/ 4832 h 9662"/>
                  <a:gd name="connsiteX3" fmla="*/ 4830 w 9660"/>
                  <a:gd name="connsiteY3" fmla="*/ 0 h 9662"/>
                  <a:gd name="connsiteX4" fmla="*/ 9660 w 9660"/>
                  <a:gd name="connsiteY4" fmla="*/ 4832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0" h="9662">
                    <a:moveTo>
                      <a:pt x="9660" y="4832"/>
                    </a:moveTo>
                    <a:cubicBezTo>
                      <a:pt x="9660" y="7500"/>
                      <a:pt x="7498" y="9663"/>
                      <a:pt x="4830" y="9663"/>
                    </a:cubicBezTo>
                    <a:cubicBezTo>
                      <a:pt x="2162" y="9663"/>
                      <a:pt x="0" y="7500"/>
                      <a:pt x="0" y="4832"/>
                    </a:cubicBezTo>
                    <a:cubicBezTo>
                      <a:pt x="0" y="2165"/>
                      <a:pt x="2162" y="0"/>
                      <a:pt x="4830" y="0"/>
                    </a:cubicBezTo>
                    <a:cubicBezTo>
                      <a:pt x="7498" y="0"/>
                      <a:pt x="9660" y="2165"/>
                      <a:pt x="9660" y="4832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F5F9804A-48DF-4223-9DBB-B652A9BDBCCA}"/>
                  </a:ext>
                </a:extLst>
              </p:cNvPr>
              <p:cNvSpPr/>
              <p:nvPr/>
            </p:nvSpPr>
            <p:spPr>
              <a:xfrm>
                <a:off x="2983344" y="6612251"/>
                <a:ext cx="9660" cy="9662"/>
              </a:xfrm>
              <a:custGeom>
                <a:avLst/>
                <a:gdLst>
                  <a:gd name="connsiteX0" fmla="*/ 9660 w 9660"/>
                  <a:gd name="connsiteY0" fmla="*/ 4830 h 9662"/>
                  <a:gd name="connsiteX1" fmla="*/ 4830 w 9660"/>
                  <a:gd name="connsiteY1" fmla="*/ 9663 h 9662"/>
                  <a:gd name="connsiteX2" fmla="*/ 0 w 9660"/>
                  <a:gd name="connsiteY2" fmla="*/ 4830 h 9662"/>
                  <a:gd name="connsiteX3" fmla="*/ 4830 w 9660"/>
                  <a:gd name="connsiteY3" fmla="*/ 0 h 9662"/>
                  <a:gd name="connsiteX4" fmla="*/ 9660 w 9660"/>
                  <a:gd name="connsiteY4" fmla="*/ 4830 h 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60" h="9662">
                    <a:moveTo>
                      <a:pt x="9660" y="4830"/>
                    </a:moveTo>
                    <a:cubicBezTo>
                      <a:pt x="9660" y="7498"/>
                      <a:pt x="7498" y="9663"/>
                      <a:pt x="4830" y="9663"/>
                    </a:cubicBezTo>
                    <a:cubicBezTo>
                      <a:pt x="2162" y="9663"/>
                      <a:pt x="0" y="7498"/>
                      <a:pt x="0" y="4830"/>
                    </a:cubicBezTo>
                    <a:cubicBezTo>
                      <a:pt x="0" y="2162"/>
                      <a:pt x="2162" y="0"/>
                      <a:pt x="4830" y="0"/>
                    </a:cubicBezTo>
                    <a:cubicBezTo>
                      <a:pt x="7498" y="0"/>
                      <a:pt x="9660" y="2162"/>
                      <a:pt x="9660" y="4830"/>
                    </a:cubicBezTo>
                  </a:path>
                </a:pathLst>
              </a:custGeom>
              <a:grpFill/>
              <a:ln w="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165B03D6-9FA0-4613-8D00-566EE1A816C3}"/>
                </a:ext>
              </a:extLst>
            </p:cNvPr>
            <p:cNvSpPr txBox="1"/>
            <p:nvPr/>
          </p:nvSpPr>
          <p:spPr>
            <a:xfrm>
              <a:off x="6764644" y="3940126"/>
              <a:ext cx="48175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800">
                  <a:solidFill>
                    <a:schemeClr val="accent2"/>
                  </a:solidFill>
                  <a:latin typeface="Abadi" panose="020B0604020104020204" pitchFamily="34" charset="0"/>
                </a:rPr>
                <a:t>SFDC</a:t>
              </a:r>
              <a:endParaRPr lang="en-AU" sz="1000">
                <a:solidFill>
                  <a:schemeClr val="accent2"/>
                </a:solidFill>
                <a:latin typeface="Abadi" panose="020B0604020104020204" pitchFamily="34" charset="0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B9AD58FA-EF0D-47B9-9CD4-94694002BACF}"/>
                </a:ext>
              </a:extLst>
            </p:cNvPr>
            <p:cNvSpPr/>
            <p:nvPr/>
          </p:nvSpPr>
          <p:spPr>
            <a:xfrm>
              <a:off x="2166152" y="983531"/>
              <a:ext cx="1562237" cy="3527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AU" sz="1000" b="1">
                  <a:solidFill>
                    <a:schemeClr val="bg1"/>
                  </a:solidFill>
                </a:rPr>
                <a:t>Orchestration and Workflow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0FC92314-0F65-4C47-8839-B3FDF99855F8}"/>
                </a:ext>
              </a:extLst>
            </p:cNvPr>
            <p:cNvSpPr/>
            <p:nvPr/>
          </p:nvSpPr>
          <p:spPr>
            <a:xfrm>
              <a:off x="3972036" y="1000740"/>
              <a:ext cx="1562237" cy="3527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AU" sz="1000" b="1">
                  <a:solidFill>
                    <a:schemeClr val="bg1"/>
                  </a:solidFill>
                </a:rPr>
                <a:t>Devops</a:t>
              </a:r>
            </a:p>
          </p:txBody>
        </p:sp>
        <p:pic>
          <p:nvPicPr>
            <p:cNvPr id="182" name="Picture 18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15671A6-402A-44EE-B862-95C4C4CD4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rot="16200000">
              <a:off x="1508545" y="2301892"/>
              <a:ext cx="586808" cy="586808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183" name="Graphic 514">
              <a:extLst>
                <a:ext uri="{FF2B5EF4-FFF2-40B4-BE49-F238E27FC236}">
                  <a16:creationId xmlns:a16="http://schemas.microsoft.com/office/drawing/2014/main" id="{BC179F98-4149-48AF-A957-ED25A86B20C9}"/>
                </a:ext>
              </a:extLst>
            </p:cNvPr>
            <p:cNvGrpSpPr/>
            <p:nvPr/>
          </p:nvGrpSpPr>
          <p:grpSpPr>
            <a:xfrm>
              <a:off x="3994071" y="3820670"/>
              <a:ext cx="458731" cy="458728"/>
              <a:chOff x="2832113" y="2017625"/>
              <a:chExt cx="458731" cy="458728"/>
            </a:xfrm>
            <a:solidFill>
              <a:schemeClr val="accent2"/>
            </a:solidFill>
          </p:grpSpPr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162E5D40-2E31-485D-9B96-A30B907AC2BE}"/>
                  </a:ext>
                </a:extLst>
              </p:cNvPr>
              <p:cNvSpPr/>
              <p:nvPr/>
            </p:nvSpPr>
            <p:spPr>
              <a:xfrm>
                <a:off x="2832113" y="2017625"/>
                <a:ext cx="275235" cy="163103"/>
              </a:xfrm>
              <a:custGeom>
                <a:avLst/>
                <a:gdLst>
                  <a:gd name="connsiteX0" fmla="*/ 41606 w 275235"/>
                  <a:gd name="connsiteY0" fmla="*/ 27184 h 163103"/>
                  <a:gd name="connsiteX1" fmla="*/ 14699 w 275235"/>
                  <a:gd name="connsiteY1" fmla="*/ 27184 h 163103"/>
                  <a:gd name="connsiteX2" fmla="*/ 9601 w 275235"/>
                  <a:gd name="connsiteY2" fmla="*/ 32282 h 163103"/>
                  <a:gd name="connsiteX3" fmla="*/ 9601 w 275235"/>
                  <a:gd name="connsiteY3" fmla="*/ 148942 h 163103"/>
                  <a:gd name="connsiteX4" fmla="*/ 14699 w 275235"/>
                  <a:gd name="connsiteY4" fmla="*/ 154040 h 163103"/>
                  <a:gd name="connsiteX5" fmla="*/ 260538 w 275235"/>
                  <a:gd name="connsiteY5" fmla="*/ 154040 h 163103"/>
                  <a:gd name="connsiteX6" fmla="*/ 265636 w 275235"/>
                  <a:gd name="connsiteY6" fmla="*/ 148942 h 163103"/>
                  <a:gd name="connsiteX7" fmla="*/ 265636 w 275235"/>
                  <a:gd name="connsiteY7" fmla="*/ 32282 h 163103"/>
                  <a:gd name="connsiteX8" fmla="*/ 260538 w 275235"/>
                  <a:gd name="connsiteY8" fmla="*/ 27184 h 163103"/>
                  <a:gd name="connsiteX9" fmla="*/ 128021 w 275235"/>
                  <a:gd name="connsiteY9" fmla="*/ 27184 h 163103"/>
                  <a:gd name="connsiteX10" fmla="*/ 128021 w 275235"/>
                  <a:gd name="connsiteY10" fmla="*/ 14159 h 163103"/>
                  <a:gd name="connsiteX11" fmla="*/ 122923 w 275235"/>
                  <a:gd name="connsiteY11" fmla="*/ 9061 h 163103"/>
                  <a:gd name="connsiteX12" fmla="*/ 46703 w 275235"/>
                  <a:gd name="connsiteY12" fmla="*/ 9061 h 163103"/>
                  <a:gd name="connsiteX13" fmla="*/ 41608 w 275235"/>
                  <a:gd name="connsiteY13" fmla="*/ 14159 h 163103"/>
                  <a:gd name="connsiteX14" fmla="*/ 32006 w 275235"/>
                  <a:gd name="connsiteY14" fmla="*/ 18123 h 163103"/>
                  <a:gd name="connsiteX15" fmla="*/ 32006 w 275235"/>
                  <a:gd name="connsiteY15" fmla="*/ 5098 h 163103"/>
                  <a:gd name="connsiteX16" fmla="*/ 37102 w 275235"/>
                  <a:gd name="connsiteY16" fmla="*/ 0 h 163103"/>
                  <a:gd name="connsiteX17" fmla="*/ 132524 w 275235"/>
                  <a:gd name="connsiteY17" fmla="*/ 0 h 163103"/>
                  <a:gd name="connsiteX18" fmla="*/ 137621 w 275235"/>
                  <a:gd name="connsiteY18" fmla="*/ 5098 h 163103"/>
                  <a:gd name="connsiteX19" fmla="*/ 137621 w 275235"/>
                  <a:gd name="connsiteY19" fmla="*/ 18123 h 163103"/>
                  <a:gd name="connsiteX20" fmla="*/ 270138 w 275235"/>
                  <a:gd name="connsiteY20" fmla="*/ 18123 h 163103"/>
                  <a:gd name="connsiteX21" fmla="*/ 275236 w 275235"/>
                  <a:gd name="connsiteY21" fmla="*/ 23219 h 163103"/>
                  <a:gd name="connsiteX22" fmla="*/ 275236 w 275235"/>
                  <a:gd name="connsiteY22" fmla="*/ 158008 h 163103"/>
                  <a:gd name="connsiteX23" fmla="*/ 270138 w 275235"/>
                  <a:gd name="connsiteY23" fmla="*/ 163103 h 163103"/>
                  <a:gd name="connsiteX24" fmla="*/ 5098 w 275235"/>
                  <a:gd name="connsiteY24" fmla="*/ 163103 h 163103"/>
                  <a:gd name="connsiteX25" fmla="*/ 0 w 275235"/>
                  <a:gd name="connsiteY25" fmla="*/ 158008 h 163103"/>
                  <a:gd name="connsiteX26" fmla="*/ 0 w 275235"/>
                  <a:gd name="connsiteY26" fmla="*/ 23219 h 163103"/>
                  <a:gd name="connsiteX27" fmla="*/ 5098 w 275235"/>
                  <a:gd name="connsiteY27" fmla="*/ 18123 h 16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75235" h="163103">
                    <a:moveTo>
                      <a:pt x="41606" y="27184"/>
                    </a:moveTo>
                    <a:lnTo>
                      <a:pt x="14699" y="27184"/>
                    </a:lnTo>
                    <a:cubicBezTo>
                      <a:pt x="11883" y="27184"/>
                      <a:pt x="9601" y="29466"/>
                      <a:pt x="9601" y="32282"/>
                    </a:cubicBezTo>
                    <a:lnTo>
                      <a:pt x="9601" y="148942"/>
                    </a:lnTo>
                    <a:cubicBezTo>
                      <a:pt x="9601" y="151758"/>
                      <a:pt x="11883" y="154040"/>
                      <a:pt x="14699" y="154040"/>
                    </a:cubicBezTo>
                    <a:lnTo>
                      <a:pt x="260538" y="154040"/>
                    </a:lnTo>
                    <a:cubicBezTo>
                      <a:pt x="263351" y="154040"/>
                      <a:pt x="265636" y="151758"/>
                      <a:pt x="265636" y="148942"/>
                    </a:cubicBezTo>
                    <a:lnTo>
                      <a:pt x="265636" y="32282"/>
                    </a:lnTo>
                    <a:cubicBezTo>
                      <a:pt x="265636" y="29466"/>
                      <a:pt x="263351" y="27184"/>
                      <a:pt x="260538" y="27184"/>
                    </a:cubicBezTo>
                    <a:lnTo>
                      <a:pt x="128021" y="27184"/>
                    </a:lnTo>
                    <a:lnTo>
                      <a:pt x="128021" y="14159"/>
                    </a:lnTo>
                    <a:cubicBezTo>
                      <a:pt x="128021" y="11345"/>
                      <a:pt x="125736" y="9061"/>
                      <a:pt x="122923" y="9061"/>
                    </a:cubicBezTo>
                    <a:lnTo>
                      <a:pt x="46703" y="9061"/>
                    </a:lnTo>
                    <a:cubicBezTo>
                      <a:pt x="43889" y="9061"/>
                      <a:pt x="41608" y="11345"/>
                      <a:pt x="41608" y="14159"/>
                    </a:cubicBezTo>
                    <a:close/>
                    <a:moveTo>
                      <a:pt x="32006" y="18123"/>
                    </a:moveTo>
                    <a:lnTo>
                      <a:pt x="32006" y="5098"/>
                    </a:lnTo>
                    <a:cubicBezTo>
                      <a:pt x="32006" y="2282"/>
                      <a:pt x="34288" y="0"/>
                      <a:pt x="37102" y="0"/>
                    </a:cubicBezTo>
                    <a:lnTo>
                      <a:pt x="132524" y="0"/>
                    </a:lnTo>
                    <a:cubicBezTo>
                      <a:pt x="135340" y="0"/>
                      <a:pt x="137621" y="2282"/>
                      <a:pt x="137621" y="5098"/>
                    </a:cubicBezTo>
                    <a:lnTo>
                      <a:pt x="137621" y="18123"/>
                    </a:lnTo>
                    <a:lnTo>
                      <a:pt x="270138" y="18123"/>
                    </a:lnTo>
                    <a:cubicBezTo>
                      <a:pt x="272954" y="18123"/>
                      <a:pt x="275236" y="20405"/>
                      <a:pt x="275236" y="23219"/>
                    </a:cubicBezTo>
                    <a:lnTo>
                      <a:pt x="275236" y="158008"/>
                    </a:lnTo>
                    <a:cubicBezTo>
                      <a:pt x="275236" y="160822"/>
                      <a:pt x="272954" y="163103"/>
                      <a:pt x="270138" y="163103"/>
                    </a:cubicBezTo>
                    <a:lnTo>
                      <a:pt x="5098" y="163103"/>
                    </a:lnTo>
                    <a:cubicBezTo>
                      <a:pt x="2281" y="163103"/>
                      <a:pt x="0" y="160822"/>
                      <a:pt x="0" y="158008"/>
                    </a:cubicBezTo>
                    <a:lnTo>
                      <a:pt x="0" y="23219"/>
                    </a:lnTo>
                    <a:cubicBezTo>
                      <a:pt x="0" y="20405"/>
                      <a:pt x="2281" y="18123"/>
                      <a:pt x="5098" y="18123"/>
                    </a:cubicBez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BE2A3C9-7DAA-4E5A-8DBF-5DB95C9745EB}"/>
                  </a:ext>
                </a:extLst>
              </p:cNvPr>
              <p:cNvSpPr/>
              <p:nvPr/>
            </p:nvSpPr>
            <p:spPr>
              <a:xfrm>
                <a:off x="2932110" y="2055817"/>
                <a:ext cx="59025" cy="59025"/>
              </a:xfrm>
              <a:custGeom>
                <a:avLst/>
                <a:gdLst>
                  <a:gd name="connsiteX0" fmla="*/ 59026 w 59025"/>
                  <a:gd name="connsiteY0" fmla="*/ 29513 h 59025"/>
                  <a:gd name="connsiteX1" fmla="*/ 29513 w 59025"/>
                  <a:gd name="connsiteY1" fmla="*/ 59026 h 59025"/>
                  <a:gd name="connsiteX2" fmla="*/ 0 w 59025"/>
                  <a:gd name="connsiteY2" fmla="*/ 29513 h 59025"/>
                  <a:gd name="connsiteX3" fmla="*/ 29513 w 59025"/>
                  <a:gd name="connsiteY3" fmla="*/ 0 h 59025"/>
                  <a:gd name="connsiteX4" fmla="*/ 59026 w 59025"/>
                  <a:gd name="connsiteY4" fmla="*/ 29513 h 5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25" h="59025">
                    <a:moveTo>
                      <a:pt x="59026" y="29513"/>
                    </a:moveTo>
                    <a:cubicBezTo>
                      <a:pt x="59026" y="45813"/>
                      <a:pt x="45813" y="59026"/>
                      <a:pt x="29513" y="59026"/>
                    </a:cubicBezTo>
                    <a:cubicBezTo>
                      <a:pt x="13213" y="59026"/>
                      <a:pt x="0" y="45813"/>
                      <a:pt x="0" y="29513"/>
                    </a:cubicBezTo>
                    <a:cubicBezTo>
                      <a:pt x="0" y="13213"/>
                      <a:pt x="13213" y="0"/>
                      <a:pt x="29513" y="0"/>
                    </a:cubicBezTo>
                    <a:cubicBezTo>
                      <a:pt x="45813" y="0"/>
                      <a:pt x="59026" y="13213"/>
                      <a:pt x="59026" y="29513"/>
                    </a:cubicBezTo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E70873DC-B685-4FBD-9C75-1012A7779046}"/>
                  </a:ext>
                </a:extLst>
              </p:cNvPr>
              <p:cNvSpPr/>
              <p:nvPr/>
            </p:nvSpPr>
            <p:spPr>
              <a:xfrm>
                <a:off x="2918760" y="2119565"/>
                <a:ext cx="96843" cy="35679"/>
              </a:xfrm>
              <a:custGeom>
                <a:avLst/>
                <a:gdLst>
                  <a:gd name="connsiteX0" fmla="*/ 5098 w 96843"/>
                  <a:gd name="connsiteY0" fmla="*/ 0 h 35679"/>
                  <a:gd name="connsiteX1" fmla="*/ 91745 w 96843"/>
                  <a:gd name="connsiteY1" fmla="*/ 0 h 35679"/>
                  <a:gd name="connsiteX2" fmla="*/ 96844 w 96843"/>
                  <a:gd name="connsiteY2" fmla="*/ 5098 h 35679"/>
                  <a:gd name="connsiteX3" fmla="*/ 96844 w 96843"/>
                  <a:gd name="connsiteY3" fmla="*/ 30582 h 35679"/>
                  <a:gd name="connsiteX4" fmla="*/ 91745 w 96843"/>
                  <a:gd name="connsiteY4" fmla="*/ 35680 h 35679"/>
                  <a:gd name="connsiteX5" fmla="*/ 5098 w 96843"/>
                  <a:gd name="connsiteY5" fmla="*/ 35680 h 35679"/>
                  <a:gd name="connsiteX6" fmla="*/ 0 w 96843"/>
                  <a:gd name="connsiteY6" fmla="*/ 30582 h 35679"/>
                  <a:gd name="connsiteX7" fmla="*/ 0 w 96843"/>
                  <a:gd name="connsiteY7" fmla="*/ 5098 h 35679"/>
                  <a:gd name="connsiteX8" fmla="*/ 5098 w 96843"/>
                  <a:gd name="connsiteY8" fmla="*/ 0 h 35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6843" h="35679">
                    <a:moveTo>
                      <a:pt x="5098" y="0"/>
                    </a:moveTo>
                    <a:lnTo>
                      <a:pt x="91745" y="0"/>
                    </a:lnTo>
                    <a:cubicBezTo>
                      <a:pt x="94559" y="0"/>
                      <a:pt x="96844" y="2814"/>
                      <a:pt x="96844" y="5098"/>
                    </a:cubicBezTo>
                    <a:lnTo>
                      <a:pt x="96844" y="30582"/>
                    </a:lnTo>
                    <a:cubicBezTo>
                      <a:pt x="96844" y="33396"/>
                      <a:pt x="94562" y="35680"/>
                      <a:pt x="91745" y="35680"/>
                    </a:cubicBezTo>
                    <a:lnTo>
                      <a:pt x="5098" y="35680"/>
                    </a:lnTo>
                    <a:cubicBezTo>
                      <a:pt x="2284" y="35680"/>
                      <a:pt x="0" y="32866"/>
                      <a:pt x="0" y="30582"/>
                    </a:cubicBezTo>
                    <a:lnTo>
                      <a:pt x="0" y="5098"/>
                    </a:lnTo>
                    <a:cubicBezTo>
                      <a:pt x="0" y="2284"/>
                      <a:pt x="2282" y="0"/>
                      <a:pt x="5098" y="0"/>
                    </a:cubicBez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FC08787-EE9C-427F-9F6A-868A3463A8CE}"/>
                  </a:ext>
                </a:extLst>
              </p:cNvPr>
              <p:cNvSpPr/>
              <p:nvPr/>
            </p:nvSpPr>
            <p:spPr>
              <a:xfrm>
                <a:off x="2945582" y="2217078"/>
                <a:ext cx="110130" cy="110130"/>
              </a:xfrm>
              <a:custGeom>
                <a:avLst/>
                <a:gdLst>
                  <a:gd name="connsiteX0" fmla="*/ 97652 w 110130"/>
                  <a:gd name="connsiteY0" fmla="*/ 47190 h 110130"/>
                  <a:gd name="connsiteX1" fmla="*/ 110614 w 110130"/>
                  <a:gd name="connsiteY1" fmla="*/ 41821 h 110130"/>
                  <a:gd name="connsiteX2" fmla="*/ 104297 w 110130"/>
                  <a:gd name="connsiteY2" fmla="*/ 26553 h 110130"/>
                  <a:gd name="connsiteX3" fmla="*/ 91332 w 110130"/>
                  <a:gd name="connsiteY3" fmla="*/ 31936 h 110130"/>
                  <a:gd name="connsiteX4" fmla="*/ 79316 w 110130"/>
                  <a:gd name="connsiteY4" fmla="*/ 19901 h 110130"/>
                  <a:gd name="connsiteX5" fmla="*/ 84687 w 110130"/>
                  <a:gd name="connsiteY5" fmla="*/ 6957 h 110130"/>
                  <a:gd name="connsiteX6" fmla="*/ 69420 w 110130"/>
                  <a:gd name="connsiteY6" fmla="*/ 626 h 110130"/>
                  <a:gd name="connsiteX7" fmla="*/ 64058 w 110130"/>
                  <a:gd name="connsiteY7" fmla="*/ 13581 h 110130"/>
                  <a:gd name="connsiteX8" fmla="*/ 47060 w 110130"/>
                  <a:gd name="connsiteY8" fmla="*/ 13589 h 110130"/>
                  <a:gd name="connsiteX9" fmla="*/ 41691 w 110130"/>
                  <a:gd name="connsiteY9" fmla="*/ 627 h 110130"/>
                  <a:gd name="connsiteX10" fmla="*/ 26421 w 110130"/>
                  <a:gd name="connsiteY10" fmla="*/ 6957 h 110130"/>
                  <a:gd name="connsiteX11" fmla="*/ 31793 w 110130"/>
                  <a:gd name="connsiteY11" fmla="*/ 19922 h 110130"/>
                  <a:gd name="connsiteX12" fmla="*/ 19769 w 110130"/>
                  <a:gd name="connsiteY12" fmla="*/ 31935 h 110130"/>
                  <a:gd name="connsiteX13" fmla="*/ 6815 w 110130"/>
                  <a:gd name="connsiteY13" fmla="*/ 26564 h 110130"/>
                  <a:gd name="connsiteX14" fmla="*/ 484 w 110130"/>
                  <a:gd name="connsiteY14" fmla="*/ 41820 h 110130"/>
                  <a:gd name="connsiteX15" fmla="*/ 13438 w 110130"/>
                  <a:gd name="connsiteY15" fmla="*/ 47190 h 110130"/>
                  <a:gd name="connsiteX16" fmla="*/ 13446 w 110130"/>
                  <a:gd name="connsiteY16" fmla="*/ 64190 h 110130"/>
                  <a:gd name="connsiteX17" fmla="*/ 484 w 110130"/>
                  <a:gd name="connsiteY17" fmla="*/ 69559 h 110130"/>
                  <a:gd name="connsiteX18" fmla="*/ 6804 w 110130"/>
                  <a:gd name="connsiteY18" fmla="*/ 84829 h 110130"/>
                  <a:gd name="connsiteX19" fmla="*/ 19769 w 110130"/>
                  <a:gd name="connsiteY19" fmla="*/ 79458 h 110130"/>
                  <a:gd name="connsiteX20" fmla="*/ 31782 w 110130"/>
                  <a:gd name="connsiteY20" fmla="*/ 91493 h 110130"/>
                  <a:gd name="connsiteX21" fmla="*/ 26410 w 110130"/>
                  <a:gd name="connsiteY21" fmla="*/ 104446 h 110130"/>
                  <a:gd name="connsiteX22" fmla="*/ 41680 w 110130"/>
                  <a:gd name="connsiteY22" fmla="*/ 110757 h 110130"/>
                  <a:gd name="connsiteX23" fmla="*/ 47049 w 110130"/>
                  <a:gd name="connsiteY23" fmla="*/ 97802 h 110130"/>
                  <a:gd name="connsiteX24" fmla="*/ 64050 w 110130"/>
                  <a:gd name="connsiteY24" fmla="*/ 97795 h 110130"/>
                  <a:gd name="connsiteX25" fmla="*/ 69409 w 110130"/>
                  <a:gd name="connsiteY25" fmla="*/ 110756 h 110130"/>
                  <a:gd name="connsiteX26" fmla="*/ 84676 w 110130"/>
                  <a:gd name="connsiteY26" fmla="*/ 104436 h 110130"/>
                  <a:gd name="connsiteX27" fmla="*/ 79304 w 110130"/>
                  <a:gd name="connsiteY27" fmla="*/ 91472 h 110130"/>
                  <a:gd name="connsiteX28" fmla="*/ 91331 w 110130"/>
                  <a:gd name="connsiteY28" fmla="*/ 79458 h 110130"/>
                  <a:gd name="connsiteX29" fmla="*/ 104283 w 110130"/>
                  <a:gd name="connsiteY29" fmla="*/ 84830 h 110130"/>
                  <a:gd name="connsiteX30" fmla="*/ 110614 w 110130"/>
                  <a:gd name="connsiteY30" fmla="*/ 69560 h 110130"/>
                  <a:gd name="connsiteX31" fmla="*/ 97659 w 110130"/>
                  <a:gd name="connsiteY31" fmla="*/ 64191 h 110130"/>
                  <a:gd name="connsiteX32" fmla="*/ 97652 w 110130"/>
                  <a:gd name="connsiteY32" fmla="*/ 47190 h 110130"/>
                  <a:gd name="connsiteX33" fmla="*/ 63131 w 110130"/>
                  <a:gd name="connsiteY33" fmla="*/ 74015 h 110130"/>
                  <a:gd name="connsiteX34" fmla="*/ 37226 w 110130"/>
                  <a:gd name="connsiteY34" fmla="*/ 63284 h 110130"/>
                  <a:gd name="connsiteX35" fmla="*/ 47956 w 110130"/>
                  <a:gd name="connsiteY35" fmla="*/ 37379 h 110130"/>
                  <a:gd name="connsiteX36" fmla="*/ 73862 w 110130"/>
                  <a:gd name="connsiteY36" fmla="*/ 48109 h 110130"/>
                  <a:gd name="connsiteX37" fmla="*/ 63131 w 110130"/>
                  <a:gd name="connsiteY37" fmla="*/ 74015 h 11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10130" h="110130">
                    <a:moveTo>
                      <a:pt x="97652" y="47190"/>
                    </a:moveTo>
                    <a:lnTo>
                      <a:pt x="110614" y="41821"/>
                    </a:lnTo>
                    <a:lnTo>
                      <a:pt x="104297" y="26553"/>
                    </a:lnTo>
                    <a:lnTo>
                      <a:pt x="91332" y="31936"/>
                    </a:lnTo>
                    <a:cubicBezTo>
                      <a:pt x="88107" y="27062"/>
                      <a:pt x="84010" y="23007"/>
                      <a:pt x="79316" y="19901"/>
                    </a:cubicBezTo>
                    <a:lnTo>
                      <a:pt x="84687" y="6957"/>
                    </a:lnTo>
                    <a:lnTo>
                      <a:pt x="69420" y="626"/>
                    </a:lnTo>
                    <a:lnTo>
                      <a:pt x="64058" y="13581"/>
                    </a:lnTo>
                    <a:cubicBezTo>
                      <a:pt x="58542" y="12464"/>
                      <a:pt x="52774" y="12432"/>
                      <a:pt x="47060" y="13589"/>
                    </a:cubicBezTo>
                    <a:lnTo>
                      <a:pt x="41691" y="627"/>
                    </a:lnTo>
                    <a:lnTo>
                      <a:pt x="26421" y="6957"/>
                    </a:lnTo>
                    <a:lnTo>
                      <a:pt x="31793" y="19922"/>
                    </a:lnTo>
                    <a:cubicBezTo>
                      <a:pt x="26932" y="23144"/>
                      <a:pt x="22877" y="27241"/>
                      <a:pt x="19769" y="31935"/>
                    </a:cubicBezTo>
                    <a:lnTo>
                      <a:pt x="6815" y="26564"/>
                    </a:lnTo>
                    <a:lnTo>
                      <a:pt x="484" y="41820"/>
                    </a:lnTo>
                    <a:lnTo>
                      <a:pt x="13438" y="47190"/>
                    </a:lnTo>
                    <a:cubicBezTo>
                      <a:pt x="12313" y="52709"/>
                      <a:pt x="12292" y="58476"/>
                      <a:pt x="13446" y="64190"/>
                    </a:cubicBezTo>
                    <a:lnTo>
                      <a:pt x="484" y="69559"/>
                    </a:lnTo>
                    <a:lnTo>
                      <a:pt x="6804" y="84829"/>
                    </a:lnTo>
                    <a:lnTo>
                      <a:pt x="19769" y="79458"/>
                    </a:lnTo>
                    <a:cubicBezTo>
                      <a:pt x="22991" y="84318"/>
                      <a:pt x="27090" y="88387"/>
                      <a:pt x="31782" y="91493"/>
                    </a:cubicBezTo>
                    <a:lnTo>
                      <a:pt x="26410" y="104446"/>
                    </a:lnTo>
                    <a:lnTo>
                      <a:pt x="41680" y="110757"/>
                    </a:lnTo>
                    <a:lnTo>
                      <a:pt x="47049" y="97802"/>
                    </a:lnTo>
                    <a:cubicBezTo>
                      <a:pt x="52566" y="98917"/>
                      <a:pt x="58333" y="98951"/>
                      <a:pt x="64050" y="97795"/>
                    </a:cubicBezTo>
                    <a:lnTo>
                      <a:pt x="69409" y="110756"/>
                    </a:lnTo>
                    <a:lnTo>
                      <a:pt x="84676" y="104436"/>
                    </a:lnTo>
                    <a:lnTo>
                      <a:pt x="79304" y="91472"/>
                    </a:lnTo>
                    <a:cubicBezTo>
                      <a:pt x="84168" y="88250"/>
                      <a:pt x="88223" y="84140"/>
                      <a:pt x="91331" y="79458"/>
                    </a:cubicBezTo>
                    <a:lnTo>
                      <a:pt x="104283" y="84830"/>
                    </a:lnTo>
                    <a:lnTo>
                      <a:pt x="110614" y="69560"/>
                    </a:lnTo>
                    <a:lnTo>
                      <a:pt x="97659" y="64191"/>
                    </a:lnTo>
                    <a:cubicBezTo>
                      <a:pt x="98777" y="58674"/>
                      <a:pt x="98808" y="52907"/>
                      <a:pt x="97652" y="47190"/>
                    </a:cubicBezTo>
                    <a:close/>
                    <a:moveTo>
                      <a:pt x="63131" y="74015"/>
                    </a:moveTo>
                    <a:cubicBezTo>
                      <a:pt x="53017" y="78198"/>
                      <a:pt x="41417" y="73390"/>
                      <a:pt x="37226" y="63284"/>
                    </a:cubicBezTo>
                    <a:cubicBezTo>
                      <a:pt x="33032" y="53157"/>
                      <a:pt x="37842" y="41570"/>
                      <a:pt x="47956" y="37379"/>
                    </a:cubicBezTo>
                    <a:cubicBezTo>
                      <a:pt x="58073" y="33184"/>
                      <a:pt x="69681" y="37982"/>
                      <a:pt x="73862" y="48109"/>
                    </a:cubicBezTo>
                    <a:cubicBezTo>
                      <a:pt x="78056" y="58226"/>
                      <a:pt x="73258" y="69823"/>
                      <a:pt x="63131" y="74015"/>
                    </a:cubicBezTo>
                    <a:close/>
                  </a:path>
                </a:pathLst>
              </a:custGeom>
              <a:grpFill/>
              <a:ln w="7557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D401081-B839-4548-A34A-12A8B7816B01}"/>
                  </a:ext>
                </a:extLst>
              </p:cNvPr>
              <p:cNvSpPr/>
              <p:nvPr/>
            </p:nvSpPr>
            <p:spPr>
              <a:xfrm>
                <a:off x="3036667" y="2166763"/>
                <a:ext cx="69362" cy="69382"/>
              </a:xfrm>
              <a:custGeom>
                <a:avLst/>
                <a:gdLst>
                  <a:gd name="connsiteX0" fmla="*/ 69955 w 69362"/>
                  <a:gd name="connsiteY0" fmla="*/ 40313 h 69382"/>
                  <a:gd name="connsiteX1" fmla="*/ 69955 w 69362"/>
                  <a:gd name="connsiteY1" fmla="*/ 30112 h 69382"/>
                  <a:gd name="connsiteX2" fmla="*/ 61296 w 69362"/>
                  <a:gd name="connsiteY2" fmla="*/ 30112 h 69382"/>
                  <a:gd name="connsiteX3" fmla="*/ 57278 w 69362"/>
                  <a:gd name="connsiteY3" fmla="*/ 20419 h 69382"/>
                  <a:gd name="connsiteX4" fmla="*/ 63408 w 69362"/>
                  <a:gd name="connsiteY4" fmla="*/ 14296 h 69382"/>
                  <a:gd name="connsiteX5" fmla="*/ 56195 w 69362"/>
                  <a:gd name="connsiteY5" fmla="*/ 7080 h 69382"/>
                  <a:gd name="connsiteX6" fmla="*/ 50075 w 69362"/>
                  <a:gd name="connsiteY6" fmla="*/ 13203 h 69382"/>
                  <a:gd name="connsiteX7" fmla="*/ 40380 w 69362"/>
                  <a:gd name="connsiteY7" fmla="*/ 9175 h 69382"/>
                  <a:gd name="connsiteX8" fmla="*/ 40380 w 69362"/>
                  <a:gd name="connsiteY8" fmla="*/ 525 h 69382"/>
                  <a:gd name="connsiteX9" fmla="*/ 30179 w 69362"/>
                  <a:gd name="connsiteY9" fmla="*/ 525 h 69382"/>
                  <a:gd name="connsiteX10" fmla="*/ 30179 w 69362"/>
                  <a:gd name="connsiteY10" fmla="*/ 9185 h 69382"/>
                  <a:gd name="connsiteX11" fmla="*/ 20483 w 69362"/>
                  <a:gd name="connsiteY11" fmla="*/ 13213 h 69382"/>
                  <a:gd name="connsiteX12" fmla="*/ 14364 w 69362"/>
                  <a:gd name="connsiteY12" fmla="*/ 7090 h 69382"/>
                  <a:gd name="connsiteX13" fmla="*/ 7147 w 69362"/>
                  <a:gd name="connsiteY13" fmla="*/ 14307 h 69382"/>
                  <a:gd name="connsiteX14" fmla="*/ 13270 w 69362"/>
                  <a:gd name="connsiteY14" fmla="*/ 20440 h 69382"/>
                  <a:gd name="connsiteX15" fmla="*/ 9242 w 69362"/>
                  <a:gd name="connsiteY15" fmla="*/ 30122 h 69382"/>
                  <a:gd name="connsiteX16" fmla="*/ 593 w 69362"/>
                  <a:gd name="connsiteY16" fmla="*/ 30122 h 69382"/>
                  <a:gd name="connsiteX17" fmla="*/ 593 w 69362"/>
                  <a:gd name="connsiteY17" fmla="*/ 40323 h 69382"/>
                  <a:gd name="connsiteX18" fmla="*/ 9242 w 69362"/>
                  <a:gd name="connsiteY18" fmla="*/ 40323 h 69382"/>
                  <a:gd name="connsiteX19" fmla="*/ 13270 w 69362"/>
                  <a:gd name="connsiteY19" fmla="*/ 50018 h 69382"/>
                  <a:gd name="connsiteX20" fmla="*/ 7147 w 69362"/>
                  <a:gd name="connsiteY20" fmla="*/ 56138 h 69382"/>
                  <a:gd name="connsiteX21" fmla="*/ 14364 w 69362"/>
                  <a:gd name="connsiteY21" fmla="*/ 63346 h 69382"/>
                  <a:gd name="connsiteX22" fmla="*/ 20483 w 69362"/>
                  <a:gd name="connsiteY22" fmla="*/ 57221 h 69382"/>
                  <a:gd name="connsiteX23" fmla="*/ 30179 w 69362"/>
                  <a:gd name="connsiteY23" fmla="*/ 61249 h 69382"/>
                  <a:gd name="connsiteX24" fmla="*/ 30179 w 69362"/>
                  <a:gd name="connsiteY24" fmla="*/ 69908 h 69382"/>
                  <a:gd name="connsiteX25" fmla="*/ 40380 w 69362"/>
                  <a:gd name="connsiteY25" fmla="*/ 69908 h 69382"/>
                  <a:gd name="connsiteX26" fmla="*/ 40380 w 69362"/>
                  <a:gd name="connsiteY26" fmla="*/ 61249 h 69382"/>
                  <a:gd name="connsiteX27" fmla="*/ 50075 w 69362"/>
                  <a:gd name="connsiteY27" fmla="*/ 57221 h 69382"/>
                  <a:gd name="connsiteX28" fmla="*/ 56195 w 69362"/>
                  <a:gd name="connsiteY28" fmla="*/ 63346 h 69382"/>
                  <a:gd name="connsiteX29" fmla="*/ 63400 w 69362"/>
                  <a:gd name="connsiteY29" fmla="*/ 56138 h 69382"/>
                  <a:gd name="connsiteX30" fmla="*/ 57277 w 69362"/>
                  <a:gd name="connsiteY30" fmla="*/ 50018 h 69382"/>
                  <a:gd name="connsiteX31" fmla="*/ 61295 w 69362"/>
                  <a:gd name="connsiteY31" fmla="*/ 40323 h 69382"/>
                  <a:gd name="connsiteX32" fmla="*/ 69955 w 69362"/>
                  <a:gd name="connsiteY32" fmla="*/ 40323 h 69382"/>
                  <a:gd name="connsiteX33" fmla="*/ 43918 w 69362"/>
                  <a:gd name="connsiteY33" fmla="*/ 43872 h 69382"/>
                  <a:gd name="connsiteX34" fmla="*/ 26609 w 69362"/>
                  <a:gd name="connsiteY34" fmla="*/ 43872 h 69382"/>
                  <a:gd name="connsiteX35" fmla="*/ 26609 w 69362"/>
                  <a:gd name="connsiteY35" fmla="*/ 26553 h 69382"/>
                  <a:gd name="connsiteX36" fmla="*/ 43918 w 69362"/>
                  <a:gd name="connsiteY36" fmla="*/ 26553 h 69382"/>
                  <a:gd name="connsiteX37" fmla="*/ 43918 w 69362"/>
                  <a:gd name="connsiteY37" fmla="*/ 43872 h 69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9362" h="69382">
                    <a:moveTo>
                      <a:pt x="69955" y="40313"/>
                    </a:moveTo>
                    <a:lnTo>
                      <a:pt x="69955" y="30112"/>
                    </a:lnTo>
                    <a:lnTo>
                      <a:pt x="61296" y="30112"/>
                    </a:lnTo>
                    <a:cubicBezTo>
                      <a:pt x="60635" y="26706"/>
                      <a:pt x="59283" y="23402"/>
                      <a:pt x="57278" y="20419"/>
                    </a:cubicBezTo>
                    <a:lnTo>
                      <a:pt x="63408" y="14296"/>
                    </a:lnTo>
                    <a:lnTo>
                      <a:pt x="56195" y="7080"/>
                    </a:lnTo>
                    <a:lnTo>
                      <a:pt x="50075" y="13203"/>
                    </a:lnTo>
                    <a:cubicBezTo>
                      <a:pt x="47090" y="11201"/>
                      <a:pt x="43787" y="9847"/>
                      <a:pt x="40380" y="9175"/>
                    </a:cubicBezTo>
                    <a:lnTo>
                      <a:pt x="40380" y="525"/>
                    </a:lnTo>
                    <a:lnTo>
                      <a:pt x="30179" y="525"/>
                    </a:lnTo>
                    <a:lnTo>
                      <a:pt x="30179" y="9185"/>
                    </a:lnTo>
                    <a:cubicBezTo>
                      <a:pt x="26772" y="9846"/>
                      <a:pt x="23469" y="11201"/>
                      <a:pt x="20483" y="13213"/>
                    </a:cubicBezTo>
                    <a:lnTo>
                      <a:pt x="14364" y="7090"/>
                    </a:lnTo>
                    <a:lnTo>
                      <a:pt x="7147" y="14307"/>
                    </a:lnTo>
                    <a:lnTo>
                      <a:pt x="13270" y="20440"/>
                    </a:lnTo>
                    <a:cubicBezTo>
                      <a:pt x="11255" y="23422"/>
                      <a:pt x="9914" y="26715"/>
                      <a:pt x="9242" y="30122"/>
                    </a:cubicBezTo>
                    <a:lnTo>
                      <a:pt x="593" y="30122"/>
                    </a:lnTo>
                    <a:lnTo>
                      <a:pt x="593" y="40323"/>
                    </a:lnTo>
                    <a:lnTo>
                      <a:pt x="9242" y="40323"/>
                    </a:lnTo>
                    <a:cubicBezTo>
                      <a:pt x="9903" y="43729"/>
                      <a:pt x="11255" y="47033"/>
                      <a:pt x="13270" y="50018"/>
                    </a:cubicBezTo>
                    <a:lnTo>
                      <a:pt x="7147" y="56138"/>
                    </a:lnTo>
                    <a:lnTo>
                      <a:pt x="14364" y="63346"/>
                    </a:lnTo>
                    <a:lnTo>
                      <a:pt x="20483" y="57221"/>
                    </a:lnTo>
                    <a:cubicBezTo>
                      <a:pt x="23468" y="59226"/>
                      <a:pt x="26772" y="60577"/>
                      <a:pt x="30179" y="61249"/>
                    </a:cubicBezTo>
                    <a:lnTo>
                      <a:pt x="30179" y="69908"/>
                    </a:lnTo>
                    <a:lnTo>
                      <a:pt x="40380" y="69908"/>
                    </a:lnTo>
                    <a:lnTo>
                      <a:pt x="40380" y="61249"/>
                    </a:lnTo>
                    <a:cubicBezTo>
                      <a:pt x="43786" y="60588"/>
                      <a:pt x="47090" y="59247"/>
                      <a:pt x="50075" y="57221"/>
                    </a:cubicBezTo>
                    <a:lnTo>
                      <a:pt x="56195" y="63346"/>
                    </a:lnTo>
                    <a:lnTo>
                      <a:pt x="63400" y="56138"/>
                    </a:lnTo>
                    <a:lnTo>
                      <a:pt x="57277" y="50018"/>
                    </a:lnTo>
                    <a:cubicBezTo>
                      <a:pt x="59293" y="47033"/>
                      <a:pt x="60634" y="43730"/>
                      <a:pt x="61295" y="40323"/>
                    </a:cubicBezTo>
                    <a:lnTo>
                      <a:pt x="69955" y="40323"/>
                    </a:lnTo>
                    <a:close/>
                    <a:moveTo>
                      <a:pt x="43918" y="43872"/>
                    </a:moveTo>
                    <a:cubicBezTo>
                      <a:pt x="39141" y="48654"/>
                      <a:pt x="31385" y="48654"/>
                      <a:pt x="26609" y="43872"/>
                    </a:cubicBezTo>
                    <a:cubicBezTo>
                      <a:pt x="21827" y="39085"/>
                      <a:pt x="21827" y="31342"/>
                      <a:pt x="26609" y="26553"/>
                    </a:cubicBezTo>
                    <a:cubicBezTo>
                      <a:pt x="31385" y="21771"/>
                      <a:pt x="39142" y="21771"/>
                      <a:pt x="43918" y="26553"/>
                    </a:cubicBezTo>
                    <a:cubicBezTo>
                      <a:pt x="48700" y="31342"/>
                      <a:pt x="48700" y="39096"/>
                      <a:pt x="43918" y="43872"/>
                    </a:cubicBezTo>
                    <a:close/>
                  </a:path>
                </a:pathLst>
              </a:custGeom>
              <a:grpFill/>
              <a:ln w="7557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5A4E8D04-FA64-4A63-9E1B-6ADE8BDEBC03}"/>
                  </a:ext>
                </a:extLst>
              </p:cNvPr>
              <p:cNvSpPr/>
              <p:nvPr/>
            </p:nvSpPr>
            <p:spPr>
              <a:xfrm>
                <a:off x="3097161" y="2236797"/>
                <a:ext cx="193683" cy="239556"/>
              </a:xfrm>
              <a:custGeom>
                <a:avLst/>
                <a:gdLst>
                  <a:gd name="connsiteX0" fmla="*/ 188805 w 193683"/>
                  <a:gd name="connsiteY0" fmla="*/ 22853 h 239556"/>
                  <a:gd name="connsiteX1" fmla="*/ 167402 w 193683"/>
                  <a:gd name="connsiteY1" fmla="*/ 22853 h 239556"/>
                  <a:gd name="connsiteX2" fmla="*/ 167402 w 193683"/>
                  <a:gd name="connsiteY2" fmla="*/ 4890 h 239556"/>
                  <a:gd name="connsiteX3" fmla="*/ 162541 w 193683"/>
                  <a:gd name="connsiteY3" fmla="*/ 0 h 239556"/>
                  <a:gd name="connsiteX4" fmla="*/ 4861 w 193683"/>
                  <a:gd name="connsiteY4" fmla="*/ 0 h 239556"/>
                  <a:gd name="connsiteX5" fmla="*/ 0 w 193683"/>
                  <a:gd name="connsiteY5" fmla="*/ 4890 h 239556"/>
                  <a:gd name="connsiteX6" fmla="*/ 0 w 193683"/>
                  <a:gd name="connsiteY6" fmla="*/ 208062 h 239556"/>
                  <a:gd name="connsiteX7" fmla="*/ 4861 w 193683"/>
                  <a:gd name="connsiteY7" fmla="*/ 212947 h 239556"/>
                  <a:gd name="connsiteX8" fmla="*/ 26261 w 193683"/>
                  <a:gd name="connsiteY8" fmla="*/ 212947 h 239556"/>
                  <a:gd name="connsiteX9" fmla="*/ 26261 w 193683"/>
                  <a:gd name="connsiteY9" fmla="*/ 234666 h 239556"/>
                  <a:gd name="connsiteX10" fmla="*/ 31122 w 193683"/>
                  <a:gd name="connsiteY10" fmla="*/ 239556 h 239556"/>
                  <a:gd name="connsiteX11" fmla="*/ 188823 w 193683"/>
                  <a:gd name="connsiteY11" fmla="*/ 239556 h 239556"/>
                  <a:gd name="connsiteX12" fmla="*/ 193684 w 193683"/>
                  <a:gd name="connsiteY12" fmla="*/ 234666 h 239556"/>
                  <a:gd name="connsiteX13" fmla="*/ 193684 w 193683"/>
                  <a:gd name="connsiteY13" fmla="*/ 27744 h 239556"/>
                  <a:gd name="connsiteX14" fmla="*/ 188807 w 193683"/>
                  <a:gd name="connsiteY14" fmla="*/ 22854 h 239556"/>
                  <a:gd name="connsiteX15" fmla="*/ 183945 w 193683"/>
                  <a:gd name="connsiteY15" fmla="*/ 32632 h 239556"/>
                  <a:gd name="connsiteX16" fmla="*/ 183945 w 193683"/>
                  <a:gd name="connsiteY16" fmla="*/ 124682 h 239556"/>
                  <a:gd name="connsiteX17" fmla="*/ 167402 w 193683"/>
                  <a:gd name="connsiteY17" fmla="*/ 124682 h 239556"/>
                  <a:gd name="connsiteX18" fmla="*/ 167402 w 193683"/>
                  <a:gd name="connsiteY18" fmla="*/ 32632 h 239556"/>
                  <a:gd name="connsiteX19" fmla="*/ 157699 w 193683"/>
                  <a:gd name="connsiteY19" fmla="*/ 9780 h 239556"/>
                  <a:gd name="connsiteX20" fmla="*/ 157699 w 193683"/>
                  <a:gd name="connsiteY20" fmla="*/ 101849 h 239556"/>
                  <a:gd name="connsiteX21" fmla="*/ 98739 w 193683"/>
                  <a:gd name="connsiteY21" fmla="*/ 101849 h 239556"/>
                  <a:gd name="connsiteX22" fmla="*/ 98739 w 193683"/>
                  <a:gd name="connsiteY22" fmla="*/ 97929 h 239556"/>
                  <a:gd name="connsiteX23" fmla="*/ 77876 w 193683"/>
                  <a:gd name="connsiteY23" fmla="*/ 70661 h 239556"/>
                  <a:gd name="connsiteX24" fmla="*/ 42786 w 193683"/>
                  <a:gd name="connsiteY24" fmla="*/ 70661 h 239556"/>
                  <a:gd name="connsiteX25" fmla="*/ 21922 w 193683"/>
                  <a:gd name="connsiteY25" fmla="*/ 97929 h 239556"/>
                  <a:gd name="connsiteX26" fmla="*/ 21922 w 193683"/>
                  <a:gd name="connsiteY26" fmla="*/ 101849 h 239556"/>
                  <a:gd name="connsiteX27" fmla="*/ 9703 w 193683"/>
                  <a:gd name="connsiteY27" fmla="*/ 101849 h 239556"/>
                  <a:gd name="connsiteX28" fmla="*/ 9703 w 193683"/>
                  <a:gd name="connsiteY28" fmla="*/ 9780 h 239556"/>
                  <a:gd name="connsiteX29" fmla="*/ 89012 w 193683"/>
                  <a:gd name="connsiteY29" fmla="*/ 101849 h 239556"/>
                  <a:gd name="connsiteX30" fmla="*/ 31660 w 193683"/>
                  <a:gd name="connsiteY30" fmla="*/ 101849 h 239556"/>
                  <a:gd name="connsiteX31" fmla="*/ 31660 w 193683"/>
                  <a:gd name="connsiteY31" fmla="*/ 97929 h 239556"/>
                  <a:gd name="connsiteX32" fmla="*/ 45431 w 193683"/>
                  <a:gd name="connsiteY32" fmla="*/ 80082 h 239556"/>
                  <a:gd name="connsiteX33" fmla="*/ 75260 w 193683"/>
                  <a:gd name="connsiteY33" fmla="*/ 80082 h 239556"/>
                  <a:gd name="connsiteX34" fmla="*/ 89031 w 193683"/>
                  <a:gd name="connsiteY34" fmla="*/ 97929 h 239556"/>
                  <a:gd name="connsiteX35" fmla="*/ 89031 w 193683"/>
                  <a:gd name="connsiteY35" fmla="*/ 101849 h 239556"/>
                  <a:gd name="connsiteX36" fmla="*/ 9717 w 193683"/>
                  <a:gd name="connsiteY36" fmla="*/ 111629 h 239556"/>
                  <a:gd name="connsiteX37" fmla="*/ 157692 w 193683"/>
                  <a:gd name="connsiteY37" fmla="*/ 111629 h 239556"/>
                  <a:gd name="connsiteX38" fmla="*/ 157692 w 193683"/>
                  <a:gd name="connsiteY38" fmla="*/ 203173 h 239556"/>
                  <a:gd name="connsiteX39" fmla="*/ 9717 w 193683"/>
                  <a:gd name="connsiteY39" fmla="*/ 203173 h 239556"/>
                  <a:gd name="connsiteX40" fmla="*/ 35963 w 193683"/>
                  <a:gd name="connsiteY40" fmla="*/ 229780 h 239556"/>
                  <a:gd name="connsiteX41" fmla="*/ 35963 w 193683"/>
                  <a:gd name="connsiteY41" fmla="*/ 212950 h 239556"/>
                  <a:gd name="connsiteX42" fmla="*/ 162558 w 193683"/>
                  <a:gd name="connsiteY42" fmla="*/ 212950 h 239556"/>
                  <a:gd name="connsiteX43" fmla="*/ 167418 w 193683"/>
                  <a:gd name="connsiteY43" fmla="*/ 208066 h 239556"/>
                  <a:gd name="connsiteX44" fmla="*/ 167418 w 193683"/>
                  <a:gd name="connsiteY44" fmla="*/ 134469 h 239556"/>
                  <a:gd name="connsiteX45" fmla="*/ 183958 w 193683"/>
                  <a:gd name="connsiteY45" fmla="*/ 134469 h 239556"/>
                  <a:gd name="connsiteX46" fmla="*/ 183958 w 193683"/>
                  <a:gd name="connsiteY46" fmla="*/ 229783 h 239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93683" h="239556">
                    <a:moveTo>
                      <a:pt x="188805" y="22853"/>
                    </a:moveTo>
                    <a:lnTo>
                      <a:pt x="167402" y="22853"/>
                    </a:lnTo>
                    <a:lnTo>
                      <a:pt x="167402" y="4890"/>
                    </a:lnTo>
                    <a:cubicBezTo>
                      <a:pt x="167402" y="2192"/>
                      <a:pt x="165226" y="0"/>
                      <a:pt x="162541" y="0"/>
                    </a:cubicBezTo>
                    <a:lnTo>
                      <a:pt x="4861" y="0"/>
                    </a:lnTo>
                    <a:cubicBezTo>
                      <a:pt x="2176" y="0"/>
                      <a:pt x="0" y="2192"/>
                      <a:pt x="0" y="4890"/>
                    </a:cubicBezTo>
                    <a:lnTo>
                      <a:pt x="0" y="208062"/>
                    </a:lnTo>
                    <a:cubicBezTo>
                      <a:pt x="0" y="210763"/>
                      <a:pt x="2176" y="212947"/>
                      <a:pt x="4861" y="212947"/>
                    </a:cubicBezTo>
                    <a:lnTo>
                      <a:pt x="26261" y="212947"/>
                    </a:lnTo>
                    <a:lnTo>
                      <a:pt x="26261" y="234666"/>
                    </a:lnTo>
                    <a:cubicBezTo>
                      <a:pt x="26261" y="237364"/>
                      <a:pt x="28440" y="239556"/>
                      <a:pt x="31122" y="239556"/>
                    </a:cubicBezTo>
                    <a:lnTo>
                      <a:pt x="188823" y="239556"/>
                    </a:lnTo>
                    <a:cubicBezTo>
                      <a:pt x="191508" y="239556"/>
                      <a:pt x="193684" y="237364"/>
                      <a:pt x="193684" y="234666"/>
                    </a:cubicBezTo>
                    <a:lnTo>
                      <a:pt x="193684" y="27744"/>
                    </a:lnTo>
                    <a:cubicBezTo>
                      <a:pt x="193668" y="25046"/>
                      <a:pt x="191489" y="22854"/>
                      <a:pt x="188807" y="22854"/>
                    </a:cubicBezTo>
                    <a:close/>
                    <a:moveTo>
                      <a:pt x="183945" y="32632"/>
                    </a:moveTo>
                    <a:lnTo>
                      <a:pt x="183945" y="124682"/>
                    </a:lnTo>
                    <a:lnTo>
                      <a:pt x="167402" y="124682"/>
                    </a:lnTo>
                    <a:lnTo>
                      <a:pt x="167402" y="32632"/>
                    </a:lnTo>
                    <a:close/>
                    <a:moveTo>
                      <a:pt x="157699" y="9780"/>
                    </a:moveTo>
                    <a:lnTo>
                      <a:pt x="157699" y="101849"/>
                    </a:lnTo>
                    <a:lnTo>
                      <a:pt x="98739" y="101849"/>
                    </a:lnTo>
                    <a:lnTo>
                      <a:pt x="98739" y="97929"/>
                    </a:lnTo>
                    <a:cubicBezTo>
                      <a:pt x="98739" y="85551"/>
                      <a:pt x="89961" y="74089"/>
                      <a:pt x="77876" y="70661"/>
                    </a:cubicBezTo>
                    <a:cubicBezTo>
                      <a:pt x="67380" y="67692"/>
                      <a:pt x="53285" y="67692"/>
                      <a:pt x="42786" y="70661"/>
                    </a:cubicBezTo>
                    <a:cubicBezTo>
                      <a:pt x="30698" y="74073"/>
                      <a:pt x="21922" y="85551"/>
                      <a:pt x="21922" y="97929"/>
                    </a:cubicBezTo>
                    <a:lnTo>
                      <a:pt x="21922" y="101849"/>
                    </a:lnTo>
                    <a:lnTo>
                      <a:pt x="9703" y="101849"/>
                    </a:lnTo>
                    <a:lnTo>
                      <a:pt x="9703" y="9780"/>
                    </a:lnTo>
                    <a:close/>
                    <a:moveTo>
                      <a:pt x="89012" y="101849"/>
                    </a:moveTo>
                    <a:lnTo>
                      <a:pt x="31660" y="101849"/>
                    </a:lnTo>
                    <a:lnTo>
                      <a:pt x="31660" y="97929"/>
                    </a:lnTo>
                    <a:cubicBezTo>
                      <a:pt x="31660" y="89847"/>
                      <a:pt x="37451" y="82343"/>
                      <a:pt x="45431" y="80082"/>
                    </a:cubicBezTo>
                    <a:cubicBezTo>
                      <a:pt x="54213" y="77606"/>
                      <a:pt x="66466" y="77606"/>
                      <a:pt x="75260" y="80082"/>
                    </a:cubicBezTo>
                    <a:cubicBezTo>
                      <a:pt x="83240" y="82343"/>
                      <a:pt x="89031" y="89847"/>
                      <a:pt x="89031" y="97929"/>
                    </a:cubicBezTo>
                    <a:lnTo>
                      <a:pt x="89031" y="101849"/>
                    </a:lnTo>
                    <a:close/>
                    <a:moveTo>
                      <a:pt x="9717" y="111629"/>
                    </a:moveTo>
                    <a:lnTo>
                      <a:pt x="157692" y="111629"/>
                    </a:lnTo>
                    <a:lnTo>
                      <a:pt x="157692" y="203173"/>
                    </a:lnTo>
                    <a:lnTo>
                      <a:pt x="9717" y="203173"/>
                    </a:lnTo>
                    <a:close/>
                    <a:moveTo>
                      <a:pt x="35963" y="229780"/>
                    </a:moveTo>
                    <a:lnTo>
                      <a:pt x="35963" y="212950"/>
                    </a:lnTo>
                    <a:lnTo>
                      <a:pt x="162558" y="212950"/>
                    </a:lnTo>
                    <a:cubicBezTo>
                      <a:pt x="165240" y="212950"/>
                      <a:pt x="167418" y="210766"/>
                      <a:pt x="167418" y="208066"/>
                    </a:cubicBezTo>
                    <a:lnTo>
                      <a:pt x="167418" y="134469"/>
                    </a:lnTo>
                    <a:lnTo>
                      <a:pt x="183958" y="134469"/>
                    </a:lnTo>
                    <a:lnTo>
                      <a:pt x="183958" y="229783"/>
                    </a:ln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E45CF40C-FB7B-430C-A17B-FB7166EA3EE1}"/>
                  </a:ext>
                </a:extLst>
              </p:cNvPr>
              <p:cNvSpPr/>
              <p:nvPr/>
            </p:nvSpPr>
            <p:spPr>
              <a:xfrm>
                <a:off x="3137932" y="2257183"/>
                <a:ext cx="40775" cy="40775"/>
              </a:xfrm>
              <a:custGeom>
                <a:avLst/>
                <a:gdLst>
                  <a:gd name="connsiteX0" fmla="*/ 20387 w 40775"/>
                  <a:gd name="connsiteY0" fmla="*/ 40775 h 40775"/>
                  <a:gd name="connsiteX1" fmla="*/ 40775 w 40775"/>
                  <a:gd name="connsiteY1" fmla="*/ 20387 h 40775"/>
                  <a:gd name="connsiteX2" fmla="*/ 20387 w 40775"/>
                  <a:gd name="connsiteY2" fmla="*/ 0 h 40775"/>
                  <a:gd name="connsiteX3" fmla="*/ 0 w 40775"/>
                  <a:gd name="connsiteY3" fmla="*/ 20387 h 40775"/>
                  <a:gd name="connsiteX4" fmla="*/ 20387 w 40775"/>
                  <a:gd name="connsiteY4" fmla="*/ 40775 h 40775"/>
                  <a:gd name="connsiteX5" fmla="*/ 20387 w 40775"/>
                  <a:gd name="connsiteY5" fmla="*/ 10193 h 40775"/>
                  <a:gd name="connsiteX6" fmla="*/ 30580 w 40775"/>
                  <a:gd name="connsiteY6" fmla="*/ 20386 h 40775"/>
                  <a:gd name="connsiteX7" fmla="*/ 20387 w 40775"/>
                  <a:gd name="connsiteY7" fmla="*/ 30579 h 40775"/>
                  <a:gd name="connsiteX8" fmla="*/ 10194 w 40775"/>
                  <a:gd name="connsiteY8" fmla="*/ 20386 h 40775"/>
                  <a:gd name="connsiteX9" fmla="*/ 20387 w 40775"/>
                  <a:gd name="connsiteY9" fmla="*/ 10193 h 40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775" h="40775">
                    <a:moveTo>
                      <a:pt x="20387" y="40775"/>
                    </a:moveTo>
                    <a:cubicBezTo>
                      <a:pt x="31629" y="40775"/>
                      <a:pt x="40775" y="31623"/>
                      <a:pt x="40775" y="20387"/>
                    </a:cubicBezTo>
                    <a:cubicBezTo>
                      <a:pt x="40775" y="9148"/>
                      <a:pt x="31629" y="0"/>
                      <a:pt x="20387" y="0"/>
                    </a:cubicBezTo>
                    <a:cubicBezTo>
                      <a:pt x="9150" y="0"/>
                      <a:pt x="0" y="9147"/>
                      <a:pt x="0" y="20387"/>
                    </a:cubicBezTo>
                    <a:cubicBezTo>
                      <a:pt x="0" y="31623"/>
                      <a:pt x="9150" y="40775"/>
                      <a:pt x="20387" y="40775"/>
                    </a:cubicBezTo>
                    <a:close/>
                    <a:moveTo>
                      <a:pt x="20387" y="10193"/>
                    </a:moveTo>
                    <a:cubicBezTo>
                      <a:pt x="26020" y="10193"/>
                      <a:pt x="30580" y="14758"/>
                      <a:pt x="30580" y="20386"/>
                    </a:cubicBezTo>
                    <a:cubicBezTo>
                      <a:pt x="30580" y="26013"/>
                      <a:pt x="26019" y="30579"/>
                      <a:pt x="20387" y="30579"/>
                    </a:cubicBezTo>
                    <a:cubicBezTo>
                      <a:pt x="14759" y="30579"/>
                      <a:pt x="10194" y="26013"/>
                      <a:pt x="10194" y="20386"/>
                    </a:cubicBezTo>
                    <a:cubicBezTo>
                      <a:pt x="10194" y="14758"/>
                      <a:pt x="14778" y="10193"/>
                      <a:pt x="20387" y="10193"/>
                    </a:cubicBez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A68B03B3-AFC9-4A5D-9B79-CBCE46FEC594}"/>
                  </a:ext>
                </a:extLst>
              </p:cNvPr>
              <p:cNvSpPr/>
              <p:nvPr/>
            </p:nvSpPr>
            <p:spPr>
              <a:xfrm>
                <a:off x="3204195" y="2267377"/>
                <a:ext cx="40775" cy="10193"/>
              </a:xfrm>
              <a:custGeom>
                <a:avLst/>
                <a:gdLst>
                  <a:gd name="connsiteX0" fmla="*/ 0 w 40775"/>
                  <a:gd name="connsiteY0" fmla="*/ 10193 h 10193"/>
                  <a:gd name="connsiteX1" fmla="*/ 40775 w 40775"/>
                  <a:gd name="connsiteY1" fmla="*/ 10193 h 10193"/>
                  <a:gd name="connsiteX2" fmla="*/ 40775 w 40775"/>
                  <a:gd name="connsiteY2" fmla="*/ 0 h 10193"/>
                  <a:gd name="connsiteX3" fmla="*/ 0 w 40775"/>
                  <a:gd name="connsiteY3" fmla="*/ 0 h 1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75" h="10193">
                    <a:moveTo>
                      <a:pt x="0" y="10193"/>
                    </a:moveTo>
                    <a:lnTo>
                      <a:pt x="40775" y="10193"/>
                    </a:lnTo>
                    <a:lnTo>
                      <a:pt x="4077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B56FACAE-76AB-402F-A2A3-E74324C49A0F}"/>
                  </a:ext>
                </a:extLst>
              </p:cNvPr>
              <p:cNvSpPr/>
              <p:nvPr/>
            </p:nvSpPr>
            <p:spPr>
              <a:xfrm>
                <a:off x="3204195" y="2287763"/>
                <a:ext cx="40775" cy="10195"/>
              </a:xfrm>
              <a:custGeom>
                <a:avLst/>
                <a:gdLst>
                  <a:gd name="connsiteX0" fmla="*/ 0 w 40775"/>
                  <a:gd name="connsiteY0" fmla="*/ 10196 h 10195"/>
                  <a:gd name="connsiteX1" fmla="*/ 40775 w 40775"/>
                  <a:gd name="connsiteY1" fmla="*/ 10196 h 10195"/>
                  <a:gd name="connsiteX2" fmla="*/ 40775 w 40775"/>
                  <a:gd name="connsiteY2" fmla="*/ 0 h 10195"/>
                  <a:gd name="connsiteX3" fmla="*/ 0 w 40775"/>
                  <a:gd name="connsiteY3" fmla="*/ 0 h 1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75" h="10195">
                    <a:moveTo>
                      <a:pt x="0" y="10196"/>
                    </a:moveTo>
                    <a:lnTo>
                      <a:pt x="40775" y="10196"/>
                    </a:lnTo>
                    <a:lnTo>
                      <a:pt x="4077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D42D96C8-4D9A-489D-9648-493F8ACD5A11}"/>
                  </a:ext>
                </a:extLst>
              </p:cNvPr>
              <p:cNvSpPr/>
              <p:nvPr/>
            </p:nvSpPr>
            <p:spPr>
              <a:xfrm>
                <a:off x="3204195" y="2313253"/>
                <a:ext cx="40775" cy="10193"/>
              </a:xfrm>
              <a:custGeom>
                <a:avLst/>
                <a:gdLst>
                  <a:gd name="connsiteX0" fmla="*/ 0 w 40775"/>
                  <a:gd name="connsiteY0" fmla="*/ 10193 h 10193"/>
                  <a:gd name="connsiteX1" fmla="*/ 40775 w 40775"/>
                  <a:gd name="connsiteY1" fmla="*/ 10193 h 10193"/>
                  <a:gd name="connsiteX2" fmla="*/ 40775 w 40775"/>
                  <a:gd name="connsiteY2" fmla="*/ 0 h 10193"/>
                  <a:gd name="connsiteX3" fmla="*/ 0 w 40775"/>
                  <a:gd name="connsiteY3" fmla="*/ 0 h 1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775" h="10193">
                    <a:moveTo>
                      <a:pt x="0" y="10193"/>
                    </a:moveTo>
                    <a:lnTo>
                      <a:pt x="40775" y="10193"/>
                    </a:lnTo>
                    <a:lnTo>
                      <a:pt x="4077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142FEEE8-DC3B-4F33-A265-92B4E2D45890}"/>
                  </a:ext>
                </a:extLst>
              </p:cNvPr>
              <p:cNvSpPr/>
              <p:nvPr/>
            </p:nvSpPr>
            <p:spPr>
              <a:xfrm>
                <a:off x="3127739" y="2364223"/>
                <a:ext cx="117234" cy="66259"/>
              </a:xfrm>
              <a:custGeom>
                <a:avLst/>
                <a:gdLst>
                  <a:gd name="connsiteX0" fmla="*/ 117234 w 117234"/>
                  <a:gd name="connsiteY0" fmla="*/ 61288 h 66259"/>
                  <a:gd name="connsiteX1" fmla="*/ 117234 w 117234"/>
                  <a:gd name="connsiteY1" fmla="*/ 4971 h 66259"/>
                  <a:gd name="connsiteX2" fmla="*/ 112418 w 117234"/>
                  <a:gd name="connsiteY2" fmla="*/ 0 h 66259"/>
                  <a:gd name="connsiteX3" fmla="*/ 4816 w 117234"/>
                  <a:gd name="connsiteY3" fmla="*/ 0 h 66259"/>
                  <a:gd name="connsiteX4" fmla="*/ 0 w 117234"/>
                  <a:gd name="connsiteY4" fmla="*/ 4971 h 66259"/>
                  <a:gd name="connsiteX5" fmla="*/ 0 w 117234"/>
                  <a:gd name="connsiteY5" fmla="*/ 61288 h 66259"/>
                  <a:gd name="connsiteX6" fmla="*/ 4816 w 117234"/>
                  <a:gd name="connsiteY6" fmla="*/ 66260 h 66259"/>
                  <a:gd name="connsiteX7" fmla="*/ 112418 w 117234"/>
                  <a:gd name="connsiteY7" fmla="*/ 66260 h 66259"/>
                  <a:gd name="connsiteX8" fmla="*/ 117234 w 117234"/>
                  <a:gd name="connsiteY8" fmla="*/ 61288 h 66259"/>
                  <a:gd name="connsiteX9" fmla="*/ 107605 w 117234"/>
                  <a:gd name="connsiteY9" fmla="*/ 28150 h 66259"/>
                  <a:gd name="connsiteX10" fmla="*/ 46082 w 117234"/>
                  <a:gd name="connsiteY10" fmla="*/ 28150 h 66259"/>
                  <a:gd name="connsiteX11" fmla="*/ 46082 w 117234"/>
                  <a:gd name="connsiteY11" fmla="*/ 9925 h 66259"/>
                  <a:gd name="connsiteX12" fmla="*/ 107605 w 117234"/>
                  <a:gd name="connsiteY12" fmla="*/ 9925 h 66259"/>
                  <a:gd name="connsiteX13" fmla="*/ 36450 w 117234"/>
                  <a:gd name="connsiteY13" fmla="*/ 9940 h 66259"/>
                  <a:gd name="connsiteX14" fmla="*/ 36450 w 117234"/>
                  <a:gd name="connsiteY14" fmla="*/ 28169 h 66259"/>
                  <a:gd name="connsiteX15" fmla="*/ 9630 w 117234"/>
                  <a:gd name="connsiteY15" fmla="*/ 28169 h 66259"/>
                  <a:gd name="connsiteX16" fmla="*/ 9630 w 117234"/>
                  <a:gd name="connsiteY16" fmla="*/ 9940 h 66259"/>
                  <a:gd name="connsiteX17" fmla="*/ 9630 w 117234"/>
                  <a:gd name="connsiteY17" fmla="*/ 38090 h 66259"/>
                  <a:gd name="connsiteX18" fmla="*/ 36450 w 117234"/>
                  <a:gd name="connsiteY18" fmla="*/ 38090 h 66259"/>
                  <a:gd name="connsiteX19" fmla="*/ 36450 w 117234"/>
                  <a:gd name="connsiteY19" fmla="*/ 56319 h 66259"/>
                  <a:gd name="connsiteX20" fmla="*/ 9630 w 117234"/>
                  <a:gd name="connsiteY20" fmla="*/ 56319 h 66259"/>
                  <a:gd name="connsiteX21" fmla="*/ 46079 w 117234"/>
                  <a:gd name="connsiteY21" fmla="*/ 56319 h 66259"/>
                  <a:gd name="connsiteX22" fmla="*/ 46079 w 117234"/>
                  <a:gd name="connsiteY22" fmla="*/ 38090 h 66259"/>
                  <a:gd name="connsiteX23" fmla="*/ 107602 w 117234"/>
                  <a:gd name="connsiteY23" fmla="*/ 38090 h 66259"/>
                  <a:gd name="connsiteX24" fmla="*/ 107602 w 117234"/>
                  <a:gd name="connsiteY24" fmla="*/ 56319 h 6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7234" h="66259">
                    <a:moveTo>
                      <a:pt x="117234" y="61288"/>
                    </a:moveTo>
                    <a:lnTo>
                      <a:pt x="117234" y="4971"/>
                    </a:lnTo>
                    <a:cubicBezTo>
                      <a:pt x="117234" y="2226"/>
                      <a:pt x="115077" y="0"/>
                      <a:pt x="112418" y="0"/>
                    </a:cubicBezTo>
                    <a:lnTo>
                      <a:pt x="4816" y="0"/>
                    </a:lnTo>
                    <a:cubicBezTo>
                      <a:pt x="2158" y="0"/>
                      <a:pt x="0" y="2226"/>
                      <a:pt x="0" y="4971"/>
                    </a:cubicBezTo>
                    <a:lnTo>
                      <a:pt x="0" y="61288"/>
                    </a:lnTo>
                    <a:cubicBezTo>
                      <a:pt x="0" y="64033"/>
                      <a:pt x="2158" y="66260"/>
                      <a:pt x="4816" y="66260"/>
                    </a:cubicBezTo>
                    <a:lnTo>
                      <a:pt x="112418" y="66260"/>
                    </a:lnTo>
                    <a:cubicBezTo>
                      <a:pt x="115077" y="66260"/>
                      <a:pt x="117234" y="64033"/>
                      <a:pt x="117234" y="61288"/>
                    </a:cubicBezTo>
                    <a:close/>
                    <a:moveTo>
                      <a:pt x="107605" y="28150"/>
                    </a:moveTo>
                    <a:lnTo>
                      <a:pt x="46082" y="28150"/>
                    </a:lnTo>
                    <a:lnTo>
                      <a:pt x="46082" y="9925"/>
                    </a:lnTo>
                    <a:lnTo>
                      <a:pt x="107605" y="9925"/>
                    </a:lnTo>
                    <a:close/>
                    <a:moveTo>
                      <a:pt x="36450" y="9940"/>
                    </a:moveTo>
                    <a:lnTo>
                      <a:pt x="36450" y="28169"/>
                    </a:lnTo>
                    <a:lnTo>
                      <a:pt x="9630" y="28169"/>
                    </a:lnTo>
                    <a:lnTo>
                      <a:pt x="9630" y="9940"/>
                    </a:lnTo>
                    <a:close/>
                    <a:moveTo>
                      <a:pt x="9630" y="38090"/>
                    </a:moveTo>
                    <a:lnTo>
                      <a:pt x="36450" y="38090"/>
                    </a:lnTo>
                    <a:lnTo>
                      <a:pt x="36450" y="56319"/>
                    </a:lnTo>
                    <a:lnTo>
                      <a:pt x="9630" y="56319"/>
                    </a:lnTo>
                    <a:close/>
                    <a:moveTo>
                      <a:pt x="46079" y="56319"/>
                    </a:moveTo>
                    <a:lnTo>
                      <a:pt x="46079" y="38090"/>
                    </a:lnTo>
                    <a:lnTo>
                      <a:pt x="107602" y="38090"/>
                    </a:lnTo>
                    <a:lnTo>
                      <a:pt x="107602" y="56319"/>
                    </a:lnTo>
                    <a:close/>
                  </a:path>
                </a:pathLst>
              </a:custGeom>
              <a:grpFill/>
              <a:ln w="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CDBD44B1-4B7E-42C4-AE2F-D10C37A964FA}"/>
                </a:ext>
              </a:extLst>
            </p:cNvPr>
            <p:cNvSpPr txBox="1"/>
            <p:nvPr/>
          </p:nvSpPr>
          <p:spPr>
            <a:xfrm>
              <a:off x="3962172" y="4325521"/>
              <a:ext cx="6110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L3</a:t>
              </a:r>
              <a:r>
                <a:rPr lang="en-AU" sz="800">
                  <a:solidFill>
                    <a:schemeClr val="accent2"/>
                  </a:solidFill>
                </a:rPr>
                <a:t> </a:t>
              </a:r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Data</a:t>
              </a:r>
            </a:p>
          </p:txBody>
        </p:sp>
        <p:grpSp>
          <p:nvGrpSpPr>
            <p:cNvPr id="196" name="Graphic 529">
              <a:extLst>
                <a:ext uri="{FF2B5EF4-FFF2-40B4-BE49-F238E27FC236}">
                  <a16:creationId xmlns:a16="http://schemas.microsoft.com/office/drawing/2014/main" id="{8355FC58-7950-40DB-BC86-F33D95658DAA}"/>
                </a:ext>
              </a:extLst>
            </p:cNvPr>
            <p:cNvGrpSpPr/>
            <p:nvPr/>
          </p:nvGrpSpPr>
          <p:grpSpPr>
            <a:xfrm>
              <a:off x="3840023" y="2411827"/>
              <a:ext cx="759387" cy="704204"/>
              <a:chOff x="2908821" y="5884387"/>
              <a:chExt cx="759387" cy="704204"/>
            </a:xfrm>
            <a:solidFill>
              <a:schemeClr val="accent2"/>
            </a:solidFill>
          </p:grpSpPr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D729EEEE-8D6E-4249-AC92-049789BE4C15}"/>
                  </a:ext>
                </a:extLst>
              </p:cNvPr>
              <p:cNvSpPr/>
              <p:nvPr/>
            </p:nvSpPr>
            <p:spPr>
              <a:xfrm>
                <a:off x="3358910" y="6207988"/>
                <a:ext cx="294625" cy="193443"/>
              </a:xfrm>
              <a:custGeom>
                <a:avLst/>
                <a:gdLst>
                  <a:gd name="connsiteX0" fmla="*/ 0 w 294625"/>
                  <a:gd name="connsiteY0" fmla="*/ 126355 h 193443"/>
                  <a:gd name="connsiteX1" fmla="*/ 0 w 294625"/>
                  <a:gd name="connsiteY1" fmla="*/ 193443 h 193443"/>
                  <a:gd name="connsiteX2" fmla="*/ 67088 w 294625"/>
                  <a:gd name="connsiteY2" fmla="*/ 193443 h 193443"/>
                  <a:gd name="connsiteX3" fmla="*/ 67088 w 294625"/>
                  <a:gd name="connsiteY3" fmla="*/ 169570 h 193443"/>
                  <a:gd name="connsiteX4" fmla="*/ 115527 w 294625"/>
                  <a:gd name="connsiteY4" fmla="*/ 169570 h 193443"/>
                  <a:gd name="connsiteX5" fmla="*/ 115527 w 294625"/>
                  <a:gd name="connsiteY5" fmla="*/ 193443 h 193443"/>
                  <a:gd name="connsiteX6" fmla="*/ 182615 w 294625"/>
                  <a:gd name="connsiteY6" fmla="*/ 193443 h 193443"/>
                  <a:gd name="connsiteX7" fmla="*/ 182615 w 294625"/>
                  <a:gd name="connsiteY7" fmla="*/ 169570 h 193443"/>
                  <a:gd name="connsiteX8" fmla="*/ 227537 w 294625"/>
                  <a:gd name="connsiteY8" fmla="*/ 169570 h 193443"/>
                  <a:gd name="connsiteX9" fmla="*/ 227537 w 294625"/>
                  <a:gd name="connsiteY9" fmla="*/ 193443 h 193443"/>
                  <a:gd name="connsiteX10" fmla="*/ 294626 w 294625"/>
                  <a:gd name="connsiteY10" fmla="*/ 193443 h 193443"/>
                  <a:gd name="connsiteX11" fmla="*/ 294626 w 294625"/>
                  <a:gd name="connsiteY11" fmla="*/ 126355 h 193443"/>
                  <a:gd name="connsiteX12" fmla="*/ 270756 w 294625"/>
                  <a:gd name="connsiteY12" fmla="*/ 126355 h 193443"/>
                  <a:gd name="connsiteX13" fmla="*/ 270756 w 294625"/>
                  <a:gd name="connsiteY13" fmla="*/ 67088 h 193443"/>
                  <a:gd name="connsiteX14" fmla="*/ 294626 w 294625"/>
                  <a:gd name="connsiteY14" fmla="*/ 67088 h 193443"/>
                  <a:gd name="connsiteX15" fmla="*/ 294626 w 294625"/>
                  <a:gd name="connsiteY15" fmla="*/ 0 h 193443"/>
                  <a:gd name="connsiteX16" fmla="*/ 227537 w 294625"/>
                  <a:gd name="connsiteY16" fmla="*/ 0 h 193443"/>
                  <a:gd name="connsiteX17" fmla="*/ 227537 w 294625"/>
                  <a:gd name="connsiteY17" fmla="*/ 23869 h 193443"/>
                  <a:gd name="connsiteX18" fmla="*/ 182615 w 294625"/>
                  <a:gd name="connsiteY18" fmla="*/ 23869 h 193443"/>
                  <a:gd name="connsiteX19" fmla="*/ 182615 w 294625"/>
                  <a:gd name="connsiteY19" fmla="*/ 0 h 193443"/>
                  <a:gd name="connsiteX20" fmla="*/ 115527 w 294625"/>
                  <a:gd name="connsiteY20" fmla="*/ 0 h 193443"/>
                  <a:gd name="connsiteX21" fmla="*/ 115527 w 294625"/>
                  <a:gd name="connsiteY21" fmla="*/ 67088 h 193443"/>
                  <a:gd name="connsiteX22" fmla="*/ 182615 w 294625"/>
                  <a:gd name="connsiteY22" fmla="*/ 67088 h 193443"/>
                  <a:gd name="connsiteX23" fmla="*/ 182615 w 294625"/>
                  <a:gd name="connsiteY23" fmla="*/ 43211 h 193443"/>
                  <a:gd name="connsiteX24" fmla="*/ 227537 w 294625"/>
                  <a:gd name="connsiteY24" fmla="*/ 43211 h 193443"/>
                  <a:gd name="connsiteX25" fmla="*/ 227537 w 294625"/>
                  <a:gd name="connsiteY25" fmla="*/ 67088 h 193443"/>
                  <a:gd name="connsiteX26" fmla="*/ 251415 w 294625"/>
                  <a:gd name="connsiteY26" fmla="*/ 67088 h 193443"/>
                  <a:gd name="connsiteX27" fmla="*/ 251415 w 294625"/>
                  <a:gd name="connsiteY27" fmla="*/ 126355 h 193443"/>
                  <a:gd name="connsiteX28" fmla="*/ 227537 w 294625"/>
                  <a:gd name="connsiteY28" fmla="*/ 126355 h 193443"/>
                  <a:gd name="connsiteX29" fmla="*/ 227537 w 294625"/>
                  <a:gd name="connsiteY29" fmla="*/ 150228 h 193443"/>
                  <a:gd name="connsiteX30" fmla="*/ 182615 w 294625"/>
                  <a:gd name="connsiteY30" fmla="*/ 150228 h 193443"/>
                  <a:gd name="connsiteX31" fmla="*/ 182615 w 294625"/>
                  <a:gd name="connsiteY31" fmla="*/ 126355 h 193443"/>
                  <a:gd name="connsiteX32" fmla="*/ 115527 w 294625"/>
                  <a:gd name="connsiteY32" fmla="*/ 126355 h 193443"/>
                  <a:gd name="connsiteX33" fmla="*/ 115527 w 294625"/>
                  <a:gd name="connsiteY33" fmla="*/ 150228 h 193443"/>
                  <a:gd name="connsiteX34" fmla="*/ 67088 w 294625"/>
                  <a:gd name="connsiteY34" fmla="*/ 150228 h 193443"/>
                  <a:gd name="connsiteX35" fmla="*/ 67088 w 294625"/>
                  <a:gd name="connsiteY35" fmla="*/ 126355 h 193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94625" h="193443">
                    <a:moveTo>
                      <a:pt x="0" y="126355"/>
                    </a:moveTo>
                    <a:lnTo>
                      <a:pt x="0" y="193443"/>
                    </a:lnTo>
                    <a:lnTo>
                      <a:pt x="67088" y="193443"/>
                    </a:lnTo>
                    <a:lnTo>
                      <a:pt x="67088" y="169570"/>
                    </a:lnTo>
                    <a:lnTo>
                      <a:pt x="115527" y="169570"/>
                    </a:lnTo>
                    <a:lnTo>
                      <a:pt x="115527" y="193443"/>
                    </a:lnTo>
                    <a:lnTo>
                      <a:pt x="182615" y="193443"/>
                    </a:lnTo>
                    <a:lnTo>
                      <a:pt x="182615" y="169570"/>
                    </a:lnTo>
                    <a:lnTo>
                      <a:pt x="227537" y="169570"/>
                    </a:lnTo>
                    <a:lnTo>
                      <a:pt x="227537" y="193443"/>
                    </a:lnTo>
                    <a:lnTo>
                      <a:pt x="294626" y="193443"/>
                    </a:lnTo>
                    <a:lnTo>
                      <a:pt x="294626" y="126355"/>
                    </a:lnTo>
                    <a:lnTo>
                      <a:pt x="270756" y="126355"/>
                    </a:lnTo>
                    <a:lnTo>
                      <a:pt x="270756" y="67088"/>
                    </a:lnTo>
                    <a:lnTo>
                      <a:pt x="294626" y="67088"/>
                    </a:lnTo>
                    <a:lnTo>
                      <a:pt x="294626" y="0"/>
                    </a:lnTo>
                    <a:lnTo>
                      <a:pt x="227537" y="0"/>
                    </a:lnTo>
                    <a:lnTo>
                      <a:pt x="227537" y="23869"/>
                    </a:lnTo>
                    <a:lnTo>
                      <a:pt x="182615" y="23869"/>
                    </a:lnTo>
                    <a:lnTo>
                      <a:pt x="182615" y="0"/>
                    </a:lnTo>
                    <a:lnTo>
                      <a:pt x="115527" y="0"/>
                    </a:lnTo>
                    <a:lnTo>
                      <a:pt x="115527" y="67088"/>
                    </a:lnTo>
                    <a:lnTo>
                      <a:pt x="182615" y="67088"/>
                    </a:lnTo>
                    <a:lnTo>
                      <a:pt x="182615" y="43211"/>
                    </a:lnTo>
                    <a:lnTo>
                      <a:pt x="227537" y="43211"/>
                    </a:lnTo>
                    <a:lnTo>
                      <a:pt x="227537" y="67088"/>
                    </a:lnTo>
                    <a:lnTo>
                      <a:pt x="251415" y="67088"/>
                    </a:lnTo>
                    <a:lnTo>
                      <a:pt x="251415" y="126355"/>
                    </a:lnTo>
                    <a:lnTo>
                      <a:pt x="227537" y="126355"/>
                    </a:lnTo>
                    <a:lnTo>
                      <a:pt x="227537" y="150228"/>
                    </a:lnTo>
                    <a:lnTo>
                      <a:pt x="182615" y="150228"/>
                    </a:lnTo>
                    <a:lnTo>
                      <a:pt x="182615" y="126355"/>
                    </a:lnTo>
                    <a:lnTo>
                      <a:pt x="115527" y="126355"/>
                    </a:lnTo>
                    <a:lnTo>
                      <a:pt x="115527" y="150228"/>
                    </a:lnTo>
                    <a:lnTo>
                      <a:pt x="67088" y="150228"/>
                    </a:lnTo>
                    <a:lnTo>
                      <a:pt x="67088" y="126355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78C79CAC-9CB0-4EE0-9CA3-BF658A60D0B9}"/>
                  </a:ext>
                </a:extLst>
              </p:cNvPr>
              <p:cNvSpPr/>
              <p:nvPr/>
            </p:nvSpPr>
            <p:spPr>
              <a:xfrm>
                <a:off x="3193870" y="5928095"/>
                <a:ext cx="177734" cy="55361"/>
              </a:xfrm>
              <a:custGeom>
                <a:avLst/>
                <a:gdLst>
                  <a:gd name="connsiteX0" fmla="*/ 88873 w 177734"/>
                  <a:gd name="connsiteY0" fmla="*/ 55361 h 55361"/>
                  <a:gd name="connsiteX1" fmla="*/ 177734 w 177734"/>
                  <a:gd name="connsiteY1" fmla="*/ 27656 h 55361"/>
                  <a:gd name="connsiteX2" fmla="*/ 88861 w 177734"/>
                  <a:gd name="connsiteY2" fmla="*/ 0 h 55361"/>
                  <a:gd name="connsiteX3" fmla="*/ 0 w 177734"/>
                  <a:gd name="connsiteY3" fmla="*/ 27701 h 55361"/>
                  <a:gd name="connsiteX4" fmla="*/ 88873 w 177734"/>
                  <a:gd name="connsiteY4" fmla="*/ 55361 h 5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34" h="55361">
                    <a:moveTo>
                      <a:pt x="88873" y="55361"/>
                    </a:moveTo>
                    <a:cubicBezTo>
                      <a:pt x="137955" y="55349"/>
                      <a:pt x="177739" y="42944"/>
                      <a:pt x="177734" y="27656"/>
                    </a:cubicBezTo>
                    <a:cubicBezTo>
                      <a:pt x="177730" y="12369"/>
                      <a:pt x="137943" y="-12"/>
                      <a:pt x="88861" y="0"/>
                    </a:cubicBezTo>
                    <a:cubicBezTo>
                      <a:pt x="39779" y="8"/>
                      <a:pt x="-8" y="12414"/>
                      <a:pt x="0" y="27701"/>
                    </a:cubicBezTo>
                    <a:cubicBezTo>
                      <a:pt x="0" y="42992"/>
                      <a:pt x="39791" y="55374"/>
                      <a:pt x="88873" y="55361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31A0A3D1-8F15-488F-9E34-83136AC8CF34}"/>
                  </a:ext>
                </a:extLst>
              </p:cNvPr>
              <p:cNvSpPr/>
              <p:nvPr/>
            </p:nvSpPr>
            <p:spPr>
              <a:xfrm>
                <a:off x="3193722" y="6038229"/>
                <a:ext cx="177709" cy="54875"/>
              </a:xfrm>
              <a:custGeom>
                <a:avLst/>
                <a:gdLst>
                  <a:gd name="connsiteX0" fmla="*/ 0 w 177709"/>
                  <a:gd name="connsiteY0" fmla="*/ 27620 h 54875"/>
                  <a:gd name="connsiteX1" fmla="*/ 88634 w 177709"/>
                  <a:gd name="connsiteY1" fmla="*/ 54876 h 54875"/>
                  <a:gd name="connsiteX2" fmla="*/ 88740 w 177709"/>
                  <a:gd name="connsiteY2" fmla="*/ 54876 h 54875"/>
                  <a:gd name="connsiteX3" fmla="*/ 177673 w 177709"/>
                  <a:gd name="connsiteY3" fmla="*/ 28510 h 54875"/>
                  <a:gd name="connsiteX4" fmla="*/ 177673 w 177709"/>
                  <a:gd name="connsiteY4" fmla="*/ 28352 h 54875"/>
                  <a:gd name="connsiteX5" fmla="*/ 177709 w 177709"/>
                  <a:gd name="connsiteY5" fmla="*/ 3593 h 54875"/>
                  <a:gd name="connsiteX6" fmla="*/ 177709 w 177709"/>
                  <a:gd name="connsiteY6" fmla="*/ 0 h 54875"/>
                  <a:gd name="connsiteX7" fmla="*/ 88953 w 177709"/>
                  <a:gd name="connsiteY7" fmla="*/ 17807 h 54875"/>
                  <a:gd name="connsiteX8" fmla="*/ 20417 w 177709"/>
                  <a:gd name="connsiteY8" fmla="*/ 8841 h 54875"/>
                  <a:gd name="connsiteX9" fmla="*/ 80 w 177709"/>
                  <a:gd name="connsiteY9" fmla="*/ 48 h 5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7709" h="54875">
                    <a:moveTo>
                      <a:pt x="0" y="27620"/>
                    </a:moveTo>
                    <a:cubicBezTo>
                      <a:pt x="704" y="42742"/>
                      <a:pt x="40071" y="54876"/>
                      <a:pt x="88634" y="54876"/>
                    </a:cubicBezTo>
                    <a:lnTo>
                      <a:pt x="88740" y="54876"/>
                    </a:lnTo>
                    <a:cubicBezTo>
                      <a:pt x="136239" y="54839"/>
                      <a:pt x="175270" y="43137"/>
                      <a:pt x="177673" y="28510"/>
                    </a:cubicBezTo>
                    <a:lnTo>
                      <a:pt x="177673" y="28352"/>
                    </a:lnTo>
                    <a:cubicBezTo>
                      <a:pt x="177685" y="19017"/>
                      <a:pt x="177697" y="12879"/>
                      <a:pt x="177709" y="3593"/>
                    </a:cubicBezTo>
                    <a:lnTo>
                      <a:pt x="177709" y="0"/>
                    </a:lnTo>
                    <a:cubicBezTo>
                      <a:pt x="156366" y="12693"/>
                      <a:pt x="120883" y="17807"/>
                      <a:pt x="88953" y="17807"/>
                    </a:cubicBezTo>
                    <a:cubicBezTo>
                      <a:pt x="63352" y="17807"/>
                      <a:pt x="38981" y="14643"/>
                      <a:pt x="20417" y="8841"/>
                    </a:cubicBezTo>
                    <a:cubicBezTo>
                      <a:pt x="11943" y="6203"/>
                      <a:pt x="5425" y="3281"/>
                      <a:pt x="80" y="48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A9250C7B-8E12-4F89-BF62-2B02E382DDB2}"/>
                  </a:ext>
                </a:extLst>
              </p:cNvPr>
              <p:cNvSpPr/>
              <p:nvPr/>
            </p:nvSpPr>
            <p:spPr>
              <a:xfrm>
                <a:off x="3193546" y="6094618"/>
                <a:ext cx="177806" cy="57114"/>
              </a:xfrm>
              <a:custGeom>
                <a:avLst/>
                <a:gdLst>
                  <a:gd name="connsiteX0" fmla="*/ 0 w 177806"/>
                  <a:gd name="connsiteY0" fmla="*/ 29477 h 57114"/>
                  <a:gd name="connsiteX1" fmla="*/ 88897 w 177806"/>
                  <a:gd name="connsiteY1" fmla="*/ 57114 h 57114"/>
                  <a:gd name="connsiteX2" fmla="*/ 177758 w 177806"/>
                  <a:gd name="connsiteY2" fmla="*/ 29405 h 57114"/>
                  <a:gd name="connsiteX3" fmla="*/ 177807 w 177806"/>
                  <a:gd name="connsiteY3" fmla="*/ 170 h 57114"/>
                  <a:gd name="connsiteX4" fmla="*/ 177807 w 177806"/>
                  <a:gd name="connsiteY4" fmla="*/ 0 h 57114"/>
                  <a:gd name="connsiteX5" fmla="*/ 157478 w 177806"/>
                  <a:gd name="connsiteY5" fmla="*/ 8824 h 57114"/>
                  <a:gd name="connsiteX6" fmla="*/ 88804 w 177806"/>
                  <a:gd name="connsiteY6" fmla="*/ 17824 h 57114"/>
                  <a:gd name="connsiteX7" fmla="*/ 20268 w 177806"/>
                  <a:gd name="connsiteY7" fmla="*/ 8862 h 57114"/>
                  <a:gd name="connsiteX8" fmla="*/ 92 w 177806"/>
                  <a:gd name="connsiteY8" fmla="*/ 149 h 57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806" h="57114">
                    <a:moveTo>
                      <a:pt x="0" y="29477"/>
                    </a:moveTo>
                    <a:cubicBezTo>
                      <a:pt x="0" y="44740"/>
                      <a:pt x="39808" y="57150"/>
                      <a:pt x="88897" y="57114"/>
                    </a:cubicBezTo>
                    <a:cubicBezTo>
                      <a:pt x="137950" y="57114"/>
                      <a:pt x="177758" y="44704"/>
                      <a:pt x="177758" y="29405"/>
                    </a:cubicBezTo>
                    <a:cubicBezTo>
                      <a:pt x="177758" y="29352"/>
                      <a:pt x="177782" y="17262"/>
                      <a:pt x="177807" y="170"/>
                    </a:cubicBezTo>
                    <a:lnTo>
                      <a:pt x="177807" y="0"/>
                    </a:lnTo>
                    <a:cubicBezTo>
                      <a:pt x="172530" y="3197"/>
                      <a:pt x="165810" y="6219"/>
                      <a:pt x="157478" y="8824"/>
                    </a:cubicBezTo>
                    <a:cubicBezTo>
                      <a:pt x="138877" y="14627"/>
                      <a:pt x="114543" y="17824"/>
                      <a:pt x="88804" y="17824"/>
                    </a:cubicBezTo>
                    <a:cubicBezTo>
                      <a:pt x="63203" y="17824"/>
                      <a:pt x="38868" y="14627"/>
                      <a:pt x="20268" y="8862"/>
                    </a:cubicBezTo>
                    <a:cubicBezTo>
                      <a:pt x="11936" y="6260"/>
                      <a:pt x="5369" y="3318"/>
                      <a:pt x="92" y="149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3B528A7E-47EE-42B7-B2A5-67EBA56F0126}"/>
                  </a:ext>
                </a:extLst>
              </p:cNvPr>
              <p:cNvSpPr/>
              <p:nvPr/>
            </p:nvSpPr>
            <p:spPr>
              <a:xfrm>
                <a:off x="3193867" y="5984947"/>
                <a:ext cx="177618" cy="51752"/>
              </a:xfrm>
              <a:custGeom>
                <a:avLst/>
                <a:gdLst>
                  <a:gd name="connsiteX0" fmla="*/ 0 w 177618"/>
                  <a:gd name="connsiteY0" fmla="*/ 26187 h 51752"/>
                  <a:gd name="connsiteX1" fmla="*/ 88801 w 177618"/>
                  <a:gd name="connsiteY1" fmla="*/ 51752 h 51752"/>
                  <a:gd name="connsiteX2" fmla="*/ 88869 w 177618"/>
                  <a:gd name="connsiteY2" fmla="*/ 51752 h 51752"/>
                  <a:gd name="connsiteX3" fmla="*/ 177585 w 177618"/>
                  <a:gd name="connsiteY3" fmla="*/ 26673 h 51752"/>
                  <a:gd name="connsiteX4" fmla="*/ 177618 w 177618"/>
                  <a:gd name="connsiteY4" fmla="*/ 0 h 51752"/>
                  <a:gd name="connsiteX5" fmla="*/ 88789 w 177618"/>
                  <a:gd name="connsiteY5" fmla="*/ 17869 h 51752"/>
                  <a:gd name="connsiteX6" fmla="*/ 20253 w 177618"/>
                  <a:gd name="connsiteY6" fmla="*/ 8902 h 51752"/>
                  <a:gd name="connsiteX7" fmla="*/ 66 w 177618"/>
                  <a:gd name="connsiteY7" fmla="*/ 178 h 51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618" h="51752">
                    <a:moveTo>
                      <a:pt x="0" y="26187"/>
                    </a:moveTo>
                    <a:cubicBezTo>
                      <a:pt x="3411" y="40495"/>
                      <a:pt x="41997" y="51752"/>
                      <a:pt x="88801" y="51752"/>
                    </a:cubicBezTo>
                    <a:lnTo>
                      <a:pt x="88869" y="51752"/>
                    </a:lnTo>
                    <a:cubicBezTo>
                      <a:pt x="135171" y="51752"/>
                      <a:pt x="173457" y="40738"/>
                      <a:pt x="177585" y="26673"/>
                    </a:cubicBezTo>
                    <a:cubicBezTo>
                      <a:pt x="177598" y="14069"/>
                      <a:pt x="177606" y="4212"/>
                      <a:pt x="177618" y="0"/>
                    </a:cubicBezTo>
                    <a:cubicBezTo>
                      <a:pt x="156307" y="12798"/>
                      <a:pt x="120861" y="17869"/>
                      <a:pt x="88789" y="17869"/>
                    </a:cubicBezTo>
                    <a:cubicBezTo>
                      <a:pt x="63152" y="17869"/>
                      <a:pt x="38818" y="14668"/>
                      <a:pt x="20253" y="8902"/>
                    </a:cubicBezTo>
                    <a:cubicBezTo>
                      <a:pt x="11950" y="6300"/>
                      <a:pt x="5379" y="3343"/>
                      <a:pt x="66" y="178"/>
                    </a:cubicBezTo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DF947705-AF9C-40C9-BB46-F1A6B1B75BF5}"/>
                  </a:ext>
                </a:extLst>
              </p:cNvPr>
              <p:cNvSpPr/>
              <p:nvPr/>
            </p:nvSpPr>
            <p:spPr>
              <a:xfrm>
                <a:off x="2908821" y="6207989"/>
                <a:ext cx="81444" cy="193446"/>
              </a:xfrm>
              <a:custGeom>
                <a:avLst/>
                <a:gdLst>
                  <a:gd name="connsiteX0" fmla="*/ 8472 w 81444"/>
                  <a:gd name="connsiteY0" fmla="*/ 193446 h 193446"/>
                  <a:gd name="connsiteX1" fmla="*/ 72967 w 81444"/>
                  <a:gd name="connsiteY1" fmla="*/ 193446 h 193446"/>
                  <a:gd name="connsiteX2" fmla="*/ 81444 w 81444"/>
                  <a:gd name="connsiteY2" fmla="*/ 184973 h 193446"/>
                  <a:gd name="connsiteX3" fmla="*/ 81444 w 81444"/>
                  <a:gd name="connsiteY3" fmla="*/ 9561 h 193446"/>
                  <a:gd name="connsiteX4" fmla="*/ 71878 w 81444"/>
                  <a:gd name="connsiteY4" fmla="*/ 0 h 193446"/>
                  <a:gd name="connsiteX5" fmla="*/ 9565 w 81444"/>
                  <a:gd name="connsiteY5" fmla="*/ 0 h 193446"/>
                  <a:gd name="connsiteX6" fmla="*/ 0 w 81444"/>
                  <a:gd name="connsiteY6" fmla="*/ 9561 h 193446"/>
                  <a:gd name="connsiteX7" fmla="*/ 0 w 81444"/>
                  <a:gd name="connsiteY7" fmla="*/ 184973 h 193446"/>
                  <a:gd name="connsiteX8" fmla="*/ 8472 w 81444"/>
                  <a:gd name="connsiteY8" fmla="*/ 193446 h 193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444" h="193446">
                    <a:moveTo>
                      <a:pt x="8472" y="193446"/>
                    </a:moveTo>
                    <a:lnTo>
                      <a:pt x="72967" y="193446"/>
                    </a:lnTo>
                    <a:cubicBezTo>
                      <a:pt x="77645" y="193446"/>
                      <a:pt x="81444" y="189651"/>
                      <a:pt x="81444" y="184973"/>
                    </a:cubicBezTo>
                    <a:lnTo>
                      <a:pt x="81444" y="9561"/>
                    </a:lnTo>
                    <a:cubicBezTo>
                      <a:pt x="81444" y="4288"/>
                      <a:pt x="77151" y="0"/>
                      <a:pt x="71878" y="0"/>
                    </a:cubicBezTo>
                    <a:lnTo>
                      <a:pt x="9565" y="0"/>
                    </a:lnTo>
                    <a:cubicBezTo>
                      <a:pt x="4288" y="0"/>
                      <a:pt x="0" y="4288"/>
                      <a:pt x="0" y="9561"/>
                    </a:cubicBezTo>
                    <a:lnTo>
                      <a:pt x="0" y="184973"/>
                    </a:lnTo>
                    <a:cubicBezTo>
                      <a:pt x="0" y="189651"/>
                      <a:pt x="3800" y="193446"/>
                      <a:pt x="8472" y="193446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7ACDCB86-BF12-4520-BF5F-0FFB4CBD72EE}"/>
                  </a:ext>
                </a:extLst>
              </p:cNvPr>
              <p:cNvSpPr/>
              <p:nvPr/>
            </p:nvSpPr>
            <p:spPr>
              <a:xfrm>
                <a:off x="3028002" y="6256805"/>
                <a:ext cx="81403" cy="144630"/>
              </a:xfrm>
              <a:custGeom>
                <a:avLst/>
                <a:gdLst>
                  <a:gd name="connsiteX0" fmla="*/ 8436 w 81403"/>
                  <a:gd name="connsiteY0" fmla="*/ 144630 h 144630"/>
                  <a:gd name="connsiteX1" fmla="*/ 72931 w 81403"/>
                  <a:gd name="connsiteY1" fmla="*/ 144630 h 144630"/>
                  <a:gd name="connsiteX2" fmla="*/ 81404 w 81403"/>
                  <a:gd name="connsiteY2" fmla="*/ 136157 h 144630"/>
                  <a:gd name="connsiteX3" fmla="*/ 81404 w 81403"/>
                  <a:gd name="connsiteY3" fmla="*/ 9565 h 144630"/>
                  <a:gd name="connsiteX4" fmla="*/ 71838 w 81403"/>
                  <a:gd name="connsiteY4" fmla="*/ 0 h 144630"/>
                  <a:gd name="connsiteX5" fmla="*/ 9529 w 81403"/>
                  <a:gd name="connsiteY5" fmla="*/ 0 h 144630"/>
                  <a:gd name="connsiteX6" fmla="*/ 0 w 81403"/>
                  <a:gd name="connsiteY6" fmla="*/ 9565 h 144630"/>
                  <a:gd name="connsiteX7" fmla="*/ 0 w 81403"/>
                  <a:gd name="connsiteY7" fmla="*/ 136157 h 144630"/>
                  <a:gd name="connsiteX8" fmla="*/ 8437 w 81403"/>
                  <a:gd name="connsiteY8" fmla="*/ 144630 h 144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403" h="144630">
                    <a:moveTo>
                      <a:pt x="8436" y="144630"/>
                    </a:moveTo>
                    <a:lnTo>
                      <a:pt x="72931" y="144630"/>
                    </a:lnTo>
                    <a:cubicBezTo>
                      <a:pt x="77608" y="144630"/>
                      <a:pt x="81404" y="140835"/>
                      <a:pt x="81404" y="136157"/>
                    </a:cubicBezTo>
                    <a:lnTo>
                      <a:pt x="81404" y="9565"/>
                    </a:lnTo>
                    <a:cubicBezTo>
                      <a:pt x="81404" y="4293"/>
                      <a:pt x="77114" y="0"/>
                      <a:pt x="71838" y="0"/>
                    </a:cubicBezTo>
                    <a:lnTo>
                      <a:pt x="9529" y="0"/>
                    </a:lnTo>
                    <a:cubicBezTo>
                      <a:pt x="4257" y="0"/>
                      <a:pt x="0" y="4293"/>
                      <a:pt x="0" y="9565"/>
                    </a:cubicBezTo>
                    <a:lnTo>
                      <a:pt x="0" y="136157"/>
                    </a:lnTo>
                    <a:cubicBezTo>
                      <a:pt x="0" y="140835"/>
                      <a:pt x="3763" y="144630"/>
                      <a:pt x="8437" y="144630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AD6DE5D9-5D8F-449A-A329-D907F5CAE16D}"/>
                  </a:ext>
                </a:extLst>
              </p:cNvPr>
              <p:cNvSpPr/>
              <p:nvPr/>
            </p:nvSpPr>
            <p:spPr>
              <a:xfrm>
                <a:off x="3147142" y="6307614"/>
                <a:ext cx="81407" cy="93821"/>
              </a:xfrm>
              <a:custGeom>
                <a:avLst/>
                <a:gdLst>
                  <a:gd name="connsiteX0" fmla="*/ 8440 w 81407"/>
                  <a:gd name="connsiteY0" fmla="*/ 93822 h 93821"/>
                  <a:gd name="connsiteX1" fmla="*/ 72935 w 81407"/>
                  <a:gd name="connsiteY1" fmla="*/ 93822 h 93821"/>
                  <a:gd name="connsiteX2" fmla="*/ 81408 w 81407"/>
                  <a:gd name="connsiteY2" fmla="*/ 85348 h 93821"/>
                  <a:gd name="connsiteX3" fmla="*/ 81408 w 81407"/>
                  <a:gd name="connsiteY3" fmla="*/ 9529 h 93821"/>
                  <a:gd name="connsiteX4" fmla="*/ 71842 w 81407"/>
                  <a:gd name="connsiteY4" fmla="*/ 0 h 93821"/>
                  <a:gd name="connsiteX5" fmla="*/ 9529 w 81407"/>
                  <a:gd name="connsiteY5" fmla="*/ 0 h 93821"/>
                  <a:gd name="connsiteX6" fmla="*/ 0 w 81407"/>
                  <a:gd name="connsiteY6" fmla="*/ 9529 h 93821"/>
                  <a:gd name="connsiteX7" fmla="*/ 0 w 81407"/>
                  <a:gd name="connsiteY7" fmla="*/ 85348 h 93821"/>
                  <a:gd name="connsiteX8" fmla="*/ 8441 w 81407"/>
                  <a:gd name="connsiteY8" fmla="*/ 93822 h 9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407" h="93821">
                    <a:moveTo>
                      <a:pt x="8440" y="93822"/>
                    </a:moveTo>
                    <a:lnTo>
                      <a:pt x="72935" y="93822"/>
                    </a:lnTo>
                    <a:cubicBezTo>
                      <a:pt x="77613" y="93822"/>
                      <a:pt x="81408" y="90026"/>
                      <a:pt x="81408" y="85348"/>
                    </a:cubicBezTo>
                    <a:lnTo>
                      <a:pt x="81408" y="9529"/>
                    </a:lnTo>
                    <a:cubicBezTo>
                      <a:pt x="81408" y="4257"/>
                      <a:pt x="77119" y="0"/>
                      <a:pt x="71842" y="0"/>
                    </a:cubicBezTo>
                    <a:lnTo>
                      <a:pt x="9529" y="0"/>
                    </a:lnTo>
                    <a:cubicBezTo>
                      <a:pt x="4257" y="0"/>
                      <a:pt x="0" y="4257"/>
                      <a:pt x="0" y="9529"/>
                    </a:cubicBezTo>
                    <a:lnTo>
                      <a:pt x="0" y="85348"/>
                    </a:lnTo>
                    <a:cubicBezTo>
                      <a:pt x="0" y="90026"/>
                      <a:pt x="3763" y="93822"/>
                      <a:pt x="8441" y="93822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4830C899-24A5-46E5-8132-82A833D8C8BB}"/>
                  </a:ext>
                </a:extLst>
              </p:cNvPr>
              <p:cNvSpPr/>
              <p:nvPr/>
            </p:nvSpPr>
            <p:spPr>
              <a:xfrm>
                <a:off x="2908845" y="6456150"/>
                <a:ext cx="759363" cy="49587"/>
              </a:xfrm>
              <a:custGeom>
                <a:avLst/>
                <a:gdLst>
                  <a:gd name="connsiteX0" fmla="*/ 738779 w 759363"/>
                  <a:gd name="connsiteY0" fmla="*/ 30246 h 49587"/>
                  <a:gd name="connsiteX1" fmla="*/ 702836 w 759363"/>
                  <a:gd name="connsiteY1" fmla="*/ 12483 h 49587"/>
                  <a:gd name="connsiteX2" fmla="*/ 699964 w 759363"/>
                  <a:gd name="connsiteY2" fmla="*/ 8724 h 49587"/>
                  <a:gd name="connsiteX3" fmla="*/ 682314 w 759363"/>
                  <a:gd name="connsiteY3" fmla="*/ 0 h 49587"/>
                  <a:gd name="connsiteX4" fmla="*/ 664655 w 759363"/>
                  <a:gd name="connsiteY4" fmla="*/ 8728 h 49587"/>
                  <a:gd name="connsiteX5" fmla="*/ 661790 w 759363"/>
                  <a:gd name="connsiteY5" fmla="*/ 12483 h 49587"/>
                  <a:gd name="connsiteX6" fmla="*/ 625839 w 759363"/>
                  <a:gd name="connsiteY6" fmla="*/ 30250 h 49587"/>
                  <a:gd name="connsiteX7" fmla="*/ 588402 w 759363"/>
                  <a:gd name="connsiteY7" fmla="*/ 30250 h 49587"/>
                  <a:gd name="connsiteX8" fmla="*/ 552454 w 759363"/>
                  <a:gd name="connsiteY8" fmla="*/ 12483 h 49587"/>
                  <a:gd name="connsiteX9" fmla="*/ 549586 w 759363"/>
                  <a:gd name="connsiteY9" fmla="*/ 8728 h 49587"/>
                  <a:gd name="connsiteX10" fmla="*/ 531936 w 759363"/>
                  <a:gd name="connsiteY10" fmla="*/ 4 h 49587"/>
                  <a:gd name="connsiteX11" fmla="*/ 531932 w 759363"/>
                  <a:gd name="connsiteY11" fmla="*/ 4 h 49587"/>
                  <a:gd name="connsiteX12" fmla="*/ 514278 w 759363"/>
                  <a:gd name="connsiteY12" fmla="*/ 8732 h 49587"/>
                  <a:gd name="connsiteX13" fmla="*/ 511413 w 759363"/>
                  <a:gd name="connsiteY13" fmla="*/ 12487 h 49587"/>
                  <a:gd name="connsiteX14" fmla="*/ 475465 w 759363"/>
                  <a:gd name="connsiteY14" fmla="*/ 30254 h 49587"/>
                  <a:gd name="connsiteX15" fmla="*/ 438017 w 759363"/>
                  <a:gd name="connsiteY15" fmla="*/ 30246 h 49587"/>
                  <a:gd name="connsiteX16" fmla="*/ 402074 w 759363"/>
                  <a:gd name="connsiteY16" fmla="*/ 12479 h 49587"/>
                  <a:gd name="connsiteX17" fmla="*/ 399202 w 759363"/>
                  <a:gd name="connsiteY17" fmla="*/ 8724 h 49587"/>
                  <a:gd name="connsiteX18" fmla="*/ 381552 w 759363"/>
                  <a:gd name="connsiteY18" fmla="*/ 0 h 49587"/>
                  <a:gd name="connsiteX19" fmla="*/ 363898 w 759363"/>
                  <a:gd name="connsiteY19" fmla="*/ 8728 h 49587"/>
                  <a:gd name="connsiteX20" fmla="*/ 361028 w 759363"/>
                  <a:gd name="connsiteY20" fmla="*/ 12483 h 49587"/>
                  <a:gd name="connsiteX21" fmla="*/ 325081 w 759363"/>
                  <a:gd name="connsiteY21" fmla="*/ 30250 h 49587"/>
                  <a:gd name="connsiteX22" fmla="*/ 287640 w 759363"/>
                  <a:gd name="connsiteY22" fmla="*/ 30250 h 49587"/>
                  <a:gd name="connsiteX23" fmla="*/ 251692 w 759363"/>
                  <a:gd name="connsiteY23" fmla="*/ 12487 h 49587"/>
                  <a:gd name="connsiteX24" fmla="*/ 248820 w 759363"/>
                  <a:gd name="connsiteY24" fmla="*/ 8728 h 49587"/>
                  <a:gd name="connsiteX25" fmla="*/ 231170 w 759363"/>
                  <a:gd name="connsiteY25" fmla="*/ 4 h 49587"/>
                  <a:gd name="connsiteX26" fmla="*/ 213516 w 759363"/>
                  <a:gd name="connsiteY26" fmla="*/ 8728 h 49587"/>
                  <a:gd name="connsiteX27" fmla="*/ 210643 w 759363"/>
                  <a:gd name="connsiteY27" fmla="*/ 12483 h 49587"/>
                  <a:gd name="connsiteX28" fmla="*/ 174695 w 759363"/>
                  <a:gd name="connsiteY28" fmla="*/ 30250 h 49587"/>
                  <a:gd name="connsiteX29" fmla="*/ 133520 w 759363"/>
                  <a:gd name="connsiteY29" fmla="*/ 30250 h 49587"/>
                  <a:gd name="connsiteX30" fmla="*/ 97573 w 759363"/>
                  <a:gd name="connsiteY30" fmla="*/ 12483 h 49587"/>
                  <a:gd name="connsiteX31" fmla="*/ 94700 w 759363"/>
                  <a:gd name="connsiteY31" fmla="*/ 8728 h 49587"/>
                  <a:gd name="connsiteX32" fmla="*/ 77050 w 759363"/>
                  <a:gd name="connsiteY32" fmla="*/ 4 h 49587"/>
                  <a:gd name="connsiteX33" fmla="*/ 59396 w 759363"/>
                  <a:gd name="connsiteY33" fmla="*/ 8732 h 49587"/>
                  <a:gd name="connsiteX34" fmla="*/ 56531 w 759363"/>
                  <a:gd name="connsiteY34" fmla="*/ 12487 h 49587"/>
                  <a:gd name="connsiteX35" fmla="*/ 20579 w 759363"/>
                  <a:gd name="connsiteY35" fmla="*/ 30254 h 49587"/>
                  <a:gd name="connsiteX36" fmla="*/ 0 w 759363"/>
                  <a:gd name="connsiteY36" fmla="*/ 30246 h 49587"/>
                  <a:gd name="connsiteX37" fmla="*/ 0 w 759363"/>
                  <a:gd name="connsiteY37" fmla="*/ 49588 h 49587"/>
                  <a:gd name="connsiteX38" fmla="*/ 20588 w 759363"/>
                  <a:gd name="connsiteY38" fmla="*/ 49588 h 49587"/>
                  <a:gd name="connsiteX39" fmla="*/ 71903 w 759363"/>
                  <a:gd name="connsiteY39" fmla="*/ 24221 h 49587"/>
                  <a:gd name="connsiteX40" fmla="*/ 74768 w 759363"/>
                  <a:gd name="connsiteY40" fmla="*/ 20466 h 49587"/>
                  <a:gd name="connsiteX41" fmla="*/ 77054 w 759363"/>
                  <a:gd name="connsiteY41" fmla="*/ 19337 h 49587"/>
                  <a:gd name="connsiteX42" fmla="*/ 79336 w 759363"/>
                  <a:gd name="connsiteY42" fmla="*/ 20466 h 49587"/>
                  <a:gd name="connsiteX43" fmla="*/ 82209 w 759363"/>
                  <a:gd name="connsiteY43" fmla="*/ 24221 h 49587"/>
                  <a:gd name="connsiteX44" fmla="*/ 133524 w 759363"/>
                  <a:gd name="connsiteY44" fmla="*/ 49588 h 49587"/>
                  <a:gd name="connsiteX45" fmla="*/ 174699 w 759363"/>
                  <a:gd name="connsiteY45" fmla="*/ 49588 h 49587"/>
                  <a:gd name="connsiteX46" fmla="*/ 226015 w 759363"/>
                  <a:gd name="connsiteY46" fmla="*/ 24221 h 49587"/>
                  <a:gd name="connsiteX47" fmla="*/ 228884 w 759363"/>
                  <a:gd name="connsiteY47" fmla="*/ 20466 h 49587"/>
                  <a:gd name="connsiteX48" fmla="*/ 231170 w 759363"/>
                  <a:gd name="connsiteY48" fmla="*/ 19337 h 49587"/>
                  <a:gd name="connsiteX49" fmla="*/ 233456 w 759363"/>
                  <a:gd name="connsiteY49" fmla="*/ 20462 h 49587"/>
                  <a:gd name="connsiteX50" fmla="*/ 236329 w 759363"/>
                  <a:gd name="connsiteY50" fmla="*/ 24221 h 49587"/>
                  <a:gd name="connsiteX51" fmla="*/ 287644 w 759363"/>
                  <a:gd name="connsiteY51" fmla="*/ 49588 h 49587"/>
                  <a:gd name="connsiteX52" fmla="*/ 325085 w 759363"/>
                  <a:gd name="connsiteY52" fmla="*/ 49588 h 49587"/>
                  <a:gd name="connsiteX53" fmla="*/ 376400 w 759363"/>
                  <a:gd name="connsiteY53" fmla="*/ 24221 h 49587"/>
                  <a:gd name="connsiteX54" fmla="*/ 379265 w 759363"/>
                  <a:gd name="connsiteY54" fmla="*/ 20466 h 49587"/>
                  <a:gd name="connsiteX55" fmla="*/ 381552 w 759363"/>
                  <a:gd name="connsiteY55" fmla="*/ 19337 h 49587"/>
                  <a:gd name="connsiteX56" fmla="*/ 383838 w 759363"/>
                  <a:gd name="connsiteY56" fmla="*/ 20466 h 49587"/>
                  <a:gd name="connsiteX57" fmla="*/ 386710 w 759363"/>
                  <a:gd name="connsiteY57" fmla="*/ 24221 h 49587"/>
                  <a:gd name="connsiteX58" fmla="*/ 438021 w 759363"/>
                  <a:gd name="connsiteY58" fmla="*/ 49588 h 49587"/>
                  <a:gd name="connsiteX59" fmla="*/ 475462 w 759363"/>
                  <a:gd name="connsiteY59" fmla="*/ 49588 h 49587"/>
                  <a:gd name="connsiteX60" fmla="*/ 526778 w 759363"/>
                  <a:gd name="connsiteY60" fmla="*/ 24221 h 49587"/>
                  <a:gd name="connsiteX61" fmla="*/ 529643 w 759363"/>
                  <a:gd name="connsiteY61" fmla="*/ 20466 h 49587"/>
                  <a:gd name="connsiteX62" fmla="*/ 531929 w 759363"/>
                  <a:gd name="connsiteY62" fmla="*/ 19337 h 49587"/>
                  <a:gd name="connsiteX63" fmla="*/ 531933 w 759363"/>
                  <a:gd name="connsiteY63" fmla="*/ 19337 h 49587"/>
                  <a:gd name="connsiteX64" fmla="*/ 534215 w 759363"/>
                  <a:gd name="connsiteY64" fmla="*/ 20466 h 49587"/>
                  <a:gd name="connsiteX65" fmla="*/ 537088 w 759363"/>
                  <a:gd name="connsiteY65" fmla="*/ 24221 h 49587"/>
                  <a:gd name="connsiteX66" fmla="*/ 588403 w 759363"/>
                  <a:gd name="connsiteY66" fmla="*/ 49588 h 49587"/>
                  <a:gd name="connsiteX67" fmla="*/ 625840 w 759363"/>
                  <a:gd name="connsiteY67" fmla="*/ 49588 h 49587"/>
                  <a:gd name="connsiteX68" fmla="*/ 677155 w 759363"/>
                  <a:gd name="connsiteY68" fmla="*/ 24221 h 49587"/>
                  <a:gd name="connsiteX69" fmla="*/ 680020 w 759363"/>
                  <a:gd name="connsiteY69" fmla="*/ 20466 h 49587"/>
                  <a:gd name="connsiteX70" fmla="*/ 682306 w 759363"/>
                  <a:gd name="connsiteY70" fmla="*/ 19337 h 49587"/>
                  <a:gd name="connsiteX71" fmla="*/ 684593 w 759363"/>
                  <a:gd name="connsiteY71" fmla="*/ 20462 h 49587"/>
                  <a:gd name="connsiteX72" fmla="*/ 687465 w 759363"/>
                  <a:gd name="connsiteY72" fmla="*/ 24221 h 49587"/>
                  <a:gd name="connsiteX73" fmla="*/ 738776 w 759363"/>
                  <a:gd name="connsiteY73" fmla="*/ 49588 h 49587"/>
                  <a:gd name="connsiteX74" fmla="*/ 759364 w 759363"/>
                  <a:gd name="connsiteY74" fmla="*/ 49588 h 49587"/>
                  <a:gd name="connsiteX75" fmla="*/ 759364 w 759363"/>
                  <a:gd name="connsiteY75" fmla="*/ 30246 h 4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759363" h="49587">
                    <a:moveTo>
                      <a:pt x="738779" y="30246"/>
                    </a:moveTo>
                    <a:cubicBezTo>
                      <a:pt x="724774" y="30246"/>
                      <a:pt x="711341" y="23606"/>
                      <a:pt x="702836" y="12483"/>
                    </a:cubicBezTo>
                    <a:lnTo>
                      <a:pt x="699964" y="8724"/>
                    </a:lnTo>
                    <a:cubicBezTo>
                      <a:pt x="695727" y="3180"/>
                      <a:pt x="689293" y="0"/>
                      <a:pt x="682314" y="0"/>
                    </a:cubicBezTo>
                    <a:cubicBezTo>
                      <a:pt x="675333" y="0"/>
                      <a:pt x="668900" y="3180"/>
                      <a:pt x="664655" y="8728"/>
                    </a:cubicBezTo>
                    <a:lnTo>
                      <a:pt x="661790" y="12483"/>
                    </a:lnTo>
                    <a:cubicBezTo>
                      <a:pt x="653285" y="23610"/>
                      <a:pt x="639843" y="30250"/>
                      <a:pt x="625839" y="30250"/>
                    </a:cubicBezTo>
                    <a:lnTo>
                      <a:pt x="588402" y="30250"/>
                    </a:lnTo>
                    <a:cubicBezTo>
                      <a:pt x="574397" y="30250"/>
                      <a:pt x="560960" y="23610"/>
                      <a:pt x="552454" y="12483"/>
                    </a:cubicBezTo>
                    <a:lnTo>
                      <a:pt x="549586" y="8728"/>
                    </a:lnTo>
                    <a:cubicBezTo>
                      <a:pt x="545350" y="3184"/>
                      <a:pt x="538915" y="4"/>
                      <a:pt x="531936" y="4"/>
                    </a:cubicBezTo>
                    <a:lnTo>
                      <a:pt x="531932" y="4"/>
                    </a:lnTo>
                    <a:cubicBezTo>
                      <a:pt x="524952" y="4"/>
                      <a:pt x="518519" y="3184"/>
                      <a:pt x="514278" y="8732"/>
                    </a:cubicBezTo>
                    <a:lnTo>
                      <a:pt x="511413" y="12487"/>
                    </a:lnTo>
                    <a:cubicBezTo>
                      <a:pt x="502907" y="23614"/>
                      <a:pt x="489469" y="30254"/>
                      <a:pt x="475465" y="30254"/>
                    </a:cubicBezTo>
                    <a:lnTo>
                      <a:pt x="438017" y="30246"/>
                    </a:lnTo>
                    <a:cubicBezTo>
                      <a:pt x="424012" y="30246"/>
                      <a:pt x="410575" y="23606"/>
                      <a:pt x="402074" y="12479"/>
                    </a:cubicBezTo>
                    <a:lnTo>
                      <a:pt x="399202" y="8724"/>
                    </a:lnTo>
                    <a:cubicBezTo>
                      <a:pt x="394965" y="3180"/>
                      <a:pt x="388531" y="0"/>
                      <a:pt x="381552" y="0"/>
                    </a:cubicBezTo>
                    <a:cubicBezTo>
                      <a:pt x="374572" y="0"/>
                      <a:pt x="368138" y="3180"/>
                      <a:pt x="363898" y="8728"/>
                    </a:cubicBezTo>
                    <a:lnTo>
                      <a:pt x="361028" y="12483"/>
                    </a:lnTo>
                    <a:cubicBezTo>
                      <a:pt x="352523" y="23610"/>
                      <a:pt x="339085" y="30250"/>
                      <a:pt x="325081" y="30250"/>
                    </a:cubicBezTo>
                    <a:lnTo>
                      <a:pt x="287640" y="30250"/>
                    </a:lnTo>
                    <a:cubicBezTo>
                      <a:pt x="273635" y="30250"/>
                      <a:pt x="260198" y="23610"/>
                      <a:pt x="251692" y="12487"/>
                    </a:cubicBezTo>
                    <a:lnTo>
                      <a:pt x="248820" y="8728"/>
                    </a:lnTo>
                    <a:cubicBezTo>
                      <a:pt x="244583" y="3184"/>
                      <a:pt x="238150" y="4"/>
                      <a:pt x="231170" y="4"/>
                    </a:cubicBezTo>
                    <a:cubicBezTo>
                      <a:pt x="224190" y="4"/>
                      <a:pt x="217757" y="3184"/>
                      <a:pt x="213516" y="8728"/>
                    </a:cubicBezTo>
                    <a:lnTo>
                      <a:pt x="210643" y="12483"/>
                    </a:lnTo>
                    <a:cubicBezTo>
                      <a:pt x="202137" y="23610"/>
                      <a:pt x="188703" y="30250"/>
                      <a:pt x="174695" y="30250"/>
                    </a:cubicBezTo>
                    <a:lnTo>
                      <a:pt x="133520" y="30250"/>
                    </a:lnTo>
                    <a:cubicBezTo>
                      <a:pt x="119515" y="30250"/>
                      <a:pt x="106078" y="23610"/>
                      <a:pt x="97573" y="12483"/>
                    </a:cubicBezTo>
                    <a:lnTo>
                      <a:pt x="94700" y="8728"/>
                    </a:lnTo>
                    <a:cubicBezTo>
                      <a:pt x="90463" y="3184"/>
                      <a:pt x="84030" y="4"/>
                      <a:pt x="77050" y="4"/>
                    </a:cubicBezTo>
                    <a:cubicBezTo>
                      <a:pt x="70071" y="4"/>
                      <a:pt x="63637" y="3184"/>
                      <a:pt x="59396" y="8732"/>
                    </a:cubicBezTo>
                    <a:lnTo>
                      <a:pt x="56531" y="12487"/>
                    </a:lnTo>
                    <a:cubicBezTo>
                      <a:pt x="48025" y="23614"/>
                      <a:pt x="34587" y="30254"/>
                      <a:pt x="20579" y="30254"/>
                    </a:cubicBezTo>
                    <a:lnTo>
                      <a:pt x="0" y="30246"/>
                    </a:lnTo>
                    <a:lnTo>
                      <a:pt x="0" y="49588"/>
                    </a:lnTo>
                    <a:lnTo>
                      <a:pt x="20588" y="49588"/>
                    </a:lnTo>
                    <a:cubicBezTo>
                      <a:pt x="40577" y="49588"/>
                      <a:pt x="59760" y="40107"/>
                      <a:pt x="71903" y="24221"/>
                    </a:cubicBezTo>
                    <a:lnTo>
                      <a:pt x="74768" y="20466"/>
                    </a:lnTo>
                    <a:cubicBezTo>
                      <a:pt x="75520" y="19483"/>
                      <a:pt x="76524" y="19337"/>
                      <a:pt x="77054" y="19337"/>
                    </a:cubicBezTo>
                    <a:cubicBezTo>
                      <a:pt x="77585" y="19337"/>
                      <a:pt x="78587" y="19483"/>
                      <a:pt x="79336" y="20466"/>
                    </a:cubicBezTo>
                    <a:lnTo>
                      <a:pt x="82209" y="24221"/>
                    </a:lnTo>
                    <a:cubicBezTo>
                      <a:pt x="94348" y="40107"/>
                      <a:pt x="113531" y="49588"/>
                      <a:pt x="133524" y="49588"/>
                    </a:cubicBezTo>
                    <a:lnTo>
                      <a:pt x="174699" y="49588"/>
                    </a:lnTo>
                    <a:cubicBezTo>
                      <a:pt x="194692" y="49588"/>
                      <a:pt x="213871" y="40107"/>
                      <a:pt x="226015" y="24221"/>
                    </a:cubicBezTo>
                    <a:lnTo>
                      <a:pt x="228884" y="20466"/>
                    </a:lnTo>
                    <a:cubicBezTo>
                      <a:pt x="229636" y="19483"/>
                      <a:pt x="230640" y="19337"/>
                      <a:pt x="231170" y="19337"/>
                    </a:cubicBezTo>
                    <a:cubicBezTo>
                      <a:pt x="231700" y="19337"/>
                      <a:pt x="232703" y="19483"/>
                      <a:pt x="233456" y="20462"/>
                    </a:cubicBezTo>
                    <a:lnTo>
                      <a:pt x="236329" y="24221"/>
                    </a:lnTo>
                    <a:cubicBezTo>
                      <a:pt x="248468" y="40107"/>
                      <a:pt x="267651" y="49588"/>
                      <a:pt x="287644" y="49588"/>
                    </a:cubicBezTo>
                    <a:lnTo>
                      <a:pt x="325085" y="49588"/>
                    </a:lnTo>
                    <a:cubicBezTo>
                      <a:pt x="345074" y="49588"/>
                      <a:pt x="364257" y="40107"/>
                      <a:pt x="376400" y="24221"/>
                    </a:cubicBezTo>
                    <a:lnTo>
                      <a:pt x="379265" y="20466"/>
                    </a:lnTo>
                    <a:cubicBezTo>
                      <a:pt x="380017" y="19483"/>
                      <a:pt x="381021" y="19337"/>
                      <a:pt x="381552" y="19337"/>
                    </a:cubicBezTo>
                    <a:cubicBezTo>
                      <a:pt x="382082" y="19337"/>
                      <a:pt x="383085" y="19483"/>
                      <a:pt x="383838" y="20466"/>
                    </a:cubicBezTo>
                    <a:lnTo>
                      <a:pt x="386710" y="24221"/>
                    </a:lnTo>
                    <a:cubicBezTo>
                      <a:pt x="398849" y="40107"/>
                      <a:pt x="418028" y="49588"/>
                      <a:pt x="438021" y="49588"/>
                    </a:cubicBezTo>
                    <a:lnTo>
                      <a:pt x="475462" y="49588"/>
                    </a:lnTo>
                    <a:cubicBezTo>
                      <a:pt x="495451" y="49588"/>
                      <a:pt x="514634" y="40107"/>
                      <a:pt x="526778" y="24221"/>
                    </a:cubicBezTo>
                    <a:lnTo>
                      <a:pt x="529643" y="20466"/>
                    </a:lnTo>
                    <a:cubicBezTo>
                      <a:pt x="530395" y="19483"/>
                      <a:pt x="531399" y="19337"/>
                      <a:pt x="531929" y="19337"/>
                    </a:cubicBezTo>
                    <a:lnTo>
                      <a:pt x="531933" y="19337"/>
                    </a:lnTo>
                    <a:cubicBezTo>
                      <a:pt x="532462" y="19337"/>
                      <a:pt x="533466" y="19483"/>
                      <a:pt x="534215" y="20466"/>
                    </a:cubicBezTo>
                    <a:lnTo>
                      <a:pt x="537088" y="24221"/>
                    </a:lnTo>
                    <a:cubicBezTo>
                      <a:pt x="549231" y="40107"/>
                      <a:pt x="568414" y="49588"/>
                      <a:pt x="588403" y="49588"/>
                    </a:cubicBezTo>
                    <a:lnTo>
                      <a:pt x="625840" y="49588"/>
                    </a:lnTo>
                    <a:cubicBezTo>
                      <a:pt x="645833" y="49588"/>
                      <a:pt x="665016" y="40107"/>
                      <a:pt x="677155" y="24221"/>
                    </a:cubicBezTo>
                    <a:lnTo>
                      <a:pt x="680020" y="20466"/>
                    </a:lnTo>
                    <a:cubicBezTo>
                      <a:pt x="680772" y="19483"/>
                      <a:pt x="681776" y="19337"/>
                      <a:pt x="682306" y="19337"/>
                    </a:cubicBezTo>
                    <a:cubicBezTo>
                      <a:pt x="682837" y="19337"/>
                      <a:pt x="683839" y="19483"/>
                      <a:pt x="684593" y="20462"/>
                    </a:cubicBezTo>
                    <a:lnTo>
                      <a:pt x="687465" y="24221"/>
                    </a:lnTo>
                    <a:cubicBezTo>
                      <a:pt x="699604" y="40107"/>
                      <a:pt x="718787" y="49588"/>
                      <a:pt x="738776" y="49588"/>
                    </a:cubicBezTo>
                    <a:lnTo>
                      <a:pt x="759364" y="49588"/>
                    </a:lnTo>
                    <a:lnTo>
                      <a:pt x="759364" y="302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F5D7173B-F25A-4CC7-B6F6-B921F9CF775E}"/>
                  </a:ext>
                </a:extLst>
              </p:cNvPr>
              <p:cNvSpPr/>
              <p:nvPr/>
            </p:nvSpPr>
            <p:spPr>
              <a:xfrm>
                <a:off x="2908838" y="6539000"/>
                <a:ext cx="759363" cy="49591"/>
              </a:xfrm>
              <a:custGeom>
                <a:avLst/>
                <a:gdLst>
                  <a:gd name="connsiteX0" fmla="*/ 702832 w 759363"/>
                  <a:gd name="connsiteY0" fmla="*/ 12479 h 49591"/>
                  <a:gd name="connsiteX1" fmla="*/ 699964 w 759363"/>
                  <a:gd name="connsiteY1" fmla="*/ 8724 h 49591"/>
                  <a:gd name="connsiteX2" fmla="*/ 682313 w 759363"/>
                  <a:gd name="connsiteY2" fmla="*/ 0 h 49591"/>
                  <a:gd name="connsiteX3" fmla="*/ 664663 w 759363"/>
                  <a:gd name="connsiteY3" fmla="*/ 8724 h 49591"/>
                  <a:gd name="connsiteX4" fmla="*/ 661790 w 759363"/>
                  <a:gd name="connsiteY4" fmla="*/ 12479 h 49591"/>
                  <a:gd name="connsiteX5" fmla="*/ 625843 w 759363"/>
                  <a:gd name="connsiteY5" fmla="*/ 30250 h 49591"/>
                  <a:gd name="connsiteX6" fmla="*/ 588406 w 759363"/>
                  <a:gd name="connsiteY6" fmla="*/ 30250 h 49591"/>
                  <a:gd name="connsiteX7" fmla="*/ 552454 w 759363"/>
                  <a:gd name="connsiteY7" fmla="*/ 12475 h 49591"/>
                  <a:gd name="connsiteX8" fmla="*/ 549589 w 759363"/>
                  <a:gd name="connsiteY8" fmla="*/ 8724 h 49591"/>
                  <a:gd name="connsiteX9" fmla="*/ 531940 w 759363"/>
                  <a:gd name="connsiteY9" fmla="*/ 0 h 49591"/>
                  <a:gd name="connsiteX10" fmla="*/ 531936 w 759363"/>
                  <a:gd name="connsiteY10" fmla="*/ 0 h 49591"/>
                  <a:gd name="connsiteX11" fmla="*/ 514286 w 759363"/>
                  <a:gd name="connsiteY11" fmla="*/ 8724 h 49591"/>
                  <a:gd name="connsiteX12" fmla="*/ 511417 w 759363"/>
                  <a:gd name="connsiteY12" fmla="*/ 12479 h 49591"/>
                  <a:gd name="connsiteX13" fmla="*/ 475470 w 759363"/>
                  <a:gd name="connsiteY13" fmla="*/ 30250 h 49591"/>
                  <a:gd name="connsiteX14" fmla="*/ 438017 w 759363"/>
                  <a:gd name="connsiteY14" fmla="*/ 30250 h 49591"/>
                  <a:gd name="connsiteX15" fmla="*/ 402066 w 759363"/>
                  <a:gd name="connsiteY15" fmla="*/ 12475 h 49591"/>
                  <a:gd name="connsiteX16" fmla="*/ 399201 w 759363"/>
                  <a:gd name="connsiteY16" fmla="*/ 8724 h 49591"/>
                  <a:gd name="connsiteX17" fmla="*/ 381551 w 759363"/>
                  <a:gd name="connsiteY17" fmla="*/ 0 h 49591"/>
                  <a:gd name="connsiteX18" fmla="*/ 363901 w 759363"/>
                  <a:gd name="connsiteY18" fmla="*/ 8724 h 49591"/>
                  <a:gd name="connsiteX19" fmla="*/ 361028 w 759363"/>
                  <a:gd name="connsiteY19" fmla="*/ 12479 h 49591"/>
                  <a:gd name="connsiteX20" fmla="*/ 325081 w 759363"/>
                  <a:gd name="connsiteY20" fmla="*/ 30250 h 49591"/>
                  <a:gd name="connsiteX21" fmla="*/ 287640 w 759363"/>
                  <a:gd name="connsiteY21" fmla="*/ 30250 h 49591"/>
                  <a:gd name="connsiteX22" fmla="*/ 251688 w 759363"/>
                  <a:gd name="connsiteY22" fmla="*/ 12479 h 49591"/>
                  <a:gd name="connsiteX23" fmla="*/ 248820 w 759363"/>
                  <a:gd name="connsiteY23" fmla="*/ 8724 h 49591"/>
                  <a:gd name="connsiteX24" fmla="*/ 231170 w 759363"/>
                  <a:gd name="connsiteY24" fmla="*/ 0 h 49591"/>
                  <a:gd name="connsiteX25" fmla="*/ 213520 w 759363"/>
                  <a:gd name="connsiteY25" fmla="*/ 8724 h 49591"/>
                  <a:gd name="connsiteX26" fmla="*/ 210647 w 759363"/>
                  <a:gd name="connsiteY26" fmla="*/ 12479 h 49591"/>
                  <a:gd name="connsiteX27" fmla="*/ 174699 w 759363"/>
                  <a:gd name="connsiteY27" fmla="*/ 30250 h 49591"/>
                  <a:gd name="connsiteX28" fmla="*/ 133524 w 759363"/>
                  <a:gd name="connsiteY28" fmla="*/ 30250 h 49591"/>
                  <a:gd name="connsiteX29" fmla="*/ 97577 w 759363"/>
                  <a:gd name="connsiteY29" fmla="*/ 12475 h 49591"/>
                  <a:gd name="connsiteX30" fmla="*/ 94704 w 759363"/>
                  <a:gd name="connsiteY30" fmla="*/ 8724 h 49591"/>
                  <a:gd name="connsiteX31" fmla="*/ 77054 w 759363"/>
                  <a:gd name="connsiteY31" fmla="*/ 0 h 49591"/>
                  <a:gd name="connsiteX32" fmla="*/ 59404 w 759363"/>
                  <a:gd name="connsiteY32" fmla="*/ 8724 h 49591"/>
                  <a:gd name="connsiteX33" fmla="*/ 56531 w 759363"/>
                  <a:gd name="connsiteY33" fmla="*/ 12479 h 49591"/>
                  <a:gd name="connsiteX34" fmla="*/ 20584 w 759363"/>
                  <a:gd name="connsiteY34" fmla="*/ 30250 h 49591"/>
                  <a:gd name="connsiteX35" fmla="*/ 0 w 759363"/>
                  <a:gd name="connsiteY35" fmla="*/ 30250 h 49591"/>
                  <a:gd name="connsiteX36" fmla="*/ 0 w 759363"/>
                  <a:gd name="connsiteY36" fmla="*/ 49592 h 49591"/>
                  <a:gd name="connsiteX37" fmla="*/ 20588 w 759363"/>
                  <a:gd name="connsiteY37" fmla="*/ 49592 h 49591"/>
                  <a:gd name="connsiteX38" fmla="*/ 71903 w 759363"/>
                  <a:gd name="connsiteY38" fmla="*/ 24226 h 49591"/>
                  <a:gd name="connsiteX39" fmla="*/ 74772 w 759363"/>
                  <a:gd name="connsiteY39" fmla="*/ 20471 h 49591"/>
                  <a:gd name="connsiteX40" fmla="*/ 77058 w 759363"/>
                  <a:gd name="connsiteY40" fmla="*/ 19342 h 49591"/>
                  <a:gd name="connsiteX41" fmla="*/ 79349 w 759363"/>
                  <a:gd name="connsiteY41" fmla="*/ 20475 h 49591"/>
                  <a:gd name="connsiteX42" fmla="*/ 82213 w 759363"/>
                  <a:gd name="connsiteY42" fmla="*/ 24226 h 49591"/>
                  <a:gd name="connsiteX43" fmla="*/ 133528 w 759363"/>
                  <a:gd name="connsiteY43" fmla="*/ 49592 h 49591"/>
                  <a:gd name="connsiteX44" fmla="*/ 174703 w 759363"/>
                  <a:gd name="connsiteY44" fmla="*/ 49592 h 49591"/>
                  <a:gd name="connsiteX45" fmla="*/ 226015 w 759363"/>
                  <a:gd name="connsiteY45" fmla="*/ 24226 h 49591"/>
                  <a:gd name="connsiteX46" fmla="*/ 228888 w 759363"/>
                  <a:gd name="connsiteY46" fmla="*/ 20471 h 49591"/>
                  <a:gd name="connsiteX47" fmla="*/ 231174 w 759363"/>
                  <a:gd name="connsiteY47" fmla="*/ 19342 h 49591"/>
                  <a:gd name="connsiteX48" fmla="*/ 233460 w 759363"/>
                  <a:gd name="connsiteY48" fmla="*/ 20471 h 49591"/>
                  <a:gd name="connsiteX49" fmla="*/ 236329 w 759363"/>
                  <a:gd name="connsiteY49" fmla="*/ 24226 h 49591"/>
                  <a:gd name="connsiteX50" fmla="*/ 287644 w 759363"/>
                  <a:gd name="connsiteY50" fmla="*/ 49592 h 49591"/>
                  <a:gd name="connsiteX51" fmla="*/ 325085 w 759363"/>
                  <a:gd name="connsiteY51" fmla="*/ 49592 h 49591"/>
                  <a:gd name="connsiteX52" fmla="*/ 376400 w 759363"/>
                  <a:gd name="connsiteY52" fmla="*/ 24226 h 49591"/>
                  <a:gd name="connsiteX53" fmla="*/ 379270 w 759363"/>
                  <a:gd name="connsiteY53" fmla="*/ 20471 h 49591"/>
                  <a:gd name="connsiteX54" fmla="*/ 381556 w 759363"/>
                  <a:gd name="connsiteY54" fmla="*/ 19342 h 49591"/>
                  <a:gd name="connsiteX55" fmla="*/ 383842 w 759363"/>
                  <a:gd name="connsiteY55" fmla="*/ 20475 h 49591"/>
                  <a:gd name="connsiteX56" fmla="*/ 386710 w 759363"/>
                  <a:gd name="connsiteY56" fmla="*/ 24226 h 49591"/>
                  <a:gd name="connsiteX57" fmla="*/ 438021 w 759363"/>
                  <a:gd name="connsiteY57" fmla="*/ 49592 h 49591"/>
                  <a:gd name="connsiteX58" fmla="*/ 475462 w 759363"/>
                  <a:gd name="connsiteY58" fmla="*/ 49592 h 49591"/>
                  <a:gd name="connsiteX59" fmla="*/ 526774 w 759363"/>
                  <a:gd name="connsiteY59" fmla="*/ 24226 h 49591"/>
                  <a:gd name="connsiteX60" fmla="*/ 529643 w 759363"/>
                  <a:gd name="connsiteY60" fmla="*/ 20471 h 49591"/>
                  <a:gd name="connsiteX61" fmla="*/ 531929 w 759363"/>
                  <a:gd name="connsiteY61" fmla="*/ 19342 h 49591"/>
                  <a:gd name="connsiteX62" fmla="*/ 531933 w 759363"/>
                  <a:gd name="connsiteY62" fmla="*/ 19342 h 49591"/>
                  <a:gd name="connsiteX63" fmla="*/ 534219 w 759363"/>
                  <a:gd name="connsiteY63" fmla="*/ 20475 h 49591"/>
                  <a:gd name="connsiteX64" fmla="*/ 537088 w 759363"/>
                  <a:gd name="connsiteY64" fmla="*/ 24226 h 49591"/>
                  <a:gd name="connsiteX65" fmla="*/ 588403 w 759363"/>
                  <a:gd name="connsiteY65" fmla="*/ 49592 h 49591"/>
                  <a:gd name="connsiteX66" fmla="*/ 625840 w 759363"/>
                  <a:gd name="connsiteY66" fmla="*/ 49592 h 49591"/>
                  <a:gd name="connsiteX67" fmla="*/ 677155 w 759363"/>
                  <a:gd name="connsiteY67" fmla="*/ 24226 h 49591"/>
                  <a:gd name="connsiteX68" fmla="*/ 680024 w 759363"/>
                  <a:gd name="connsiteY68" fmla="*/ 20471 h 49591"/>
                  <a:gd name="connsiteX69" fmla="*/ 682311 w 759363"/>
                  <a:gd name="connsiteY69" fmla="*/ 19342 h 49591"/>
                  <a:gd name="connsiteX70" fmla="*/ 684597 w 759363"/>
                  <a:gd name="connsiteY70" fmla="*/ 20471 h 49591"/>
                  <a:gd name="connsiteX71" fmla="*/ 687461 w 759363"/>
                  <a:gd name="connsiteY71" fmla="*/ 24226 h 49591"/>
                  <a:gd name="connsiteX72" fmla="*/ 738776 w 759363"/>
                  <a:gd name="connsiteY72" fmla="*/ 49592 h 49591"/>
                  <a:gd name="connsiteX73" fmla="*/ 759364 w 759363"/>
                  <a:gd name="connsiteY73" fmla="*/ 49592 h 49591"/>
                  <a:gd name="connsiteX74" fmla="*/ 759364 w 759363"/>
                  <a:gd name="connsiteY74" fmla="*/ 30250 h 49591"/>
                  <a:gd name="connsiteX75" fmla="*/ 738776 w 759363"/>
                  <a:gd name="connsiteY75" fmla="*/ 30250 h 49591"/>
                  <a:gd name="connsiteX76" fmla="*/ 702833 w 759363"/>
                  <a:gd name="connsiteY76" fmla="*/ 12479 h 49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759363" h="49591">
                    <a:moveTo>
                      <a:pt x="702832" y="12479"/>
                    </a:moveTo>
                    <a:lnTo>
                      <a:pt x="699964" y="8724"/>
                    </a:lnTo>
                    <a:cubicBezTo>
                      <a:pt x="695727" y="3180"/>
                      <a:pt x="689292" y="0"/>
                      <a:pt x="682313" y="0"/>
                    </a:cubicBezTo>
                    <a:cubicBezTo>
                      <a:pt x="675333" y="0"/>
                      <a:pt x="668900" y="3180"/>
                      <a:pt x="664663" y="8724"/>
                    </a:cubicBezTo>
                    <a:lnTo>
                      <a:pt x="661790" y="12479"/>
                    </a:lnTo>
                    <a:cubicBezTo>
                      <a:pt x="653289" y="23606"/>
                      <a:pt x="639847" y="30250"/>
                      <a:pt x="625843" y="30250"/>
                    </a:cubicBezTo>
                    <a:lnTo>
                      <a:pt x="588406" y="30250"/>
                    </a:lnTo>
                    <a:cubicBezTo>
                      <a:pt x="574401" y="30250"/>
                      <a:pt x="560960" y="23606"/>
                      <a:pt x="552454" y="12475"/>
                    </a:cubicBezTo>
                    <a:lnTo>
                      <a:pt x="549589" y="8724"/>
                    </a:lnTo>
                    <a:cubicBezTo>
                      <a:pt x="545354" y="3180"/>
                      <a:pt x="538920" y="0"/>
                      <a:pt x="531940" y="0"/>
                    </a:cubicBezTo>
                    <a:lnTo>
                      <a:pt x="531936" y="0"/>
                    </a:lnTo>
                    <a:cubicBezTo>
                      <a:pt x="524956" y="0"/>
                      <a:pt x="518523" y="3180"/>
                      <a:pt x="514286" y="8724"/>
                    </a:cubicBezTo>
                    <a:lnTo>
                      <a:pt x="511417" y="12479"/>
                    </a:lnTo>
                    <a:cubicBezTo>
                      <a:pt x="502912" y="23606"/>
                      <a:pt x="489473" y="30250"/>
                      <a:pt x="475470" y="30250"/>
                    </a:cubicBezTo>
                    <a:lnTo>
                      <a:pt x="438017" y="30250"/>
                    </a:lnTo>
                    <a:cubicBezTo>
                      <a:pt x="424012" y="30250"/>
                      <a:pt x="410575" y="23610"/>
                      <a:pt x="402066" y="12475"/>
                    </a:cubicBezTo>
                    <a:lnTo>
                      <a:pt x="399201" y="8724"/>
                    </a:lnTo>
                    <a:cubicBezTo>
                      <a:pt x="394965" y="3180"/>
                      <a:pt x="388531" y="0"/>
                      <a:pt x="381551" y="0"/>
                    </a:cubicBezTo>
                    <a:cubicBezTo>
                      <a:pt x="374572" y="0"/>
                      <a:pt x="368138" y="3180"/>
                      <a:pt x="363901" y="8724"/>
                    </a:cubicBezTo>
                    <a:lnTo>
                      <a:pt x="361028" y="12479"/>
                    </a:lnTo>
                    <a:cubicBezTo>
                      <a:pt x="352523" y="23606"/>
                      <a:pt x="339085" y="30250"/>
                      <a:pt x="325081" y="30250"/>
                    </a:cubicBezTo>
                    <a:lnTo>
                      <a:pt x="287640" y="30250"/>
                    </a:lnTo>
                    <a:cubicBezTo>
                      <a:pt x="273635" y="30250"/>
                      <a:pt x="260194" y="23606"/>
                      <a:pt x="251688" y="12479"/>
                    </a:cubicBezTo>
                    <a:lnTo>
                      <a:pt x="248820" y="8724"/>
                    </a:lnTo>
                    <a:cubicBezTo>
                      <a:pt x="244583" y="3180"/>
                      <a:pt x="238150" y="0"/>
                      <a:pt x="231170" y="0"/>
                    </a:cubicBezTo>
                    <a:cubicBezTo>
                      <a:pt x="224190" y="0"/>
                      <a:pt x="217757" y="3180"/>
                      <a:pt x="213520" y="8724"/>
                    </a:cubicBezTo>
                    <a:lnTo>
                      <a:pt x="210647" y="12479"/>
                    </a:lnTo>
                    <a:cubicBezTo>
                      <a:pt x="202141" y="23606"/>
                      <a:pt x="188707" y="30250"/>
                      <a:pt x="174699" y="30250"/>
                    </a:cubicBezTo>
                    <a:lnTo>
                      <a:pt x="133524" y="30250"/>
                    </a:lnTo>
                    <a:cubicBezTo>
                      <a:pt x="119519" y="30250"/>
                      <a:pt x="106082" y="23610"/>
                      <a:pt x="97577" y="12475"/>
                    </a:cubicBezTo>
                    <a:lnTo>
                      <a:pt x="94704" y="8724"/>
                    </a:lnTo>
                    <a:cubicBezTo>
                      <a:pt x="90468" y="3180"/>
                      <a:pt x="84034" y="0"/>
                      <a:pt x="77054" y="0"/>
                    </a:cubicBezTo>
                    <a:cubicBezTo>
                      <a:pt x="70075" y="0"/>
                      <a:pt x="63641" y="3180"/>
                      <a:pt x="59404" y="8724"/>
                    </a:cubicBezTo>
                    <a:lnTo>
                      <a:pt x="56531" y="12479"/>
                    </a:lnTo>
                    <a:cubicBezTo>
                      <a:pt x="48026" y="23606"/>
                      <a:pt x="34587" y="30250"/>
                      <a:pt x="20584" y="30250"/>
                    </a:cubicBezTo>
                    <a:lnTo>
                      <a:pt x="0" y="30250"/>
                    </a:lnTo>
                    <a:lnTo>
                      <a:pt x="0" y="49592"/>
                    </a:lnTo>
                    <a:lnTo>
                      <a:pt x="20588" y="49592"/>
                    </a:lnTo>
                    <a:cubicBezTo>
                      <a:pt x="40581" y="49592"/>
                      <a:pt x="59764" y="40106"/>
                      <a:pt x="71903" y="24226"/>
                    </a:cubicBezTo>
                    <a:lnTo>
                      <a:pt x="74772" y="20471"/>
                    </a:lnTo>
                    <a:cubicBezTo>
                      <a:pt x="75524" y="19486"/>
                      <a:pt x="76528" y="19342"/>
                      <a:pt x="77058" y="19342"/>
                    </a:cubicBezTo>
                    <a:cubicBezTo>
                      <a:pt x="77589" y="19342"/>
                      <a:pt x="78592" y="19488"/>
                      <a:pt x="79349" y="20475"/>
                    </a:cubicBezTo>
                    <a:lnTo>
                      <a:pt x="82213" y="24226"/>
                    </a:lnTo>
                    <a:cubicBezTo>
                      <a:pt x="94352" y="40111"/>
                      <a:pt x="113535" y="49592"/>
                      <a:pt x="133528" y="49592"/>
                    </a:cubicBezTo>
                    <a:lnTo>
                      <a:pt x="174703" y="49592"/>
                    </a:lnTo>
                    <a:cubicBezTo>
                      <a:pt x="194697" y="49592"/>
                      <a:pt x="213880" y="40107"/>
                      <a:pt x="226015" y="24226"/>
                    </a:cubicBezTo>
                    <a:lnTo>
                      <a:pt x="228888" y="20471"/>
                    </a:lnTo>
                    <a:cubicBezTo>
                      <a:pt x="229640" y="19488"/>
                      <a:pt x="230644" y="19342"/>
                      <a:pt x="231174" y="19342"/>
                    </a:cubicBezTo>
                    <a:cubicBezTo>
                      <a:pt x="231704" y="19342"/>
                      <a:pt x="232707" y="19488"/>
                      <a:pt x="233460" y="20471"/>
                    </a:cubicBezTo>
                    <a:lnTo>
                      <a:pt x="236329" y="24226"/>
                    </a:lnTo>
                    <a:cubicBezTo>
                      <a:pt x="248468" y="40111"/>
                      <a:pt x="267651" y="49592"/>
                      <a:pt x="287644" y="49592"/>
                    </a:cubicBezTo>
                    <a:lnTo>
                      <a:pt x="325085" y="49592"/>
                    </a:lnTo>
                    <a:cubicBezTo>
                      <a:pt x="345078" y="49592"/>
                      <a:pt x="364261" y="40107"/>
                      <a:pt x="376400" y="24226"/>
                    </a:cubicBezTo>
                    <a:lnTo>
                      <a:pt x="379270" y="20471"/>
                    </a:lnTo>
                    <a:cubicBezTo>
                      <a:pt x="380022" y="19488"/>
                      <a:pt x="381025" y="19342"/>
                      <a:pt x="381556" y="19342"/>
                    </a:cubicBezTo>
                    <a:cubicBezTo>
                      <a:pt x="382086" y="19342"/>
                      <a:pt x="383089" y="19488"/>
                      <a:pt x="383842" y="20475"/>
                    </a:cubicBezTo>
                    <a:lnTo>
                      <a:pt x="386710" y="24226"/>
                    </a:lnTo>
                    <a:cubicBezTo>
                      <a:pt x="398845" y="40111"/>
                      <a:pt x="418028" y="49592"/>
                      <a:pt x="438021" y="49592"/>
                    </a:cubicBezTo>
                    <a:lnTo>
                      <a:pt x="475462" y="49592"/>
                    </a:lnTo>
                    <a:cubicBezTo>
                      <a:pt x="495455" y="49592"/>
                      <a:pt x="514638" y="40107"/>
                      <a:pt x="526774" y="24226"/>
                    </a:cubicBezTo>
                    <a:lnTo>
                      <a:pt x="529643" y="20471"/>
                    </a:lnTo>
                    <a:cubicBezTo>
                      <a:pt x="530395" y="19488"/>
                      <a:pt x="531399" y="19342"/>
                      <a:pt x="531929" y="19342"/>
                    </a:cubicBezTo>
                    <a:lnTo>
                      <a:pt x="531933" y="19342"/>
                    </a:lnTo>
                    <a:cubicBezTo>
                      <a:pt x="532462" y="19342"/>
                      <a:pt x="533466" y="19488"/>
                      <a:pt x="534219" y="20475"/>
                    </a:cubicBezTo>
                    <a:lnTo>
                      <a:pt x="537088" y="24226"/>
                    </a:lnTo>
                    <a:cubicBezTo>
                      <a:pt x="549227" y="40111"/>
                      <a:pt x="568410" y="49592"/>
                      <a:pt x="588403" y="49592"/>
                    </a:cubicBezTo>
                    <a:lnTo>
                      <a:pt x="625840" y="49592"/>
                    </a:lnTo>
                    <a:cubicBezTo>
                      <a:pt x="645833" y="49592"/>
                      <a:pt x="665016" y="40107"/>
                      <a:pt x="677155" y="24226"/>
                    </a:cubicBezTo>
                    <a:lnTo>
                      <a:pt x="680024" y="20471"/>
                    </a:lnTo>
                    <a:cubicBezTo>
                      <a:pt x="680776" y="19488"/>
                      <a:pt x="681780" y="19342"/>
                      <a:pt x="682311" y="19342"/>
                    </a:cubicBezTo>
                    <a:cubicBezTo>
                      <a:pt x="682840" y="19342"/>
                      <a:pt x="683844" y="19488"/>
                      <a:pt x="684597" y="20471"/>
                    </a:cubicBezTo>
                    <a:lnTo>
                      <a:pt x="687461" y="24226"/>
                    </a:lnTo>
                    <a:cubicBezTo>
                      <a:pt x="699604" y="40111"/>
                      <a:pt x="718783" y="49592"/>
                      <a:pt x="738776" y="49592"/>
                    </a:cubicBezTo>
                    <a:lnTo>
                      <a:pt x="759364" y="49592"/>
                    </a:lnTo>
                    <a:lnTo>
                      <a:pt x="759364" y="30250"/>
                    </a:lnTo>
                    <a:lnTo>
                      <a:pt x="738776" y="30250"/>
                    </a:lnTo>
                    <a:cubicBezTo>
                      <a:pt x="724775" y="30250"/>
                      <a:pt x="711338" y="23606"/>
                      <a:pt x="702833" y="12479"/>
                    </a:cubicBez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A1E688D1-C705-45C1-A6D4-74DFED993972}"/>
                  </a:ext>
                </a:extLst>
              </p:cNvPr>
              <p:cNvSpPr/>
              <p:nvPr/>
            </p:nvSpPr>
            <p:spPr>
              <a:xfrm>
                <a:off x="2939875" y="5940645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93E650-4DB4-4790-8515-5425C52C6B41}"/>
                  </a:ext>
                </a:extLst>
              </p:cNvPr>
              <p:cNvSpPr/>
              <p:nvPr/>
            </p:nvSpPr>
            <p:spPr>
              <a:xfrm>
                <a:off x="2939875" y="6053180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0BC893BF-DDD2-45F0-9E15-9CE42E913E65}"/>
                  </a:ext>
                </a:extLst>
              </p:cNvPr>
              <p:cNvSpPr/>
              <p:nvPr/>
            </p:nvSpPr>
            <p:spPr>
              <a:xfrm>
                <a:off x="2939875" y="5996913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A2F92544-6F27-491A-9826-0FEE423BA602}"/>
                  </a:ext>
                </a:extLst>
              </p:cNvPr>
              <p:cNvSpPr/>
              <p:nvPr/>
            </p:nvSpPr>
            <p:spPr>
              <a:xfrm>
                <a:off x="2939875" y="5884387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C7DD79E2-616C-4130-8202-A1614FAC5136}"/>
                  </a:ext>
                </a:extLst>
              </p:cNvPr>
              <p:cNvSpPr/>
              <p:nvPr/>
            </p:nvSpPr>
            <p:spPr>
              <a:xfrm>
                <a:off x="2939875" y="6109438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56CDDD3D-C7CE-4A60-902F-B4C6635CAB01}"/>
                  </a:ext>
                </a:extLst>
              </p:cNvPr>
              <p:cNvSpPr/>
              <p:nvPr/>
            </p:nvSpPr>
            <p:spPr>
              <a:xfrm>
                <a:off x="3059030" y="5940645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95894738-5B6C-4FE8-9A89-6E8FE813316C}"/>
                  </a:ext>
                </a:extLst>
              </p:cNvPr>
              <p:cNvSpPr/>
              <p:nvPr/>
            </p:nvSpPr>
            <p:spPr>
              <a:xfrm>
                <a:off x="3059030" y="6053180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05305D99-A598-440E-84C4-74F5DF795625}"/>
                  </a:ext>
                </a:extLst>
              </p:cNvPr>
              <p:cNvSpPr/>
              <p:nvPr/>
            </p:nvSpPr>
            <p:spPr>
              <a:xfrm>
                <a:off x="3059030" y="5996913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8E53B29A-1BD7-4443-A3BC-73BD7458953C}"/>
                  </a:ext>
                </a:extLst>
              </p:cNvPr>
              <p:cNvSpPr/>
              <p:nvPr/>
            </p:nvSpPr>
            <p:spPr>
              <a:xfrm>
                <a:off x="3059030" y="6109438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D0225C29-23F3-475A-B1DB-85FE0295E290}"/>
                  </a:ext>
                </a:extLst>
              </p:cNvPr>
              <p:cNvSpPr/>
              <p:nvPr/>
            </p:nvSpPr>
            <p:spPr>
              <a:xfrm>
                <a:off x="3059030" y="5884387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7A851B35-DF18-49A0-9DF5-9BD7474F6EC5}"/>
                  </a:ext>
                </a:extLst>
              </p:cNvPr>
              <p:cNvSpPr/>
              <p:nvPr/>
            </p:nvSpPr>
            <p:spPr>
              <a:xfrm>
                <a:off x="3488827" y="5940645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5382818F-C18D-419D-A171-E1D8B52E00F4}"/>
                  </a:ext>
                </a:extLst>
              </p:cNvPr>
              <p:cNvSpPr/>
              <p:nvPr/>
            </p:nvSpPr>
            <p:spPr>
              <a:xfrm>
                <a:off x="3488827" y="5884387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14A71E69-E548-4710-91E5-33B0C0FB014A}"/>
                  </a:ext>
                </a:extLst>
              </p:cNvPr>
              <p:cNvSpPr/>
              <p:nvPr/>
            </p:nvSpPr>
            <p:spPr>
              <a:xfrm>
                <a:off x="3488827" y="5996913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C9048EC-5FD4-43EE-9C13-18E7CF80125E}"/>
                  </a:ext>
                </a:extLst>
              </p:cNvPr>
              <p:cNvSpPr/>
              <p:nvPr/>
            </p:nvSpPr>
            <p:spPr>
              <a:xfrm>
                <a:off x="3488827" y="6109438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E6600DFF-3F39-47E3-B7A5-262E9DA8C3F2}"/>
                  </a:ext>
                </a:extLst>
              </p:cNvPr>
              <p:cNvSpPr/>
              <p:nvPr/>
            </p:nvSpPr>
            <p:spPr>
              <a:xfrm>
                <a:off x="3488827" y="6053180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08724EB7-BE5E-4EAF-B053-082F8D78E9DF}"/>
                  </a:ext>
                </a:extLst>
              </p:cNvPr>
              <p:cNvSpPr/>
              <p:nvPr/>
            </p:nvSpPr>
            <p:spPr>
              <a:xfrm>
                <a:off x="3605952" y="5940645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071C187-B343-4863-83DC-F5A565D97C22}"/>
                  </a:ext>
                </a:extLst>
              </p:cNvPr>
              <p:cNvSpPr/>
              <p:nvPr/>
            </p:nvSpPr>
            <p:spPr>
              <a:xfrm>
                <a:off x="3605952" y="5884387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BAD514E3-7518-49F6-99C0-950A13196D54}"/>
                  </a:ext>
                </a:extLst>
              </p:cNvPr>
              <p:cNvSpPr/>
              <p:nvPr/>
            </p:nvSpPr>
            <p:spPr>
              <a:xfrm>
                <a:off x="3605952" y="6053180"/>
                <a:ext cx="19341" cy="31650"/>
              </a:xfrm>
              <a:custGeom>
                <a:avLst/>
                <a:gdLst>
                  <a:gd name="connsiteX0" fmla="*/ 0 w 19341"/>
                  <a:gd name="connsiteY0" fmla="*/ 0 h 31650"/>
                  <a:gd name="connsiteX1" fmla="*/ 19342 w 19341"/>
                  <a:gd name="connsiteY1" fmla="*/ 0 h 31650"/>
                  <a:gd name="connsiteX2" fmla="*/ 19342 w 19341"/>
                  <a:gd name="connsiteY2" fmla="*/ 31651 h 31650"/>
                  <a:gd name="connsiteX3" fmla="*/ 0 w 19341"/>
                  <a:gd name="connsiteY3" fmla="*/ 31651 h 3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50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51"/>
                    </a:lnTo>
                    <a:lnTo>
                      <a:pt x="0" y="31651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D8F525BE-D6B3-4910-9E2A-0FCD98AC8F62}"/>
                  </a:ext>
                </a:extLst>
              </p:cNvPr>
              <p:cNvSpPr/>
              <p:nvPr/>
            </p:nvSpPr>
            <p:spPr>
              <a:xfrm>
                <a:off x="3605952" y="6109438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C796717A-A140-42F1-96C5-1D331EE3710F}"/>
                  </a:ext>
                </a:extLst>
              </p:cNvPr>
              <p:cNvSpPr/>
              <p:nvPr/>
            </p:nvSpPr>
            <p:spPr>
              <a:xfrm>
                <a:off x="3605952" y="5996913"/>
                <a:ext cx="19341" cy="31646"/>
              </a:xfrm>
              <a:custGeom>
                <a:avLst/>
                <a:gdLst>
                  <a:gd name="connsiteX0" fmla="*/ 0 w 19341"/>
                  <a:gd name="connsiteY0" fmla="*/ 0 h 31646"/>
                  <a:gd name="connsiteX1" fmla="*/ 19342 w 19341"/>
                  <a:gd name="connsiteY1" fmla="*/ 0 h 31646"/>
                  <a:gd name="connsiteX2" fmla="*/ 19342 w 19341"/>
                  <a:gd name="connsiteY2" fmla="*/ 31646 h 31646"/>
                  <a:gd name="connsiteX3" fmla="*/ 0 w 19341"/>
                  <a:gd name="connsiteY3" fmla="*/ 31646 h 3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41" h="31646">
                    <a:moveTo>
                      <a:pt x="0" y="0"/>
                    </a:moveTo>
                    <a:lnTo>
                      <a:pt x="19342" y="0"/>
                    </a:lnTo>
                    <a:lnTo>
                      <a:pt x="19342" y="31646"/>
                    </a:lnTo>
                    <a:lnTo>
                      <a:pt x="0" y="31646"/>
                    </a:lnTo>
                    <a:close/>
                  </a:path>
                </a:pathLst>
              </a:custGeom>
              <a:grpFill/>
              <a:ln w="10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89358FE6-AADD-47BD-888C-B8B505E99D1D}"/>
                </a:ext>
              </a:extLst>
            </p:cNvPr>
            <p:cNvSpPr/>
            <p:nvPr/>
          </p:nvSpPr>
          <p:spPr>
            <a:xfrm>
              <a:off x="3785522" y="3689487"/>
              <a:ext cx="872994" cy="823346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28" name="Arrow: Right 227">
              <a:extLst>
                <a:ext uri="{FF2B5EF4-FFF2-40B4-BE49-F238E27FC236}">
                  <a16:creationId xmlns:a16="http://schemas.microsoft.com/office/drawing/2014/main" id="{30B0BD6F-93C3-4F4C-9525-6A874B58F616}"/>
                </a:ext>
              </a:extLst>
            </p:cNvPr>
            <p:cNvSpPr/>
            <p:nvPr/>
          </p:nvSpPr>
          <p:spPr>
            <a:xfrm>
              <a:off x="10227818" y="4382331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29" name="Arrow: Right 228">
              <a:extLst>
                <a:ext uri="{FF2B5EF4-FFF2-40B4-BE49-F238E27FC236}">
                  <a16:creationId xmlns:a16="http://schemas.microsoft.com/office/drawing/2014/main" id="{A01E0B7A-1E2C-4B7B-B71C-E1DEA776EAF2}"/>
                </a:ext>
              </a:extLst>
            </p:cNvPr>
            <p:cNvSpPr/>
            <p:nvPr/>
          </p:nvSpPr>
          <p:spPr>
            <a:xfrm rot="5400000">
              <a:off x="3738981" y="1409067"/>
              <a:ext cx="217748" cy="245777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30" name="Arrow: Right 229">
              <a:extLst>
                <a:ext uri="{FF2B5EF4-FFF2-40B4-BE49-F238E27FC236}">
                  <a16:creationId xmlns:a16="http://schemas.microsoft.com/office/drawing/2014/main" id="{1B009591-33CD-4510-A300-8A1560292B84}"/>
                </a:ext>
              </a:extLst>
            </p:cNvPr>
            <p:cNvSpPr/>
            <p:nvPr/>
          </p:nvSpPr>
          <p:spPr>
            <a:xfrm rot="16200000">
              <a:off x="3745921" y="1191724"/>
              <a:ext cx="217748" cy="221627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F6F2A0E5-FA3F-47E2-BBD6-E33DAC43D1D4}"/>
                </a:ext>
              </a:extLst>
            </p:cNvPr>
            <p:cNvSpPr txBox="1"/>
            <p:nvPr/>
          </p:nvSpPr>
          <p:spPr>
            <a:xfrm>
              <a:off x="355488" y="983531"/>
              <a:ext cx="158871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2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 SOURCES</a:t>
              </a: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F54E46AC-1F34-4900-830E-7427BEAC2F9E}"/>
                </a:ext>
              </a:extLst>
            </p:cNvPr>
            <p:cNvSpPr txBox="1"/>
            <p:nvPr/>
          </p:nvSpPr>
          <p:spPr>
            <a:xfrm>
              <a:off x="10242765" y="968841"/>
              <a:ext cx="16004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b="1">
                  <a:solidFill>
                    <a:schemeClr val="accent2"/>
                  </a:solidFill>
                  <a:latin typeface="Abadi" panose="020B0604020104020204" pitchFamily="34" charset="0"/>
                </a:rPr>
                <a:t>DATA </a:t>
              </a:r>
            </a:p>
            <a:p>
              <a:pPr algn="ctr"/>
              <a:r>
                <a:rPr lang="en-AU" sz="1200" b="1">
                  <a:solidFill>
                    <a:schemeClr val="accent2"/>
                  </a:solidFill>
                  <a:latin typeface="Abadi" panose="020B0604020104020204" pitchFamily="34" charset="0"/>
                </a:rPr>
                <a:t>CONSUMPTION</a:t>
              </a:r>
            </a:p>
          </p:txBody>
        </p: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9B6D83CD-111F-4E3F-B0D0-3E3A6EE92A36}"/>
                </a:ext>
              </a:extLst>
            </p:cNvPr>
            <p:cNvSpPr txBox="1"/>
            <p:nvPr/>
          </p:nvSpPr>
          <p:spPr>
            <a:xfrm>
              <a:off x="3990232" y="1446324"/>
              <a:ext cx="45817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600">
                  <a:solidFill>
                    <a:schemeClr val="bg1"/>
                  </a:solidFill>
                  <a:latin typeface="Abadi" panose="020B0604020104020204" pitchFamily="34" charset="0"/>
                </a:rPr>
                <a:t>ENTERPRISE CLOUD DATA PLATFORM </a:t>
              </a:r>
            </a:p>
          </p:txBody>
        </p:sp>
        <p:pic>
          <p:nvPicPr>
            <p:cNvPr id="234" name="Picture 233" descr="Icon&#10;&#10;Description automatically generated">
              <a:extLst>
                <a:ext uri="{FF2B5EF4-FFF2-40B4-BE49-F238E27FC236}">
                  <a16:creationId xmlns:a16="http://schemas.microsoft.com/office/drawing/2014/main" id="{F8D318D3-1F24-41D9-9FFB-6D7C7BD721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95253" y="5137614"/>
              <a:ext cx="572428" cy="572428"/>
            </a:xfrm>
            <a:prstGeom prst="rect">
              <a:avLst/>
            </a:prstGeom>
          </p:spPr>
        </p:pic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DDE767B5-4957-4B0D-93C7-F39D99B26F79}"/>
                </a:ext>
              </a:extLst>
            </p:cNvPr>
            <p:cNvSpPr txBox="1"/>
            <p:nvPr/>
          </p:nvSpPr>
          <p:spPr>
            <a:xfrm rot="16200000">
              <a:off x="9877111" y="3633089"/>
              <a:ext cx="11721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zure</a:t>
              </a:r>
              <a:r>
                <a:rPr lang="en-AU" sz="1200" b="1">
                  <a:solidFill>
                    <a:schemeClr val="accent2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Private</a:t>
              </a:r>
              <a:r>
                <a:rPr lang="en-AU" sz="1200" b="1">
                  <a:solidFill>
                    <a:schemeClr val="accent2"/>
                  </a:solidFill>
                </a:rPr>
                <a:t> </a:t>
              </a:r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Link</a:t>
              </a:r>
            </a:p>
          </p:txBody>
        </p:sp>
        <p:sp>
          <p:nvSpPr>
            <p:cNvPr id="236" name="Arrow: Right 235">
              <a:extLst>
                <a:ext uri="{FF2B5EF4-FFF2-40B4-BE49-F238E27FC236}">
                  <a16:creationId xmlns:a16="http://schemas.microsoft.com/office/drawing/2014/main" id="{9E4E4891-ADCF-44D1-94E6-962BCCDF85AC}"/>
                </a:ext>
              </a:extLst>
            </p:cNvPr>
            <p:cNvSpPr/>
            <p:nvPr/>
          </p:nvSpPr>
          <p:spPr>
            <a:xfrm>
              <a:off x="10227253" y="5340479"/>
              <a:ext cx="234518" cy="26339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AU" sz="1600" err="1"/>
            </a:p>
          </p:txBody>
        </p:sp>
        <p:sp>
          <p:nvSpPr>
            <p:cNvPr id="237" name="Arrow: Pentagon 236">
              <a:extLst>
                <a:ext uri="{FF2B5EF4-FFF2-40B4-BE49-F238E27FC236}">
                  <a16:creationId xmlns:a16="http://schemas.microsoft.com/office/drawing/2014/main" id="{57D098B9-1A7A-4F78-A204-E4309841993B}"/>
                </a:ext>
              </a:extLst>
            </p:cNvPr>
            <p:cNvSpPr/>
            <p:nvPr/>
          </p:nvSpPr>
          <p:spPr>
            <a:xfrm>
              <a:off x="3622275" y="1880949"/>
              <a:ext cx="1384628" cy="240114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RAW DATA</a:t>
              </a:r>
            </a:p>
          </p:txBody>
        </p:sp>
        <p:sp>
          <p:nvSpPr>
            <p:cNvPr id="238" name="Arrow: Chevron 237">
              <a:extLst>
                <a:ext uri="{FF2B5EF4-FFF2-40B4-BE49-F238E27FC236}">
                  <a16:creationId xmlns:a16="http://schemas.microsoft.com/office/drawing/2014/main" id="{F5BF5859-E47C-4830-BD49-86884C183E18}"/>
                </a:ext>
              </a:extLst>
            </p:cNvPr>
            <p:cNvSpPr/>
            <p:nvPr/>
          </p:nvSpPr>
          <p:spPr>
            <a:xfrm>
              <a:off x="4990213" y="1885967"/>
              <a:ext cx="2455085" cy="233006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CURATED DATA</a:t>
              </a:r>
            </a:p>
          </p:txBody>
        </p:sp>
        <p:sp>
          <p:nvSpPr>
            <p:cNvPr id="239" name="Arrow: Chevron 238">
              <a:extLst>
                <a:ext uri="{FF2B5EF4-FFF2-40B4-BE49-F238E27FC236}">
                  <a16:creationId xmlns:a16="http://schemas.microsoft.com/office/drawing/2014/main" id="{4F2F648F-C119-4F26-82F6-CDA85A23F173}"/>
                </a:ext>
              </a:extLst>
            </p:cNvPr>
            <p:cNvSpPr/>
            <p:nvPr/>
          </p:nvSpPr>
          <p:spPr>
            <a:xfrm>
              <a:off x="7446363" y="1884462"/>
              <a:ext cx="2669795" cy="243636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Abadi" panose="020B0604020104020204" pitchFamily="34" charset="0"/>
                </a:rPr>
                <a:t>ACCESS/ANALYSE</a:t>
              </a:r>
            </a:p>
          </p:txBody>
        </p: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8E5C0B05-C5F6-4061-B454-19FA51388CFE}"/>
                </a:ext>
              </a:extLst>
            </p:cNvPr>
            <p:cNvGrpSpPr/>
            <p:nvPr/>
          </p:nvGrpSpPr>
          <p:grpSpPr>
            <a:xfrm>
              <a:off x="7090380" y="4958472"/>
              <a:ext cx="493241" cy="591892"/>
              <a:chOff x="5900712" y="4863025"/>
              <a:chExt cx="493241" cy="591892"/>
            </a:xfrm>
            <a:solidFill>
              <a:schemeClr val="accent2"/>
            </a:solidFill>
          </p:grpSpPr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777EE81A-114D-4F92-B228-4887CE78A481}"/>
                  </a:ext>
                </a:extLst>
              </p:cNvPr>
              <p:cNvSpPr/>
              <p:nvPr/>
            </p:nvSpPr>
            <p:spPr>
              <a:xfrm>
                <a:off x="5900712" y="4863025"/>
                <a:ext cx="493241" cy="591892"/>
              </a:xfrm>
              <a:custGeom>
                <a:avLst/>
                <a:gdLst>
                  <a:gd name="connsiteX0" fmla="*/ 441611 w 493241"/>
                  <a:gd name="connsiteY0" fmla="*/ 147727 h 591892"/>
                  <a:gd name="connsiteX1" fmla="*/ 336001 w 493241"/>
                  <a:gd name="connsiteY1" fmla="*/ 72299 h 591892"/>
                  <a:gd name="connsiteX2" fmla="*/ 271287 w 493241"/>
                  <a:gd name="connsiteY2" fmla="*/ 49861 h 591892"/>
                  <a:gd name="connsiteX3" fmla="*/ 271287 w 493241"/>
                  <a:gd name="connsiteY3" fmla="*/ 24663 h 591892"/>
                  <a:gd name="connsiteX4" fmla="*/ 258957 w 493241"/>
                  <a:gd name="connsiteY4" fmla="*/ 3304 h 591892"/>
                  <a:gd name="connsiteX5" fmla="*/ 234295 w 493241"/>
                  <a:gd name="connsiteY5" fmla="*/ 3304 h 591892"/>
                  <a:gd name="connsiteX6" fmla="*/ 221962 w 493241"/>
                  <a:gd name="connsiteY6" fmla="*/ 24663 h 591892"/>
                  <a:gd name="connsiteX7" fmla="*/ 221962 w 493241"/>
                  <a:gd name="connsiteY7" fmla="*/ 49861 h 591892"/>
                  <a:gd name="connsiteX8" fmla="*/ 157251 w 493241"/>
                  <a:gd name="connsiteY8" fmla="*/ 72302 h 591892"/>
                  <a:gd name="connsiteX9" fmla="*/ 51626 w 493241"/>
                  <a:gd name="connsiteY9" fmla="*/ 147727 h 591892"/>
                  <a:gd name="connsiteX10" fmla="*/ 0 w 493241"/>
                  <a:gd name="connsiteY10" fmla="*/ 248066 h 591892"/>
                  <a:gd name="connsiteX11" fmla="*/ 0 w 493241"/>
                  <a:gd name="connsiteY11" fmla="*/ 468583 h 591892"/>
                  <a:gd name="connsiteX12" fmla="*/ 36160 w 493241"/>
                  <a:gd name="connsiteY12" fmla="*/ 555733 h 591892"/>
                  <a:gd name="connsiteX13" fmla="*/ 123310 w 493241"/>
                  <a:gd name="connsiteY13" fmla="*/ 591893 h 591892"/>
                  <a:gd name="connsiteX14" fmla="*/ 369932 w 493241"/>
                  <a:gd name="connsiteY14" fmla="*/ 591893 h 591892"/>
                  <a:gd name="connsiteX15" fmla="*/ 457081 w 493241"/>
                  <a:gd name="connsiteY15" fmla="*/ 555733 h 591892"/>
                  <a:gd name="connsiteX16" fmla="*/ 493241 w 493241"/>
                  <a:gd name="connsiteY16" fmla="*/ 468583 h 591892"/>
                  <a:gd name="connsiteX17" fmla="*/ 493241 w 493241"/>
                  <a:gd name="connsiteY17" fmla="*/ 248066 h 591892"/>
                  <a:gd name="connsiteX18" fmla="*/ 441606 w 493241"/>
                  <a:gd name="connsiteY18" fmla="*/ 147727 h 591892"/>
                  <a:gd name="connsiteX19" fmla="*/ 443921 w 493241"/>
                  <a:gd name="connsiteY19" fmla="*/ 468583 h 591892"/>
                  <a:gd name="connsiteX20" fmla="*/ 422226 w 493241"/>
                  <a:gd name="connsiteY20" fmla="*/ 520876 h 591892"/>
                  <a:gd name="connsiteX21" fmla="*/ 369933 w 493241"/>
                  <a:gd name="connsiteY21" fmla="*/ 542571 h 591892"/>
                  <a:gd name="connsiteX22" fmla="*/ 123311 w 493241"/>
                  <a:gd name="connsiteY22" fmla="*/ 542571 h 591892"/>
                  <a:gd name="connsiteX23" fmla="*/ 71018 w 493241"/>
                  <a:gd name="connsiteY23" fmla="*/ 520876 h 591892"/>
                  <a:gd name="connsiteX24" fmla="*/ 49324 w 493241"/>
                  <a:gd name="connsiteY24" fmla="*/ 468583 h 591892"/>
                  <a:gd name="connsiteX25" fmla="*/ 49324 w 493241"/>
                  <a:gd name="connsiteY25" fmla="*/ 248066 h 591892"/>
                  <a:gd name="connsiteX26" fmla="*/ 80298 w 493241"/>
                  <a:gd name="connsiteY26" fmla="*/ 187856 h 591892"/>
                  <a:gd name="connsiteX27" fmla="*/ 185908 w 493241"/>
                  <a:gd name="connsiteY27" fmla="*/ 112424 h 591892"/>
                  <a:gd name="connsiteX28" fmla="*/ 228909 w 493241"/>
                  <a:gd name="connsiteY28" fmla="*/ 98647 h 591892"/>
                  <a:gd name="connsiteX29" fmla="*/ 264340 w 493241"/>
                  <a:gd name="connsiteY29" fmla="*/ 98647 h 591892"/>
                  <a:gd name="connsiteX30" fmla="*/ 307341 w 493241"/>
                  <a:gd name="connsiteY30" fmla="*/ 112424 h 591892"/>
                  <a:gd name="connsiteX31" fmla="*/ 412935 w 493241"/>
                  <a:gd name="connsiteY31" fmla="*/ 187856 h 591892"/>
                  <a:gd name="connsiteX32" fmla="*/ 443919 w 493241"/>
                  <a:gd name="connsiteY32" fmla="*/ 248066 h 591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93241" h="591892">
                    <a:moveTo>
                      <a:pt x="441611" y="147727"/>
                    </a:moveTo>
                    <a:lnTo>
                      <a:pt x="336001" y="72299"/>
                    </a:lnTo>
                    <a:cubicBezTo>
                      <a:pt x="317008" y="58809"/>
                      <a:pt x="294557" y="51026"/>
                      <a:pt x="271287" y="49861"/>
                    </a:cubicBezTo>
                    <a:lnTo>
                      <a:pt x="271287" y="24663"/>
                    </a:lnTo>
                    <a:cubicBezTo>
                      <a:pt x="271287" y="15852"/>
                      <a:pt x="266587" y="7710"/>
                      <a:pt x="258957" y="3304"/>
                    </a:cubicBezTo>
                    <a:cubicBezTo>
                      <a:pt x="251327" y="-1101"/>
                      <a:pt x="241925" y="-1101"/>
                      <a:pt x="234295" y="3304"/>
                    </a:cubicBezTo>
                    <a:cubicBezTo>
                      <a:pt x="226665" y="7710"/>
                      <a:pt x="221962" y="15852"/>
                      <a:pt x="221962" y="24663"/>
                    </a:cubicBezTo>
                    <a:lnTo>
                      <a:pt x="221962" y="49861"/>
                    </a:lnTo>
                    <a:cubicBezTo>
                      <a:pt x="198695" y="51026"/>
                      <a:pt x="176245" y="58813"/>
                      <a:pt x="157251" y="72302"/>
                    </a:cubicBezTo>
                    <a:lnTo>
                      <a:pt x="51626" y="147727"/>
                    </a:lnTo>
                    <a:cubicBezTo>
                      <a:pt x="19263" y="170909"/>
                      <a:pt x="43" y="208259"/>
                      <a:pt x="0" y="248066"/>
                    </a:cubicBezTo>
                    <a:lnTo>
                      <a:pt x="0" y="468583"/>
                    </a:lnTo>
                    <a:cubicBezTo>
                      <a:pt x="37" y="501277"/>
                      <a:pt x="13042" y="532618"/>
                      <a:pt x="36160" y="555733"/>
                    </a:cubicBezTo>
                    <a:cubicBezTo>
                      <a:pt x="59278" y="578851"/>
                      <a:pt x="90618" y="591853"/>
                      <a:pt x="123310" y="591893"/>
                    </a:cubicBezTo>
                    <a:lnTo>
                      <a:pt x="369932" y="591893"/>
                    </a:lnTo>
                    <a:cubicBezTo>
                      <a:pt x="402625" y="591853"/>
                      <a:pt x="433967" y="578851"/>
                      <a:pt x="457081" y="555733"/>
                    </a:cubicBezTo>
                    <a:cubicBezTo>
                      <a:pt x="480196" y="532615"/>
                      <a:pt x="493201" y="501275"/>
                      <a:pt x="493241" y="468583"/>
                    </a:cubicBezTo>
                    <a:lnTo>
                      <a:pt x="493241" y="248066"/>
                    </a:lnTo>
                    <a:cubicBezTo>
                      <a:pt x="493198" y="208253"/>
                      <a:pt x="473975" y="170900"/>
                      <a:pt x="441606" y="147727"/>
                    </a:cubicBezTo>
                    <a:close/>
                    <a:moveTo>
                      <a:pt x="443921" y="468583"/>
                    </a:moveTo>
                    <a:cubicBezTo>
                      <a:pt x="443900" y="488201"/>
                      <a:pt x="436098" y="507008"/>
                      <a:pt x="422226" y="520876"/>
                    </a:cubicBezTo>
                    <a:cubicBezTo>
                      <a:pt x="408358" y="534748"/>
                      <a:pt x="389551" y="542550"/>
                      <a:pt x="369933" y="542571"/>
                    </a:cubicBezTo>
                    <a:lnTo>
                      <a:pt x="123311" y="542571"/>
                    </a:lnTo>
                    <a:cubicBezTo>
                      <a:pt x="103694" y="542550"/>
                      <a:pt x="84887" y="534748"/>
                      <a:pt x="71018" y="520876"/>
                    </a:cubicBezTo>
                    <a:cubicBezTo>
                      <a:pt x="57147" y="507008"/>
                      <a:pt x="49345" y="488201"/>
                      <a:pt x="49324" y="468583"/>
                    </a:cubicBezTo>
                    <a:lnTo>
                      <a:pt x="49324" y="248066"/>
                    </a:lnTo>
                    <a:cubicBezTo>
                      <a:pt x="49351" y="224181"/>
                      <a:pt x="60879" y="201767"/>
                      <a:pt x="80298" y="187856"/>
                    </a:cubicBezTo>
                    <a:lnTo>
                      <a:pt x="185908" y="112424"/>
                    </a:lnTo>
                    <a:cubicBezTo>
                      <a:pt x="198446" y="103441"/>
                      <a:pt x="213486" y="98623"/>
                      <a:pt x="228909" y="98647"/>
                    </a:cubicBezTo>
                    <a:lnTo>
                      <a:pt x="264340" y="98647"/>
                    </a:lnTo>
                    <a:cubicBezTo>
                      <a:pt x="279763" y="98623"/>
                      <a:pt x="294804" y="103441"/>
                      <a:pt x="307341" y="112424"/>
                    </a:cubicBezTo>
                    <a:lnTo>
                      <a:pt x="412935" y="187856"/>
                    </a:lnTo>
                    <a:cubicBezTo>
                      <a:pt x="432357" y="201764"/>
                      <a:pt x="443891" y="224178"/>
                      <a:pt x="443919" y="248066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92833DAE-1C55-433F-98FF-B62CCC44F457}"/>
                  </a:ext>
                </a:extLst>
              </p:cNvPr>
              <p:cNvSpPr/>
              <p:nvPr/>
            </p:nvSpPr>
            <p:spPr>
              <a:xfrm>
                <a:off x="5974691" y="5208292"/>
                <a:ext cx="98653" cy="147674"/>
              </a:xfrm>
              <a:custGeom>
                <a:avLst/>
                <a:gdLst>
                  <a:gd name="connsiteX0" fmla="*/ 91428 w 98653"/>
                  <a:gd name="connsiteY0" fmla="*/ 7227 h 147674"/>
                  <a:gd name="connsiteX1" fmla="*/ 73991 w 98653"/>
                  <a:gd name="connsiteY1" fmla="*/ 0 h 147674"/>
                  <a:gd name="connsiteX2" fmla="*/ 56555 w 98653"/>
                  <a:gd name="connsiteY2" fmla="*/ 7227 h 147674"/>
                  <a:gd name="connsiteX3" fmla="*/ 7230 w 98653"/>
                  <a:gd name="connsiteY3" fmla="*/ 56552 h 147674"/>
                  <a:gd name="connsiteX4" fmla="*/ 0 w 98653"/>
                  <a:gd name="connsiteY4" fmla="*/ 73988 h 147674"/>
                  <a:gd name="connsiteX5" fmla="*/ 7230 w 98653"/>
                  <a:gd name="connsiteY5" fmla="*/ 91424 h 147674"/>
                  <a:gd name="connsiteX6" fmla="*/ 56555 w 98653"/>
                  <a:gd name="connsiteY6" fmla="*/ 140750 h 147674"/>
                  <a:gd name="connsiteX7" fmla="*/ 80208 w 98653"/>
                  <a:gd name="connsiteY7" fmla="*/ 146795 h 147674"/>
                  <a:gd name="connsiteX8" fmla="*/ 97472 w 98653"/>
                  <a:gd name="connsiteY8" fmla="*/ 129531 h 147674"/>
                  <a:gd name="connsiteX9" fmla="*/ 91427 w 98653"/>
                  <a:gd name="connsiteY9" fmla="*/ 105878 h 147674"/>
                  <a:gd name="connsiteX10" fmla="*/ 59541 w 98653"/>
                  <a:gd name="connsiteY10" fmla="*/ 73989 h 147674"/>
                  <a:gd name="connsiteX11" fmla="*/ 91427 w 98653"/>
                  <a:gd name="connsiteY11" fmla="*/ 42100 h 147674"/>
                  <a:gd name="connsiteX12" fmla="*/ 98654 w 98653"/>
                  <a:gd name="connsiteY12" fmla="*/ 24664 h 147674"/>
                  <a:gd name="connsiteX13" fmla="*/ 91427 w 98653"/>
                  <a:gd name="connsiteY13" fmla="*/ 7228 h 14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653" h="147674">
                    <a:moveTo>
                      <a:pt x="91428" y="7227"/>
                    </a:moveTo>
                    <a:cubicBezTo>
                      <a:pt x="86805" y="2601"/>
                      <a:pt x="80530" y="0"/>
                      <a:pt x="73991" y="0"/>
                    </a:cubicBezTo>
                    <a:cubicBezTo>
                      <a:pt x="67450" y="0"/>
                      <a:pt x="61179" y="2601"/>
                      <a:pt x="56555" y="7227"/>
                    </a:cubicBezTo>
                    <a:lnTo>
                      <a:pt x="7230" y="56552"/>
                    </a:lnTo>
                    <a:cubicBezTo>
                      <a:pt x="2601" y="61175"/>
                      <a:pt x="0" y="67447"/>
                      <a:pt x="0" y="73988"/>
                    </a:cubicBezTo>
                    <a:cubicBezTo>
                      <a:pt x="0" y="80530"/>
                      <a:pt x="2601" y="86801"/>
                      <a:pt x="7230" y="91424"/>
                    </a:cubicBezTo>
                    <a:lnTo>
                      <a:pt x="56555" y="140750"/>
                    </a:lnTo>
                    <a:cubicBezTo>
                      <a:pt x="62818" y="146802"/>
                      <a:pt x="71810" y="149099"/>
                      <a:pt x="80208" y="146795"/>
                    </a:cubicBezTo>
                    <a:cubicBezTo>
                      <a:pt x="88606" y="144491"/>
                      <a:pt x="95169" y="137932"/>
                      <a:pt x="97472" y="129531"/>
                    </a:cubicBezTo>
                    <a:cubicBezTo>
                      <a:pt x="99774" y="121132"/>
                      <a:pt x="97476" y="112141"/>
                      <a:pt x="91427" y="105878"/>
                    </a:cubicBezTo>
                    <a:lnTo>
                      <a:pt x="59541" y="73989"/>
                    </a:lnTo>
                    <a:lnTo>
                      <a:pt x="91427" y="42100"/>
                    </a:lnTo>
                    <a:cubicBezTo>
                      <a:pt x="96052" y="37477"/>
                      <a:pt x="98654" y="31205"/>
                      <a:pt x="98654" y="24664"/>
                    </a:cubicBezTo>
                    <a:cubicBezTo>
                      <a:pt x="98654" y="18122"/>
                      <a:pt x="96053" y="11851"/>
                      <a:pt x="91427" y="7228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452F9939-814B-4A76-9C66-4D87945FE718}"/>
                  </a:ext>
                </a:extLst>
              </p:cNvPr>
              <p:cNvSpPr/>
              <p:nvPr/>
            </p:nvSpPr>
            <p:spPr>
              <a:xfrm>
                <a:off x="6221014" y="5208596"/>
                <a:ext cx="98951" cy="147974"/>
              </a:xfrm>
              <a:custGeom>
                <a:avLst/>
                <a:gdLst>
                  <a:gd name="connsiteX0" fmla="*/ 42399 w 98951"/>
                  <a:gd name="connsiteY0" fmla="*/ 6923 h 147974"/>
                  <a:gd name="connsiteX1" fmla="*/ 18747 w 98951"/>
                  <a:gd name="connsiteY1" fmla="*/ 877 h 147974"/>
                  <a:gd name="connsiteX2" fmla="*/ 1482 w 98951"/>
                  <a:gd name="connsiteY2" fmla="*/ 18142 h 147974"/>
                  <a:gd name="connsiteX3" fmla="*/ 7528 w 98951"/>
                  <a:gd name="connsiteY3" fmla="*/ 41794 h 147974"/>
                  <a:gd name="connsiteX4" fmla="*/ 39414 w 98951"/>
                  <a:gd name="connsiteY4" fmla="*/ 73683 h 147974"/>
                  <a:gd name="connsiteX5" fmla="*/ 7528 w 98951"/>
                  <a:gd name="connsiteY5" fmla="*/ 105572 h 147974"/>
                  <a:gd name="connsiteX6" fmla="*/ 1 w 98951"/>
                  <a:gd name="connsiteY6" fmla="*/ 123097 h 147974"/>
                  <a:gd name="connsiteX7" fmla="*/ 7222 w 98951"/>
                  <a:gd name="connsiteY7" fmla="*/ 140750 h 147974"/>
                  <a:gd name="connsiteX8" fmla="*/ 24875 w 98951"/>
                  <a:gd name="connsiteY8" fmla="*/ 147974 h 147974"/>
                  <a:gd name="connsiteX9" fmla="*/ 42399 w 98951"/>
                  <a:gd name="connsiteY9" fmla="*/ 140445 h 147974"/>
                  <a:gd name="connsiteX10" fmla="*/ 91725 w 98951"/>
                  <a:gd name="connsiteY10" fmla="*/ 91119 h 147974"/>
                  <a:gd name="connsiteX11" fmla="*/ 98951 w 98951"/>
                  <a:gd name="connsiteY11" fmla="*/ 73683 h 147974"/>
                  <a:gd name="connsiteX12" fmla="*/ 91725 w 98951"/>
                  <a:gd name="connsiteY12" fmla="*/ 56247 h 147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951" h="147974">
                    <a:moveTo>
                      <a:pt x="42399" y="6923"/>
                    </a:moveTo>
                    <a:cubicBezTo>
                      <a:pt x="36137" y="874"/>
                      <a:pt x="27144" y="-1423"/>
                      <a:pt x="18747" y="877"/>
                    </a:cubicBezTo>
                    <a:cubicBezTo>
                      <a:pt x="10348" y="3181"/>
                      <a:pt x="3785" y="9743"/>
                      <a:pt x="1482" y="18142"/>
                    </a:cubicBezTo>
                    <a:cubicBezTo>
                      <a:pt x="-818" y="26540"/>
                      <a:pt x="1479" y="35532"/>
                      <a:pt x="7528" y="41794"/>
                    </a:cubicBezTo>
                    <a:lnTo>
                      <a:pt x="39414" y="73683"/>
                    </a:lnTo>
                    <a:lnTo>
                      <a:pt x="7528" y="105572"/>
                    </a:lnTo>
                    <a:cubicBezTo>
                      <a:pt x="2770" y="110167"/>
                      <a:pt x="57" y="116483"/>
                      <a:pt x="1" y="123097"/>
                    </a:cubicBezTo>
                    <a:cubicBezTo>
                      <a:pt x="-57" y="129712"/>
                      <a:pt x="2543" y="136072"/>
                      <a:pt x="7222" y="140750"/>
                    </a:cubicBezTo>
                    <a:cubicBezTo>
                      <a:pt x="11900" y="145428"/>
                      <a:pt x="18260" y="148032"/>
                      <a:pt x="24875" y="147974"/>
                    </a:cubicBezTo>
                    <a:cubicBezTo>
                      <a:pt x="31490" y="147916"/>
                      <a:pt x="37804" y="145202"/>
                      <a:pt x="42399" y="140445"/>
                    </a:cubicBezTo>
                    <a:lnTo>
                      <a:pt x="91725" y="91119"/>
                    </a:lnTo>
                    <a:cubicBezTo>
                      <a:pt x="96353" y="86496"/>
                      <a:pt x="98951" y="80225"/>
                      <a:pt x="98951" y="73683"/>
                    </a:cubicBezTo>
                    <a:cubicBezTo>
                      <a:pt x="98951" y="67142"/>
                      <a:pt x="96353" y="60870"/>
                      <a:pt x="91725" y="56247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19AB0167-AE6C-4D17-9190-99C7849E1004}"/>
                  </a:ext>
                </a:extLst>
              </p:cNvPr>
              <p:cNvSpPr/>
              <p:nvPr/>
            </p:nvSpPr>
            <p:spPr>
              <a:xfrm>
                <a:off x="6098003" y="5183632"/>
                <a:ext cx="98656" cy="197301"/>
              </a:xfrm>
              <a:custGeom>
                <a:avLst/>
                <a:gdLst>
                  <a:gd name="connsiteX0" fmla="*/ 81793 w 98656"/>
                  <a:gd name="connsiteY0" fmla="*/ 1278 h 197301"/>
                  <a:gd name="connsiteX1" fmla="*/ 62959 w 98656"/>
                  <a:gd name="connsiteY1" fmla="*/ 2594 h 197301"/>
                  <a:gd name="connsiteX2" fmla="*/ 50593 w 98656"/>
                  <a:gd name="connsiteY2" fmla="*/ 16860 h 197301"/>
                  <a:gd name="connsiteX3" fmla="*/ 1267 w 98656"/>
                  <a:gd name="connsiteY3" fmla="*/ 164835 h 197301"/>
                  <a:gd name="connsiteX4" fmla="*/ 6209 w 98656"/>
                  <a:gd name="connsiteY4" fmla="*/ 188999 h 197301"/>
                  <a:gd name="connsiteX5" fmla="*/ 29605 w 98656"/>
                  <a:gd name="connsiteY5" fmla="*/ 196801 h 197301"/>
                  <a:gd name="connsiteX6" fmla="*/ 48062 w 98656"/>
                  <a:gd name="connsiteY6" fmla="*/ 180442 h 197301"/>
                  <a:gd name="connsiteX7" fmla="*/ 97387 w 98656"/>
                  <a:gd name="connsiteY7" fmla="*/ 32467 h 197301"/>
                  <a:gd name="connsiteX8" fmla="*/ 96056 w 98656"/>
                  <a:gd name="connsiteY8" fmla="*/ 13639 h 197301"/>
                  <a:gd name="connsiteX9" fmla="*/ 81792 w 98656"/>
                  <a:gd name="connsiteY9" fmla="*/ 1279 h 197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8656" h="197301">
                    <a:moveTo>
                      <a:pt x="81793" y="1278"/>
                    </a:moveTo>
                    <a:cubicBezTo>
                      <a:pt x="75588" y="-802"/>
                      <a:pt x="68812" y="-328"/>
                      <a:pt x="62959" y="2594"/>
                    </a:cubicBezTo>
                    <a:cubicBezTo>
                      <a:pt x="57106" y="5518"/>
                      <a:pt x="52658" y="10649"/>
                      <a:pt x="50593" y="16860"/>
                    </a:cubicBezTo>
                    <a:lnTo>
                      <a:pt x="1267" y="164835"/>
                    </a:lnTo>
                    <a:cubicBezTo>
                      <a:pt x="-1520" y="173194"/>
                      <a:pt x="362" y="182403"/>
                      <a:pt x="6209" y="188999"/>
                    </a:cubicBezTo>
                    <a:cubicBezTo>
                      <a:pt x="12052" y="195592"/>
                      <a:pt x="20974" y="198566"/>
                      <a:pt x="29605" y="196801"/>
                    </a:cubicBezTo>
                    <a:cubicBezTo>
                      <a:pt x="38238" y="195036"/>
                      <a:pt x="45275" y="188800"/>
                      <a:pt x="48062" y="180442"/>
                    </a:cubicBezTo>
                    <a:lnTo>
                      <a:pt x="97387" y="32467"/>
                    </a:lnTo>
                    <a:cubicBezTo>
                      <a:pt x="99458" y="26262"/>
                      <a:pt x="98981" y="19489"/>
                      <a:pt x="96056" y="13639"/>
                    </a:cubicBezTo>
                    <a:cubicBezTo>
                      <a:pt x="93131" y="7789"/>
                      <a:pt x="88000" y="3341"/>
                      <a:pt x="81792" y="1279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2A231CA9-89BA-4065-9FB6-90B328D62BB2}"/>
                  </a:ext>
                </a:extLst>
              </p:cNvPr>
              <p:cNvSpPr/>
              <p:nvPr/>
            </p:nvSpPr>
            <p:spPr>
              <a:xfrm>
                <a:off x="6073347" y="4986339"/>
                <a:ext cx="147971" cy="147971"/>
              </a:xfrm>
              <a:custGeom>
                <a:avLst/>
                <a:gdLst>
                  <a:gd name="connsiteX0" fmla="*/ 73984 w 147971"/>
                  <a:gd name="connsiteY0" fmla="*/ 0 h 147971"/>
                  <a:gd name="connsiteX1" fmla="*/ 21670 w 147971"/>
                  <a:gd name="connsiteY1" fmla="*/ 21670 h 147971"/>
                  <a:gd name="connsiteX2" fmla="*/ 0 w 147971"/>
                  <a:gd name="connsiteY2" fmla="*/ 73987 h 147971"/>
                  <a:gd name="connsiteX3" fmla="*/ 21670 w 147971"/>
                  <a:gd name="connsiteY3" fmla="*/ 126301 h 147971"/>
                  <a:gd name="connsiteX4" fmla="*/ 73984 w 147971"/>
                  <a:gd name="connsiteY4" fmla="*/ 147972 h 147971"/>
                  <a:gd name="connsiteX5" fmla="*/ 126301 w 147971"/>
                  <a:gd name="connsiteY5" fmla="*/ 126301 h 147971"/>
                  <a:gd name="connsiteX6" fmla="*/ 147972 w 147971"/>
                  <a:gd name="connsiteY6" fmla="*/ 73987 h 147971"/>
                  <a:gd name="connsiteX7" fmla="*/ 126280 w 147971"/>
                  <a:gd name="connsiteY7" fmla="*/ 21695 h 147971"/>
                  <a:gd name="connsiteX8" fmla="*/ 73984 w 147971"/>
                  <a:gd name="connsiteY8" fmla="*/ 0 h 147971"/>
                  <a:gd name="connsiteX9" fmla="*/ 73984 w 147971"/>
                  <a:gd name="connsiteY9" fmla="*/ 98647 h 147971"/>
                  <a:gd name="connsiteX10" fmla="*/ 56545 w 147971"/>
                  <a:gd name="connsiteY10" fmla="*/ 91424 h 147971"/>
                  <a:gd name="connsiteX11" fmla="*/ 49321 w 147971"/>
                  <a:gd name="connsiteY11" fmla="*/ 73984 h 147971"/>
                  <a:gd name="connsiteX12" fmla="*/ 56545 w 147971"/>
                  <a:gd name="connsiteY12" fmla="*/ 56545 h 147971"/>
                  <a:gd name="connsiteX13" fmla="*/ 73984 w 147971"/>
                  <a:gd name="connsiteY13" fmla="*/ 49322 h 147971"/>
                  <a:gd name="connsiteX14" fmla="*/ 91424 w 147971"/>
                  <a:gd name="connsiteY14" fmla="*/ 56545 h 147971"/>
                  <a:gd name="connsiteX15" fmla="*/ 98647 w 147971"/>
                  <a:gd name="connsiteY15" fmla="*/ 73984 h 147971"/>
                  <a:gd name="connsiteX16" fmla="*/ 91417 w 147971"/>
                  <a:gd name="connsiteY16" fmla="*/ 91414 h 147971"/>
                  <a:gd name="connsiteX17" fmla="*/ 73984 w 147971"/>
                  <a:gd name="connsiteY17" fmla="*/ 98647 h 14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7971" h="147971">
                    <a:moveTo>
                      <a:pt x="73984" y="0"/>
                    </a:moveTo>
                    <a:cubicBezTo>
                      <a:pt x="54364" y="0"/>
                      <a:pt x="35545" y="7795"/>
                      <a:pt x="21670" y="21670"/>
                    </a:cubicBezTo>
                    <a:cubicBezTo>
                      <a:pt x="7792" y="35545"/>
                      <a:pt x="0" y="54364"/>
                      <a:pt x="0" y="73987"/>
                    </a:cubicBezTo>
                    <a:cubicBezTo>
                      <a:pt x="0" y="93608"/>
                      <a:pt x="7792" y="112427"/>
                      <a:pt x="21670" y="126301"/>
                    </a:cubicBezTo>
                    <a:cubicBezTo>
                      <a:pt x="35545" y="140179"/>
                      <a:pt x="54364" y="147972"/>
                      <a:pt x="73984" y="147972"/>
                    </a:cubicBezTo>
                    <a:cubicBezTo>
                      <a:pt x="93608" y="147972"/>
                      <a:pt x="112427" y="140179"/>
                      <a:pt x="126301" y="126301"/>
                    </a:cubicBezTo>
                    <a:cubicBezTo>
                      <a:pt x="140176" y="112427"/>
                      <a:pt x="147972" y="93608"/>
                      <a:pt x="147972" y="73987"/>
                    </a:cubicBezTo>
                    <a:cubicBezTo>
                      <a:pt x="147951" y="54370"/>
                      <a:pt x="140149" y="35563"/>
                      <a:pt x="126280" y="21695"/>
                    </a:cubicBezTo>
                    <a:cubicBezTo>
                      <a:pt x="112409" y="7823"/>
                      <a:pt x="93602" y="21"/>
                      <a:pt x="73984" y="0"/>
                    </a:cubicBezTo>
                    <a:close/>
                    <a:moveTo>
                      <a:pt x="73984" y="98647"/>
                    </a:moveTo>
                    <a:cubicBezTo>
                      <a:pt x="67446" y="98647"/>
                      <a:pt x="61171" y="96047"/>
                      <a:pt x="56545" y="91424"/>
                    </a:cubicBezTo>
                    <a:cubicBezTo>
                      <a:pt x="51922" y="86798"/>
                      <a:pt x="49321" y="80526"/>
                      <a:pt x="49321" y="73984"/>
                    </a:cubicBezTo>
                    <a:cubicBezTo>
                      <a:pt x="49321" y="67444"/>
                      <a:pt x="51922" y="61168"/>
                      <a:pt x="56545" y="56545"/>
                    </a:cubicBezTo>
                    <a:cubicBezTo>
                      <a:pt x="61171" y="51919"/>
                      <a:pt x="67446" y="49322"/>
                      <a:pt x="73984" y="49322"/>
                    </a:cubicBezTo>
                    <a:cubicBezTo>
                      <a:pt x="80526" y="49322"/>
                      <a:pt x="86800" y="51919"/>
                      <a:pt x="91424" y="56545"/>
                    </a:cubicBezTo>
                    <a:cubicBezTo>
                      <a:pt x="96049" y="61168"/>
                      <a:pt x="98647" y="67443"/>
                      <a:pt x="98647" y="73984"/>
                    </a:cubicBezTo>
                    <a:cubicBezTo>
                      <a:pt x="98641" y="80523"/>
                      <a:pt x="96043" y="86792"/>
                      <a:pt x="91417" y="91414"/>
                    </a:cubicBezTo>
                    <a:cubicBezTo>
                      <a:pt x="86795" y="96040"/>
                      <a:pt x="80526" y="98641"/>
                      <a:pt x="73984" y="98647"/>
                    </a:cubicBezTo>
                    <a:close/>
                  </a:path>
                </a:pathLst>
              </a:custGeom>
              <a:grpFill/>
              <a:ln w="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246" name="Graphic 19">
              <a:extLst>
                <a:ext uri="{FF2B5EF4-FFF2-40B4-BE49-F238E27FC236}">
                  <a16:creationId xmlns:a16="http://schemas.microsoft.com/office/drawing/2014/main" id="{2CC20FF5-7A26-4376-BA49-742173C4D5AF}"/>
                </a:ext>
              </a:extLst>
            </p:cNvPr>
            <p:cNvGrpSpPr/>
            <p:nvPr/>
          </p:nvGrpSpPr>
          <p:grpSpPr>
            <a:xfrm>
              <a:off x="2751376" y="2372457"/>
              <a:ext cx="266702" cy="266700"/>
              <a:chOff x="2751376" y="2265921"/>
              <a:chExt cx="266702" cy="266700"/>
            </a:xfrm>
            <a:solidFill>
              <a:schemeClr val="accent2"/>
            </a:solidFill>
          </p:grpSpPr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19457F0D-0EAC-40C8-ABA5-1D5EFA9CDD90}"/>
                  </a:ext>
                </a:extLst>
              </p:cNvPr>
              <p:cNvSpPr/>
              <p:nvPr/>
            </p:nvSpPr>
            <p:spPr>
              <a:xfrm>
                <a:off x="2751376" y="2265921"/>
                <a:ext cx="38100" cy="57150"/>
              </a:xfrm>
              <a:custGeom>
                <a:avLst/>
                <a:gdLst>
                  <a:gd name="connsiteX0" fmla="*/ 9525 w 38100"/>
                  <a:gd name="connsiteY0" fmla="*/ 57150 h 57150"/>
                  <a:gd name="connsiteX1" fmla="*/ 19050 w 38100"/>
                  <a:gd name="connsiteY1" fmla="*/ 47625 h 57150"/>
                  <a:gd name="connsiteX2" fmla="*/ 19050 w 38100"/>
                  <a:gd name="connsiteY2" fmla="*/ 19050 h 57150"/>
                  <a:gd name="connsiteX3" fmla="*/ 28575 w 38100"/>
                  <a:gd name="connsiteY3" fmla="*/ 19050 h 57150"/>
                  <a:gd name="connsiteX4" fmla="*/ 38100 w 38100"/>
                  <a:gd name="connsiteY4" fmla="*/ 9525 h 57150"/>
                  <a:gd name="connsiteX5" fmla="*/ 28575 w 38100"/>
                  <a:gd name="connsiteY5" fmla="*/ 0 h 57150"/>
                  <a:gd name="connsiteX6" fmla="*/ 9525 w 38100"/>
                  <a:gd name="connsiteY6" fmla="*/ 0 h 57150"/>
                  <a:gd name="connsiteX7" fmla="*/ 0 w 38100"/>
                  <a:gd name="connsiteY7" fmla="*/ 9525 h 57150"/>
                  <a:gd name="connsiteX8" fmla="*/ 0 w 38100"/>
                  <a:gd name="connsiteY8" fmla="*/ 47625 h 57150"/>
                  <a:gd name="connsiteX9" fmla="*/ 9525 w 38100"/>
                  <a:gd name="connsiteY9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57150">
                    <a:moveTo>
                      <a:pt x="9525" y="57150"/>
                    </a:moveTo>
                    <a:cubicBezTo>
                      <a:pt x="14783" y="57150"/>
                      <a:pt x="19050" y="52892"/>
                      <a:pt x="19050" y="47625"/>
                    </a:cubicBezTo>
                    <a:lnTo>
                      <a:pt x="19050" y="19050"/>
                    </a:lnTo>
                    <a:lnTo>
                      <a:pt x="28575" y="19050"/>
                    </a:lnTo>
                    <a:cubicBezTo>
                      <a:pt x="33833" y="19050"/>
                      <a:pt x="38100" y="14792"/>
                      <a:pt x="38100" y="9525"/>
                    </a:cubicBezTo>
                    <a:cubicBezTo>
                      <a:pt x="38100" y="4258"/>
                      <a:pt x="33833" y="0"/>
                      <a:pt x="28575" y="0"/>
                    </a:cubicBezTo>
                    <a:lnTo>
                      <a:pt x="9525" y="0"/>
                    </a:lnTo>
                    <a:cubicBezTo>
                      <a:pt x="4267" y="0"/>
                      <a:pt x="0" y="4258"/>
                      <a:pt x="0" y="9525"/>
                    </a:cubicBezTo>
                    <a:lnTo>
                      <a:pt x="0" y="47625"/>
                    </a:lnTo>
                    <a:cubicBezTo>
                      <a:pt x="0" y="52892"/>
                      <a:pt x="4267" y="57150"/>
                      <a:pt x="9525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560AB255-CA34-4C02-825A-760339AD512C}"/>
                  </a:ext>
                </a:extLst>
              </p:cNvPr>
              <p:cNvSpPr/>
              <p:nvPr/>
            </p:nvSpPr>
            <p:spPr>
              <a:xfrm>
                <a:off x="2979976" y="2265921"/>
                <a:ext cx="38100" cy="57150"/>
              </a:xfrm>
              <a:custGeom>
                <a:avLst/>
                <a:gdLst>
                  <a:gd name="connsiteX0" fmla="*/ 28575 w 38100"/>
                  <a:gd name="connsiteY0" fmla="*/ 0 h 57150"/>
                  <a:gd name="connsiteX1" fmla="*/ 9525 w 38100"/>
                  <a:gd name="connsiteY1" fmla="*/ 0 h 57150"/>
                  <a:gd name="connsiteX2" fmla="*/ 0 w 38100"/>
                  <a:gd name="connsiteY2" fmla="*/ 9525 h 57150"/>
                  <a:gd name="connsiteX3" fmla="*/ 9525 w 38100"/>
                  <a:gd name="connsiteY3" fmla="*/ 19050 h 57150"/>
                  <a:gd name="connsiteX4" fmla="*/ 19050 w 38100"/>
                  <a:gd name="connsiteY4" fmla="*/ 19050 h 57150"/>
                  <a:gd name="connsiteX5" fmla="*/ 19050 w 38100"/>
                  <a:gd name="connsiteY5" fmla="*/ 47625 h 57150"/>
                  <a:gd name="connsiteX6" fmla="*/ 28575 w 38100"/>
                  <a:gd name="connsiteY6" fmla="*/ 57150 h 57150"/>
                  <a:gd name="connsiteX7" fmla="*/ 38100 w 38100"/>
                  <a:gd name="connsiteY7" fmla="*/ 47625 h 57150"/>
                  <a:gd name="connsiteX8" fmla="*/ 38100 w 38100"/>
                  <a:gd name="connsiteY8" fmla="*/ 9525 h 57150"/>
                  <a:gd name="connsiteX9" fmla="*/ 28575 w 38100"/>
                  <a:gd name="connsiteY9" fmla="*/ 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57150">
                    <a:moveTo>
                      <a:pt x="28575" y="0"/>
                    </a:moveTo>
                    <a:lnTo>
                      <a:pt x="9525" y="0"/>
                    </a:lnTo>
                    <a:cubicBezTo>
                      <a:pt x="4267" y="0"/>
                      <a:pt x="0" y="4258"/>
                      <a:pt x="0" y="9525"/>
                    </a:cubicBezTo>
                    <a:cubicBezTo>
                      <a:pt x="0" y="14792"/>
                      <a:pt x="4267" y="19050"/>
                      <a:pt x="9525" y="19050"/>
                    </a:cubicBezTo>
                    <a:lnTo>
                      <a:pt x="19050" y="19050"/>
                    </a:lnTo>
                    <a:lnTo>
                      <a:pt x="19050" y="47625"/>
                    </a:lnTo>
                    <a:cubicBezTo>
                      <a:pt x="19050" y="52892"/>
                      <a:pt x="23317" y="57150"/>
                      <a:pt x="28575" y="57150"/>
                    </a:cubicBezTo>
                    <a:cubicBezTo>
                      <a:pt x="33833" y="57150"/>
                      <a:pt x="38100" y="52892"/>
                      <a:pt x="38100" y="47625"/>
                    </a:cubicBezTo>
                    <a:lnTo>
                      <a:pt x="38100" y="9525"/>
                    </a:lnTo>
                    <a:cubicBezTo>
                      <a:pt x="38100" y="4258"/>
                      <a:pt x="33833" y="0"/>
                      <a:pt x="2857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B17AA849-556F-41C9-A626-AEB2973453AD}"/>
                  </a:ext>
                </a:extLst>
              </p:cNvPr>
              <p:cNvSpPr/>
              <p:nvPr/>
            </p:nvSpPr>
            <p:spPr>
              <a:xfrm>
                <a:off x="2751376" y="2475471"/>
                <a:ext cx="38100" cy="57150"/>
              </a:xfrm>
              <a:custGeom>
                <a:avLst/>
                <a:gdLst>
                  <a:gd name="connsiteX0" fmla="*/ 28575 w 38100"/>
                  <a:gd name="connsiteY0" fmla="*/ 38100 h 57150"/>
                  <a:gd name="connsiteX1" fmla="*/ 19050 w 38100"/>
                  <a:gd name="connsiteY1" fmla="*/ 38100 h 57150"/>
                  <a:gd name="connsiteX2" fmla="*/ 19050 w 38100"/>
                  <a:gd name="connsiteY2" fmla="*/ 9525 h 57150"/>
                  <a:gd name="connsiteX3" fmla="*/ 9525 w 38100"/>
                  <a:gd name="connsiteY3" fmla="*/ 0 h 57150"/>
                  <a:gd name="connsiteX4" fmla="*/ 0 w 38100"/>
                  <a:gd name="connsiteY4" fmla="*/ 9525 h 57150"/>
                  <a:gd name="connsiteX5" fmla="*/ 0 w 38100"/>
                  <a:gd name="connsiteY5" fmla="*/ 47625 h 57150"/>
                  <a:gd name="connsiteX6" fmla="*/ 9525 w 38100"/>
                  <a:gd name="connsiteY6" fmla="*/ 57150 h 57150"/>
                  <a:gd name="connsiteX7" fmla="*/ 28575 w 38100"/>
                  <a:gd name="connsiteY7" fmla="*/ 57150 h 57150"/>
                  <a:gd name="connsiteX8" fmla="*/ 38100 w 38100"/>
                  <a:gd name="connsiteY8" fmla="*/ 47625 h 57150"/>
                  <a:gd name="connsiteX9" fmla="*/ 28575 w 38100"/>
                  <a:gd name="connsiteY9" fmla="*/ 3810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57150">
                    <a:moveTo>
                      <a:pt x="28575" y="38100"/>
                    </a:moveTo>
                    <a:lnTo>
                      <a:pt x="19050" y="38100"/>
                    </a:ln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ubicBezTo>
                      <a:pt x="4267" y="0"/>
                      <a:pt x="0" y="4258"/>
                      <a:pt x="0" y="9525"/>
                    </a:cubicBezTo>
                    <a:lnTo>
                      <a:pt x="0" y="47625"/>
                    </a:lnTo>
                    <a:cubicBezTo>
                      <a:pt x="0" y="52892"/>
                      <a:pt x="4267" y="57150"/>
                      <a:pt x="9525" y="57150"/>
                    </a:cubicBezTo>
                    <a:lnTo>
                      <a:pt x="28575" y="57150"/>
                    </a:lnTo>
                    <a:cubicBezTo>
                      <a:pt x="33833" y="57150"/>
                      <a:pt x="38100" y="52892"/>
                      <a:pt x="38100" y="47625"/>
                    </a:cubicBezTo>
                    <a:cubicBezTo>
                      <a:pt x="38100" y="42358"/>
                      <a:pt x="33833" y="38100"/>
                      <a:pt x="28575" y="381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632D12F0-DCF5-47BA-B613-C94FCC56102C}"/>
                  </a:ext>
                </a:extLst>
              </p:cNvPr>
              <p:cNvSpPr/>
              <p:nvPr/>
            </p:nvSpPr>
            <p:spPr>
              <a:xfrm>
                <a:off x="2979976" y="2475471"/>
                <a:ext cx="38100" cy="57150"/>
              </a:xfrm>
              <a:custGeom>
                <a:avLst/>
                <a:gdLst>
                  <a:gd name="connsiteX0" fmla="*/ 28575 w 38100"/>
                  <a:gd name="connsiteY0" fmla="*/ 0 h 57150"/>
                  <a:gd name="connsiteX1" fmla="*/ 19050 w 38100"/>
                  <a:gd name="connsiteY1" fmla="*/ 9525 h 57150"/>
                  <a:gd name="connsiteX2" fmla="*/ 19050 w 38100"/>
                  <a:gd name="connsiteY2" fmla="*/ 38100 h 57150"/>
                  <a:gd name="connsiteX3" fmla="*/ 9525 w 38100"/>
                  <a:gd name="connsiteY3" fmla="*/ 38100 h 57150"/>
                  <a:gd name="connsiteX4" fmla="*/ 0 w 38100"/>
                  <a:gd name="connsiteY4" fmla="*/ 47625 h 57150"/>
                  <a:gd name="connsiteX5" fmla="*/ 9525 w 38100"/>
                  <a:gd name="connsiteY5" fmla="*/ 57150 h 57150"/>
                  <a:gd name="connsiteX6" fmla="*/ 28575 w 38100"/>
                  <a:gd name="connsiteY6" fmla="*/ 57150 h 57150"/>
                  <a:gd name="connsiteX7" fmla="*/ 38100 w 38100"/>
                  <a:gd name="connsiteY7" fmla="*/ 47625 h 57150"/>
                  <a:gd name="connsiteX8" fmla="*/ 38100 w 38100"/>
                  <a:gd name="connsiteY8" fmla="*/ 9525 h 57150"/>
                  <a:gd name="connsiteX9" fmla="*/ 28575 w 38100"/>
                  <a:gd name="connsiteY9" fmla="*/ 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57150">
                    <a:moveTo>
                      <a:pt x="28575" y="0"/>
                    </a:moveTo>
                    <a:cubicBezTo>
                      <a:pt x="23317" y="0"/>
                      <a:pt x="19050" y="4258"/>
                      <a:pt x="19050" y="9525"/>
                    </a:cubicBezTo>
                    <a:lnTo>
                      <a:pt x="19050" y="38100"/>
                    </a:lnTo>
                    <a:lnTo>
                      <a:pt x="9525" y="38100"/>
                    </a:lnTo>
                    <a:cubicBezTo>
                      <a:pt x="4267" y="38100"/>
                      <a:pt x="0" y="42358"/>
                      <a:pt x="0" y="47625"/>
                    </a:cubicBezTo>
                    <a:cubicBezTo>
                      <a:pt x="0" y="52892"/>
                      <a:pt x="4267" y="57150"/>
                      <a:pt x="9525" y="57150"/>
                    </a:cubicBezTo>
                    <a:lnTo>
                      <a:pt x="28575" y="57150"/>
                    </a:lnTo>
                    <a:cubicBezTo>
                      <a:pt x="33833" y="57150"/>
                      <a:pt x="38100" y="52892"/>
                      <a:pt x="38100" y="47625"/>
                    </a:cubicBezTo>
                    <a:lnTo>
                      <a:pt x="38100" y="9525"/>
                    </a:lnTo>
                    <a:cubicBezTo>
                      <a:pt x="38100" y="4258"/>
                      <a:pt x="33833" y="0"/>
                      <a:pt x="2857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32860CB0-D4EC-4DC7-962B-E6DE77932265}"/>
                  </a:ext>
                </a:extLst>
              </p:cNvPr>
              <p:cNvSpPr/>
              <p:nvPr/>
            </p:nvSpPr>
            <p:spPr>
              <a:xfrm>
                <a:off x="2875201" y="2304021"/>
                <a:ext cx="19050" cy="38100"/>
              </a:xfrm>
              <a:custGeom>
                <a:avLst/>
                <a:gdLst>
                  <a:gd name="connsiteX0" fmla="*/ 9525 w 19050"/>
                  <a:gd name="connsiteY0" fmla="*/ 0 h 38100"/>
                  <a:gd name="connsiteX1" fmla="*/ 0 w 19050"/>
                  <a:gd name="connsiteY1" fmla="*/ 9525 h 38100"/>
                  <a:gd name="connsiteX2" fmla="*/ 0 w 19050"/>
                  <a:gd name="connsiteY2" fmla="*/ 28575 h 38100"/>
                  <a:gd name="connsiteX3" fmla="*/ 9525 w 19050"/>
                  <a:gd name="connsiteY3" fmla="*/ 38100 h 38100"/>
                  <a:gd name="connsiteX4" fmla="*/ 19050 w 19050"/>
                  <a:gd name="connsiteY4" fmla="*/ 28575 h 38100"/>
                  <a:gd name="connsiteX5" fmla="*/ 19050 w 19050"/>
                  <a:gd name="connsiteY5" fmla="*/ 9525 h 38100"/>
                  <a:gd name="connsiteX6" fmla="*/ 9525 w 19050"/>
                  <a:gd name="connsiteY6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0"/>
                    </a:move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F29C3397-19D9-4251-BC6F-8F6CFC3FC5E0}"/>
                  </a:ext>
                </a:extLst>
              </p:cNvPr>
              <p:cNvSpPr/>
              <p:nvPr/>
            </p:nvSpPr>
            <p:spPr>
              <a:xfrm>
                <a:off x="2903776" y="2304021"/>
                <a:ext cx="19050" cy="38100"/>
              </a:xfrm>
              <a:custGeom>
                <a:avLst/>
                <a:gdLst>
                  <a:gd name="connsiteX0" fmla="*/ 9525 w 19050"/>
                  <a:gd name="connsiteY0" fmla="*/ 0 h 38100"/>
                  <a:gd name="connsiteX1" fmla="*/ 0 w 19050"/>
                  <a:gd name="connsiteY1" fmla="*/ 9525 h 38100"/>
                  <a:gd name="connsiteX2" fmla="*/ 0 w 19050"/>
                  <a:gd name="connsiteY2" fmla="*/ 28575 h 38100"/>
                  <a:gd name="connsiteX3" fmla="*/ 9525 w 19050"/>
                  <a:gd name="connsiteY3" fmla="*/ 38100 h 38100"/>
                  <a:gd name="connsiteX4" fmla="*/ 19050 w 19050"/>
                  <a:gd name="connsiteY4" fmla="*/ 28575 h 38100"/>
                  <a:gd name="connsiteX5" fmla="*/ 19050 w 19050"/>
                  <a:gd name="connsiteY5" fmla="*/ 9525 h 38100"/>
                  <a:gd name="connsiteX6" fmla="*/ 9525 w 19050"/>
                  <a:gd name="connsiteY6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0"/>
                    </a:move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5177412F-B6D2-4197-A2B1-8A05E90C91A6}"/>
                  </a:ext>
                </a:extLst>
              </p:cNvPr>
              <p:cNvSpPr/>
              <p:nvPr/>
            </p:nvSpPr>
            <p:spPr>
              <a:xfrm>
                <a:off x="2932351" y="2304021"/>
                <a:ext cx="19050" cy="38100"/>
              </a:xfrm>
              <a:custGeom>
                <a:avLst/>
                <a:gdLst>
                  <a:gd name="connsiteX0" fmla="*/ 9525 w 19050"/>
                  <a:gd name="connsiteY0" fmla="*/ 0 h 38100"/>
                  <a:gd name="connsiteX1" fmla="*/ 0 w 19050"/>
                  <a:gd name="connsiteY1" fmla="*/ 9525 h 38100"/>
                  <a:gd name="connsiteX2" fmla="*/ 0 w 19050"/>
                  <a:gd name="connsiteY2" fmla="*/ 28575 h 38100"/>
                  <a:gd name="connsiteX3" fmla="*/ 9525 w 19050"/>
                  <a:gd name="connsiteY3" fmla="*/ 38100 h 38100"/>
                  <a:gd name="connsiteX4" fmla="*/ 19050 w 19050"/>
                  <a:gd name="connsiteY4" fmla="*/ 28575 h 38100"/>
                  <a:gd name="connsiteX5" fmla="*/ 19050 w 19050"/>
                  <a:gd name="connsiteY5" fmla="*/ 9525 h 38100"/>
                  <a:gd name="connsiteX6" fmla="*/ 9525 w 19050"/>
                  <a:gd name="connsiteY6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0"/>
                    </a:move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6C6753F5-6D23-46ED-BE39-64E5633773FB}"/>
                  </a:ext>
                </a:extLst>
              </p:cNvPr>
              <p:cNvSpPr/>
              <p:nvPr/>
            </p:nvSpPr>
            <p:spPr>
              <a:xfrm>
                <a:off x="2875201" y="2456421"/>
                <a:ext cx="19050" cy="38100"/>
              </a:xfrm>
              <a:custGeom>
                <a:avLst/>
                <a:gdLst>
                  <a:gd name="connsiteX0" fmla="*/ 9525 w 19050"/>
                  <a:gd name="connsiteY0" fmla="*/ 38100 h 38100"/>
                  <a:gd name="connsiteX1" fmla="*/ 19050 w 19050"/>
                  <a:gd name="connsiteY1" fmla="*/ 28575 h 38100"/>
                  <a:gd name="connsiteX2" fmla="*/ 19050 w 19050"/>
                  <a:gd name="connsiteY2" fmla="*/ 9525 h 38100"/>
                  <a:gd name="connsiteX3" fmla="*/ 9525 w 19050"/>
                  <a:gd name="connsiteY3" fmla="*/ 0 h 38100"/>
                  <a:gd name="connsiteX4" fmla="*/ 0 w 19050"/>
                  <a:gd name="connsiteY4" fmla="*/ 9525 h 38100"/>
                  <a:gd name="connsiteX5" fmla="*/ 0 w 19050"/>
                  <a:gd name="connsiteY5" fmla="*/ 28575 h 38100"/>
                  <a:gd name="connsiteX6" fmla="*/ 9525 w 19050"/>
                  <a:gd name="connsiteY6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38100"/>
                    </a:move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484BE569-833D-4AF0-808A-1AF38F18946F}"/>
                  </a:ext>
                </a:extLst>
              </p:cNvPr>
              <p:cNvSpPr/>
              <p:nvPr/>
            </p:nvSpPr>
            <p:spPr>
              <a:xfrm>
                <a:off x="2903776" y="2456421"/>
                <a:ext cx="19050" cy="38100"/>
              </a:xfrm>
              <a:custGeom>
                <a:avLst/>
                <a:gdLst>
                  <a:gd name="connsiteX0" fmla="*/ 9525 w 19050"/>
                  <a:gd name="connsiteY0" fmla="*/ 38100 h 38100"/>
                  <a:gd name="connsiteX1" fmla="*/ 19050 w 19050"/>
                  <a:gd name="connsiteY1" fmla="*/ 28575 h 38100"/>
                  <a:gd name="connsiteX2" fmla="*/ 19050 w 19050"/>
                  <a:gd name="connsiteY2" fmla="*/ 9525 h 38100"/>
                  <a:gd name="connsiteX3" fmla="*/ 9525 w 19050"/>
                  <a:gd name="connsiteY3" fmla="*/ 0 h 38100"/>
                  <a:gd name="connsiteX4" fmla="*/ 0 w 19050"/>
                  <a:gd name="connsiteY4" fmla="*/ 9525 h 38100"/>
                  <a:gd name="connsiteX5" fmla="*/ 0 w 19050"/>
                  <a:gd name="connsiteY5" fmla="*/ 28575 h 38100"/>
                  <a:gd name="connsiteX6" fmla="*/ 9525 w 19050"/>
                  <a:gd name="connsiteY6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38100"/>
                    </a:move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84C9B363-6A53-4964-BBB7-424E7633CBE7}"/>
                  </a:ext>
                </a:extLst>
              </p:cNvPr>
              <p:cNvSpPr/>
              <p:nvPr/>
            </p:nvSpPr>
            <p:spPr>
              <a:xfrm>
                <a:off x="2932351" y="2456421"/>
                <a:ext cx="19050" cy="38100"/>
              </a:xfrm>
              <a:custGeom>
                <a:avLst/>
                <a:gdLst>
                  <a:gd name="connsiteX0" fmla="*/ 9525 w 19050"/>
                  <a:gd name="connsiteY0" fmla="*/ 38100 h 38100"/>
                  <a:gd name="connsiteX1" fmla="*/ 19050 w 19050"/>
                  <a:gd name="connsiteY1" fmla="*/ 28575 h 38100"/>
                  <a:gd name="connsiteX2" fmla="*/ 19050 w 19050"/>
                  <a:gd name="connsiteY2" fmla="*/ 9525 h 38100"/>
                  <a:gd name="connsiteX3" fmla="*/ 9525 w 19050"/>
                  <a:gd name="connsiteY3" fmla="*/ 0 h 38100"/>
                  <a:gd name="connsiteX4" fmla="*/ 0 w 19050"/>
                  <a:gd name="connsiteY4" fmla="*/ 9525 h 38100"/>
                  <a:gd name="connsiteX5" fmla="*/ 0 w 19050"/>
                  <a:gd name="connsiteY5" fmla="*/ 28575 h 38100"/>
                  <a:gd name="connsiteX6" fmla="*/ 9525 w 19050"/>
                  <a:gd name="connsiteY6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9525" y="38100"/>
                    </a:moveTo>
                    <a:cubicBezTo>
                      <a:pt x="14783" y="38100"/>
                      <a:pt x="19050" y="33842"/>
                      <a:pt x="19050" y="285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ubicBezTo>
                      <a:pt x="4267" y="0"/>
                      <a:pt x="0" y="4258"/>
                      <a:pt x="0" y="9525"/>
                    </a:cubicBezTo>
                    <a:lnTo>
                      <a:pt x="0" y="28575"/>
                    </a:lnTo>
                    <a:cubicBezTo>
                      <a:pt x="0" y="33842"/>
                      <a:pt x="4267" y="38100"/>
                      <a:pt x="9525" y="381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51634BE9-F08C-4F1A-BD9E-255A79241E0E}"/>
                  </a:ext>
                </a:extLst>
              </p:cNvPr>
              <p:cNvSpPr/>
              <p:nvPr/>
            </p:nvSpPr>
            <p:spPr>
              <a:xfrm>
                <a:off x="2789476" y="2275446"/>
                <a:ext cx="190500" cy="95250"/>
              </a:xfrm>
              <a:custGeom>
                <a:avLst/>
                <a:gdLst>
                  <a:gd name="connsiteX0" fmla="*/ 0 w 190500"/>
                  <a:gd name="connsiteY0" fmla="*/ 85725 h 95250"/>
                  <a:gd name="connsiteX1" fmla="*/ 9525 w 190500"/>
                  <a:gd name="connsiteY1" fmla="*/ 95250 h 95250"/>
                  <a:gd name="connsiteX2" fmla="*/ 180975 w 190500"/>
                  <a:gd name="connsiteY2" fmla="*/ 95250 h 95250"/>
                  <a:gd name="connsiteX3" fmla="*/ 190500 w 190500"/>
                  <a:gd name="connsiteY3" fmla="*/ 85725 h 95250"/>
                  <a:gd name="connsiteX4" fmla="*/ 190500 w 190500"/>
                  <a:gd name="connsiteY4" fmla="*/ 28575 h 95250"/>
                  <a:gd name="connsiteX5" fmla="*/ 161925 w 190500"/>
                  <a:gd name="connsiteY5" fmla="*/ 0 h 95250"/>
                  <a:gd name="connsiteX6" fmla="*/ 28575 w 190500"/>
                  <a:gd name="connsiteY6" fmla="*/ 0 h 95250"/>
                  <a:gd name="connsiteX7" fmla="*/ 0 w 190500"/>
                  <a:gd name="connsiteY7" fmla="*/ 28575 h 95250"/>
                  <a:gd name="connsiteX8" fmla="*/ 0 w 190500"/>
                  <a:gd name="connsiteY8" fmla="*/ 85725 h 95250"/>
                  <a:gd name="connsiteX9" fmla="*/ 19050 w 190500"/>
                  <a:gd name="connsiteY9" fmla="*/ 28575 h 95250"/>
                  <a:gd name="connsiteX10" fmla="*/ 28575 w 190500"/>
                  <a:gd name="connsiteY10" fmla="*/ 19050 h 95250"/>
                  <a:gd name="connsiteX11" fmla="*/ 161925 w 190500"/>
                  <a:gd name="connsiteY11" fmla="*/ 19050 h 95250"/>
                  <a:gd name="connsiteX12" fmla="*/ 171450 w 190500"/>
                  <a:gd name="connsiteY12" fmla="*/ 28575 h 95250"/>
                  <a:gd name="connsiteX13" fmla="*/ 171450 w 190500"/>
                  <a:gd name="connsiteY13" fmla="*/ 76200 h 95250"/>
                  <a:gd name="connsiteX14" fmla="*/ 19050 w 190500"/>
                  <a:gd name="connsiteY14" fmla="*/ 76200 h 95250"/>
                  <a:gd name="connsiteX15" fmla="*/ 19050 w 190500"/>
                  <a:gd name="connsiteY15" fmla="*/ 2857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0500" h="95250">
                    <a:moveTo>
                      <a:pt x="0" y="85725"/>
                    </a:moveTo>
                    <a:cubicBezTo>
                      <a:pt x="0" y="90992"/>
                      <a:pt x="4267" y="95250"/>
                      <a:pt x="9525" y="95250"/>
                    </a:cubicBezTo>
                    <a:lnTo>
                      <a:pt x="180975" y="95250"/>
                    </a:lnTo>
                    <a:cubicBezTo>
                      <a:pt x="186233" y="95250"/>
                      <a:pt x="190500" y="90992"/>
                      <a:pt x="190500" y="85725"/>
                    </a:cubicBezTo>
                    <a:lnTo>
                      <a:pt x="190500" y="28575"/>
                    </a:lnTo>
                    <a:cubicBezTo>
                      <a:pt x="190500" y="12821"/>
                      <a:pt x="177679" y="0"/>
                      <a:pt x="161925" y="0"/>
                    </a:cubicBezTo>
                    <a:lnTo>
                      <a:pt x="28575" y="0"/>
                    </a:lnTo>
                    <a:cubicBezTo>
                      <a:pt x="12821" y="0"/>
                      <a:pt x="0" y="12821"/>
                      <a:pt x="0" y="28575"/>
                    </a:cubicBezTo>
                    <a:lnTo>
                      <a:pt x="0" y="85725"/>
                    </a:lnTo>
                    <a:close/>
                    <a:moveTo>
                      <a:pt x="19050" y="28575"/>
                    </a:moveTo>
                    <a:cubicBezTo>
                      <a:pt x="19050" y="23317"/>
                      <a:pt x="23327" y="19050"/>
                      <a:pt x="28575" y="19050"/>
                    </a:cubicBezTo>
                    <a:lnTo>
                      <a:pt x="161925" y="19050"/>
                    </a:lnTo>
                    <a:cubicBezTo>
                      <a:pt x="167173" y="19050"/>
                      <a:pt x="171450" y="23317"/>
                      <a:pt x="171450" y="28575"/>
                    </a:cubicBezTo>
                    <a:lnTo>
                      <a:pt x="171450" y="76200"/>
                    </a:lnTo>
                    <a:lnTo>
                      <a:pt x="19050" y="76200"/>
                    </a:lnTo>
                    <a:lnTo>
                      <a:pt x="19050" y="285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031A5DB8-54FE-4630-8659-9D733EBF6ED6}"/>
                  </a:ext>
                </a:extLst>
              </p:cNvPr>
              <p:cNvSpPr/>
              <p:nvPr/>
            </p:nvSpPr>
            <p:spPr>
              <a:xfrm>
                <a:off x="2789476" y="2427846"/>
                <a:ext cx="190500" cy="95250"/>
              </a:xfrm>
              <a:custGeom>
                <a:avLst/>
                <a:gdLst>
                  <a:gd name="connsiteX0" fmla="*/ 190500 w 190500"/>
                  <a:gd name="connsiteY0" fmla="*/ 9525 h 95250"/>
                  <a:gd name="connsiteX1" fmla="*/ 180975 w 190500"/>
                  <a:gd name="connsiteY1" fmla="*/ 0 h 95250"/>
                  <a:gd name="connsiteX2" fmla="*/ 9525 w 190500"/>
                  <a:gd name="connsiteY2" fmla="*/ 0 h 95250"/>
                  <a:gd name="connsiteX3" fmla="*/ 0 w 190500"/>
                  <a:gd name="connsiteY3" fmla="*/ 9525 h 95250"/>
                  <a:gd name="connsiteX4" fmla="*/ 0 w 190500"/>
                  <a:gd name="connsiteY4" fmla="*/ 66675 h 95250"/>
                  <a:gd name="connsiteX5" fmla="*/ 28575 w 190500"/>
                  <a:gd name="connsiteY5" fmla="*/ 95250 h 95250"/>
                  <a:gd name="connsiteX6" fmla="*/ 161925 w 190500"/>
                  <a:gd name="connsiteY6" fmla="*/ 95250 h 95250"/>
                  <a:gd name="connsiteX7" fmla="*/ 190500 w 190500"/>
                  <a:gd name="connsiteY7" fmla="*/ 66675 h 95250"/>
                  <a:gd name="connsiteX8" fmla="*/ 190500 w 190500"/>
                  <a:gd name="connsiteY8" fmla="*/ 9525 h 95250"/>
                  <a:gd name="connsiteX9" fmla="*/ 171450 w 190500"/>
                  <a:gd name="connsiteY9" fmla="*/ 66675 h 95250"/>
                  <a:gd name="connsiteX10" fmla="*/ 161925 w 190500"/>
                  <a:gd name="connsiteY10" fmla="*/ 76200 h 95250"/>
                  <a:gd name="connsiteX11" fmla="*/ 28575 w 190500"/>
                  <a:gd name="connsiteY11" fmla="*/ 76200 h 95250"/>
                  <a:gd name="connsiteX12" fmla="*/ 19050 w 190500"/>
                  <a:gd name="connsiteY12" fmla="*/ 66675 h 95250"/>
                  <a:gd name="connsiteX13" fmla="*/ 19050 w 190500"/>
                  <a:gd name="connsiteY13" fmla="*/ 19050 h 95250"/>
                  <a:gd name="connsiteX14" fmla="*/ 171450 w 190500"/>
                  <a:gd name="connsiteY14" fmla="*/ 19050 h 95250"/>
                  <a:gd name="connsiteX15" fmla="*/ 171450 w 190500"/>
                  <a:gd name="connsiteY15" fmla="*/ 6667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0500" h="95250">
                    <a:moveTo>
                      <a:pt x="190500" y="9525"/>
                    </a:moveTo>
                    <a:cubicBezTo>
                      <a:pt x="190500" y="4258"/>
                      <a:pt x="186233" y="0"/>
                      <a:pt x="180975" y="0"/>
                    </a:cubicBezTo>
                    <a:lnTo>
                      <a:pt x="9525" y="0"/>
                    </a:lnTo>
                    <a:cubicBezTo>
                      <a:pt x="4267" y="0"/>
                      <a:pt x="0" y="4258"/>
                      <a:pt x="0" y="9525"/>
                    </a:cubicBezTo>
                    <a:lnTo>
                      <a:pt x="0" y="66675"/>
                    </a:lnTo>
                    <a:cubicBezTo>
                      <a:pt x="0" y="82429"/>
                      <a:pt x="12821" y="95250"/>
                      <a:pt x="28575" y="95250"/>
                    </a:cubicBezTo>
                    <a:lnTo>
                      <a:pt x="161925" y="95250"/>
                    </a:lnTo>
                    <a:cubicBezTo>
                      <a:pt x="177679" y="95250"/>
                      <a:pt x="190500" y="82429"/>
                      <a:pt x="190500" y="66675"/>
                    </a:cubicBezTo>
                    <a:lnTo>
                      <a:pt x="190500" y="9525"/>
                    </a:lnTo>
                    <a:close/>
                    <a:moveTo>
                      <a:pt x="171450" y="66675"/>
                    </a:moveTo>
                    <a:cubicBezTo>
                      <a:pt x="171450" y="71933"/>
                      <a:pt x="167173" y="76200"/>
                      <a:pt x="161925" y="76200"/>
                    </a:cubicBezTo>
                    <a:lnTo>
                      <a:pt x="28575" y="76200"/>
                    </a:lnTo>
                    <a:cubicBezTo>
                      <a:pt x="23327" y="76200"/>
                      <a:pt x="19050" y="71933"/>
                      <a:pt x="19050" y="66675"/>
                    </a:cubicBezTo>
                    <a:lnTo>
                      <a:pt x="19050" y="19050"/>
                    </a:lnTo>
                    <a:lnTo>
                      <a:pt x="171450" y="19050"/>
                    </a:lnTo>
                    <a:lnTo>
                      <a:pt x="171450" y="666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2FC3EFCC-276F-44A9-9550-127998B0F49D}"/>
                  </a:ext>
                </a:extLst>
              </p:cNvPr>
              <p:cNvSpPr/>
              <p:nvPr/>
            </p:nvSpPr>
            <p:spPr>
              <a:xfrm>
                <a:off x="2751376" y="2380218"/>
                <a:ext cx="266702" cy="57152"/>
              </a:xfrm>
              <a:custGeom>
                <a:avLst/>
                <a:gdLst>
                  <a:gd name="connsiteX0" fmla="*/ 244859 w 266702"/>
                  <a:gd name="connsiteY0" fmla="*/ 2793 h 57152"/>
                  <a:gd name="connsiteX1" fmla="*/ 231391 w 266702"/>
                  <a:gd name="connsiteY1" fmla="*/ 2793 h 57152"/>
                  <a:gd name="connsiteX2" fmla="*/ 231391 w 266702"/>
                  <a:gd name="connsiteY2" fmla="*/ 16262 h 57152"/>
                  <a:gd name="connsiteX3" fmla="*/ 234182 w 266702"/>
                  <a:gd name="connsiteY3" fmla="*/ 19052 h 57152"/>
                  <a:gd name="connsiteX4" fmla="*/ 154229 w 266702"/>
                  <a:gd name="connsiteY4" fmla="*/ 19052 h 57152"/>
                  <a:gd name="connsiteX5" fmla="*/ 108309 w 266702"/>
                  <a:gd name="connsiteY5" fmla="*/ 679 h 57152"/>
                  <a:gd name="connsiteX6" fmla="*/ 104775 w 266702"/>
                  <a:gd name="connsiteY6" fmla="*/ 2 h 57152"/>
                  <a:gd name="connsiteX7" fmla="*/ 9525 w 266702"/>
                  <a:gd name="connsiteY7" fmla="*/ 2 h 57152"/>
                  <a:gd name="connsiteX8" fmla="*/ 0 w 266702"/>
                  <a:gd name="connsiteY8" fmla="*/ 9527 h 57152"/>
                  <a:gd name="connsiteX9" fmla="*/ 9525 w 266702"/>
                  <a:gd name="connsiteY9" fmla="*/ 19052 h 57152"/>
                  <a:gd name="connsiteX10" fmla="*/ 102946 w 266702"/>
                  <a:gd name="connsiteY10" fmla="*/ 19052 h 57152"/>
                  <a:gd name="connsiteX11" fmla="*/ 148866 w 266702"/>
                  <a:gd name="connsiteY11" fmla="*/ 37426 h 57152"/>
                  <a:gd name="connsiteX12" fmla="*/ 152400 w 266702"/>
                  <a:gd name="connsiteY12" fmla="*/ 38102 h 57152"/>
                  <a:gd name="connsiteX13" fmla="*/ 234182 w 266702"/>
                  <a:gd name="connsiteY13" fmla="*/ 38102 h 57152"/>
                  <a:gd name="connsiteX14" fmla="*/ 231391 w 266702"/>
                  <a:gd name="connsiteY14" fmla="*/ 40893 h 57152"/>
                  <a:gd name="connsiteX15" fmla="*/ 231391 w 266702"/>
                  <a:gd name="connsiteY15" fmla="*/ 54362 h 57152"/>
                  <a:gd name="connsiteX16" fmla="*/ 238125 w 266702"/>
                  <a:gd name="connsiteY16" fmla="*/ 57152 h 57152"/>
                  <a:gd name="connsiteX17" fmla="*/ 244859 w 266702"/>
                  <a:gd name="connsiteY17" fmla="*/ 54362 h 57152"/>
                  <a:gd name="connsiteX18" fmla="*/ 263909 w 266702"/>
                  <a:gd name="connsiteY18" fmla="*/ 35312 h 57152"/>
                  <a:gd name="connsiteX19" fmla="*/ 263909 w 266702"/>
                  <a:gd name="connsiteY19" fmla="*/ 21843 h 57152"/>
                  <a:gd name="connsiteX20" fmla="*/ 244859 w 266702"/>
                  <a:gd name="connsiteY20" fmla="*/ 2793 h 5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66702" h="57152">
                    <a:moveTo>
                      <a:pt x="244859" y="2793"/>
                    </a:moveTo>
                    <a:cubicBezTo>
                      <a:pt x="241135" y="-931"/>
                      <a:pt x="235115" y="-931"/>
                      <a:pt x="231391" y="2793"/>
                    </a:cubicBezTo>
                    <a:cubicBezTo>
                      <a:pt x="227667" y="6517"/>
                      <a:pt x="227667" y="12537"/>
                      <a:pt x="231391" y="16262"/>
                    </a:cubicBezTo>
                    <a:lnTo>
                      <a:pt x="234182" y="19052"/>
                    </a:lnTo>
                    <a:lnTo>
                      <a:pt x="154229" y="19052"/>
                    </a:lnTo>
                    <a:lnTo>
                      <a:pt x="108309" y="679"/>
                    </a:lnTo>
                    <a:cubicBezTo>
                      <a:pt x="107185" y="231"/>
                      <a:pt x="105985" y="2"/>
                      <a:pt x="104775" y="2"/>
                    </a:cubicBezTo>
                    <a:lnTo>
                      <a:pt x="9525" y="2"/>
                    </a:lnTo>
                    <a:cubicBezTo>
                      <a:pt x="4267" y="2"/>
                      <a:pt x="0" y="4260"/>
                      <a:pt x="0" y="9527"/>
                    </a:cubicBezTo>
                    <a:cubicBezTo>
                      <a:pt x="0" y="14795"/>
                      <a:pt x="4267" y="19052"/>
                      <a:pt x="9525" y="19052"/>
                    </a:cubicBezTo>
                    <a:lnTo>
                      <a:pt x="102946" y="19052"/>
                    </a:lnTo>
                    <a:lnTo>
                      <a:pt x="148866" y="37426"/>
                    </a:lnTo>
                    <a:cubicBezTo>
                      <a:pt x="149990" y="37874"/>
                      <a:pt x="151190" y="38102"/>
                      <a:pt x="152400" y="38102"/>
                    </a:cubicBezTo>
                    <a:lnTo>
                      <a:pt x="234182" y="38102"/>
                    </a:lnTo>
                    <a:lnTo>
                      <a:pt x="231391" y="40893"/>
                    </a:lnTo>
                    <a:cubicBezTo>
                      <a:pt x="227667" y="44617"/>
                      <a:pt x="227667" y="50637"/>
                      <a:pt x="231391" y="54362"/>
                    </a:cubicBezTo>
                    <a:cubicBezTo>
                      <a:pt x="233248" y="56219"/>
                      <a:pt x="235687" y="57152"/>
                      <a:pt x="238125" y="57152"/>
                    </a:cubicBezTo>
                    <a:cubicBezTo>
                      <a:pt x="240563" y="57152"/>
                      <a:pt x="243002" y="56219"/>
                      <a:pt x="244859" y="54362"/>
                    </a:cubicBezTo>
                    <a:lnTo>
                      <a:pt x="263909" y="35312"/>
                    </a:lnTo>
                    <a:cubicBezTo>
                      <a:pt x="267633" y="31587"/>
                      <a:pt x="267633" y="25567"/>
                      <a:pt x="263909" y="21843"/>
                    </a:cubicBezTo>
                    <a:lnTo>
                      <a:pt x="244859" y="27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grpSp>
          <p:nvGrpSpPr>
            <p:cNvPr id="260" name="Graphic 45">
              <a:extLst>
                <a:ext uri="{FF2B5EF4-FFF2-40B4-BE49-F238E27FC236}">
                  <a16:creationId xmlns:a16="http://schemas.microsoft.com/office/drawing/2014/main" id="{7A9B350D-39E3-432B-AE13-41CC722CF822}"/>
                </a:ext>
              </a:extLst>
            </p:cNvPr>
            <p:cNvGrpSpPr/>
            <p:nvPr/>
          </p:nvGrpSpPr>
          <p:grpSpPr>
            <a:xfrm>
              <a:off x="2703814" y="3108328"/>
              <a:ext cx="332569" cy="332572"/>
              <a:chOff x="2711980" y="2894617"/>
              <a:chExt cx="332569" cy="332572"/>
            </a:xfrm>
            <a:solidFill>
              <a:schemeClr val="accent2"/>
            </a:solidFill>
          </p:grpSpPr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6BD004C0-2DA5-4C4A-B354-61A02F04EAED}"/>
                  </a:ext>
                </a:extLst>
              </p:cNvPr>
              <p:cNvSpPr/>
              <p:nvPr/>
            </p:nvSpPr>
            <p:spPr>
              <a:xfrm>
                <a:off x="2711980" y="3072783"/>
                <a:ext cx="142531" cy="154406"/>
              </a:xfrm>
              <a:custGeom>
                <a:avLst/>
                <a:gdLst>
                  <a:gd name="connsiteX0" fmla="*/ 142532 w 142531"/>
                  <a:gd name="connsiteY0" fmla="*/ 112836 h 154406"/>
                  <a:gd name="connsiteX1" fmla="*/ 71266 w 142531"/>
                  <a:gd name="connsiteY1" fmla="*/ 130653 h 154406"/>
                  <a:gd name="connsiteX2" fmla="*/ 0 w 142531"/>
                  <a:gd name="connsiteY2" fmla="*/ 112836 h 154406"/>
                  <a:gd name="connsiteX3" fmla="*/ 0 w 142531"/>
                  <a:gd name="connsiteY3" fmla="*/ 105109 h 154406"/>
                  <a:gd name="connsiteX4" fmla="*/ 71266 w 142531"/>
                  <a:gd name="connsiteY4" fmla="*/ 118776 h 154406"/>
                  <a:gd name="connsiteX5" fmla="*/ 142532 w 142531"/>
                  <a:gd name="connsiteY5" fmla="*/ 105109 h 154406"/>
                  <a:gd name="connsiteX6" fmla="*/ 142532 w 142531"/>
                  <a:gd name="connsiteY6" fmla="*/ 89082 h 154406"/>
                  <a:gd name="connsiteX7" fmla="*/ 71266 w 142531"/>
                  <a:gd name="connsiteY7" fmla="*/ 106898 h 154406"/>
                  <a:gd name="connsiteX8" fmla="*/ 0 w 142531"/>
                  <a:gd name="connsiteY8" fmla="*/ 89082 h 154406"/>
                  <a:gd name="connsiteX9" fmla="*/ 0 w 142531"/>
                  <a:gd name="connsiteY9" fmla="*/ 81354 h 154406"/>
                  <a:gd name="connsiteX10" fmla="*/ 71266 w 142531"/>
                  <a:gd name="connsiteY10" fmla="*/ 95021 h 154406"/>
                  <a:gd name="connsiteX11" fmla="*/ 142532 w 142531"/>
                  <a:gd name="connsiteY11" fmla="*/ 81354 h 154406"/>
                  <a:gd name="connsiteX12" fmla="*/ 142532 w 142531"/>
                  <a:gd name="connsiteY12" fmla="*/ 65327 h 154406"/>
                  <a:gd name="connsiteX13" fmla="*/ 71266 w 142531"/>
                  <a:gd name="connsiteY13" fmla="*/ 83143 h 154406"/>
                  <a:gd name="connsiteX14" fmla="*/ 0 w 142531"/>
                  <a:gd name="connsiteY14" fmla="*/ 65327 h 154406"/>
                  <a:gd name="connsiteX15" fmla="*/ 0 w 142531"/>
                  <a:gd name="connsiteY15" fmla="*/ 57599 h 154406"/>
                  <a:gd name="connsiteX16" fmla="*/ 71266 w 142531"/>
                  <a:gd name="connsiteY16" fmla="*/ 71266 h 154406"/>
                  <a:gd name="connsiteX17" fmla="*/ 142532 w 142531"/>
                  <a:gd name="connsiteY17" fmla="*/ 57599 h 154406"/>
                  <a:gd name="connsiteX18" fmla="*/ 142532 w 142531"/>
                  <a:gd name="connsiteY18" fmla="*/ 41572 h 154406"/>
                  <a:gd name="connsiteX19" fmla="*/ 71266 w 142531"/>
                  <a:gd name="connsiteY19" fmla="*/ 59388 h 154406"/>
                  <a:gd name="connsiteX20" fmla="*/ 0 w 142531"/>
                  <a:gd name="connsiteY20" fmla="*/ 41572 h 154406"/>
                  <a:gd name="connsiteX21" fmla="*/ 0 w 142531"/>
                  <a:gd name="connsiteY21" fmla="*/ 33844 h 154406"/>
                  <a:gd name="connsiteX22" fmla="*/ 71266 w 142531"/>
                  <a:gd name="connsiteY22" fmla="*/ 47511 h 154406"/>
                  <a:gd name="connsiteX23" fmla="*/ 142532 w 142531"/>
                  <a:gd name="connsiteY23" fmla="*/ 33844 h 154406"/>
                  <a:gd name="connsiteX24" fmla="*/ 71266 w 142531"/>
                  <a:gd name="connsiteY24" fmla="*/ 0 h 154406"/>
                  <a:gd name="connsiteX25" fmla="*/ 142532 w 142531"/>
                  <a:gd name="connsiteY25" fmla="*/ 17817 h 154406"/>
                  <a:gd name="connsiteX26" fmla="*/ 71266 w 142531"/>
                  <a:gd name="connsiteY26" fmla="*/ 35633 h 154406"/>
                  <a:gd name="connsiteX27" fmla="*/ 0 w 142531"/>
                  <a:gd name="connsiteY27" fmla="*/ 17817 h 154406"/>
                  <a:gd name="connsiteX28" fmla="*/ 71266 w 142531"/>
                  <a:gd name="connsiteY28" fmla="*/ 0 h 154406"/>
                  <a:gd name="connsiteX29" fmla="*/ 71266 w 142531"/>
                  <a:gd name="connsiteY29" fmla="*/ 154406 h 154406"/>
                  <a:gd name="connsiteX30" fmla="*/ 0 w 142531"/>
                  <a:gd name="connsiteY30" fmla="*/ 136590 h 154406"/>
                  <a:gd name="connsiteX31" fmla="*/ 0 w 142531"/>
                  <a:gd name="connsiteY31" fmla="*/ 128861 h 154406"/>
                  <a:gd name="connsiteX32" fmla="*/ 71266 w 142531"/>
                  <a:gd name="connsiteY32" fmla="*/ 142528 h 154406"/>
                  <a:gd name="connsiteX33" fmla="*/ 142532 w 142531"/>
                  <a:gd name="connsiteY33" fmla="*/ 128861 h 154406"/>
                  <a:gd name="connsiteX34" fmla="*/ 142532 w 142531"/>
                  <a:gd name="connsiteY34" fmla="*/ 136590 h 154406"/>
                  <a:gd name="connsiteX35" fmla="*/ 71266 w 142531"/>
                  <a:gd name="connsiteY35" fmla="*/ 154406 h 15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42531" h="154406">
                    <a:moveTo>
                      <a:pt x="142532" y="112836"/>
                    </a:moveTo>
                    <a:cubicBezTo>
                      <a:pt x="142532" y="119117"/>
                      <a:pt x="115474" y="130653"/>
                      <a:pt x="71266" y="130653"/>
                    </a:cubicBezTo>
                    <a:cubicBezTo>
                      <a:pt x="27058" y="130653"/>
                      <a:pt x="0" y="119117"/>
                      <a:pt x="0" y="112836"/>
                    </a:cubicBezTo>
                    <a:lnTo>
                      <a:pt x="0" y="105109"/>
                    </a:lnTo>
                    <a:cubicBezTo>
                      <a:pt x="15339" y="114115"/>
                      <a:pt x="43392" y="118776"/>
                      <a:pt x="71266" y="118776"/>
                    </a:cubicBezTo>
                    <a:cubicBezTo>
                      <a:pt x="99140" y="118776"/>
                      <a:pt x="127193" y="114116"/>
                      <a:pt x="142532" y="105109"/>
                    </a:cubicBezTo>
                    <a:close/>
                    <a:moveTo>
                      <a:pt x="142532" y="89082"/>
                    </a:moveTo>
                    <a:cubicBezTo>
                      <a:pt x="142532" y="95363"/>
                      <a:pt x="115474" y="106898"/>
                      <a:pt x="71266" y="106898"/>
                    </a:cubicBezTo>
                    <a:cubicBezTo>
                      <a:pt x="27058" y="106898"/>
                      <a:pt x="0" y="95363"/>
                      <a:pt x="0" y="89082"/>
                    </a:cubicBezTo>
                    <a:lnTo>
                      <a:pt x="0" y="81354"/>
                    </a:lnTo>
                    <a:cubicBezTo>
                      <a:pt x="15339" y="90360"/>
                      <a:pt x="43392" y="95021"/>
                      <a:pt x="71266" y="95021"/>
                    </a:cubicBezTo>
                    <a:cubicBezTo>
                      <a:pt x="99140" y="95021"/>
                      <a:pt x="127193" y="90360"/>
                      <a:pt x="142532" y="81354"/>
                    </a:cubicBezTo>
                    <a:close/>
                    <a:moveTo>
                      <a:pt x="142532" y="65327"/>
                    </a:moveTo>
                    <a:cubicBezTo>
                      <a:pt x="142532" y="71608"/>
                      <a:pt x="115474" y="83143"/>
                      <a:pt x="71266" y="83143"/>
                    </a:cubicBezTo>
                    <a:cubicBezTo>
                      <a:pt x="27058" y="83143"/>
                      <a:pt x="0" y="71608"/>
                      <a:pt x="0" y="65327"/>
                    </a:cubicBezTo>
                    <a:lnTo>
                      <a:pt x="0" y="57599"/>
                    </a:lnTo>
                    <a:cubicBezTo>
                      <a:pt x="15339" y="66605"/>
                      <a:pt x="43392" y="71266"/>
                      <a:pt x="71266" y="71266"/>
                    </a:cubicBezTo>
                    <a:cubicBezTo>
                      <a:pt x="99140" y="71266"/>
                      <a:pt x="127193" y="66606"/>
                      <a:pt x="142532" y="57599"/>
                    </a:cubicBezTo>
                    <a:close/>
                    <a:moveTo>
                      <a:pt x="142532" y="41572"/>
                    </a:moveTo>
                    <a:cubicBezTo>
                      <a:pt x="142532" y="47853"/>
                      <a:pt x="115474" y="59388"/>
                      <a:pt x="71266" y="59388"/>
                    </a:cubicBezTo>
                    <a:cubicBezTo>
                      <a:pt x="27058" y="59388"/>
                      <a:pt x="0" y="47853"/>
                      <a:pt x="0" y="41572"/>
                    </a:cubicBezTo>
                    <a:lnTo>
                      <a:pt x="0" y="33844"/>
                    </a:lnTo>
                    <a:cubicBezTo>
                      <a:pt x="15339" y="42850"/>
                      <a:pt x="43392" y="47511"/>
                      <a:pt x="71266" y="47511"/>
                    </a:cubicBezTo>
                    <a:cubicBezTo>
                      <a:pt x="99140" y="47511"/>
                      <a:pt x="127193" y="42851"/>
                      <a:pt x="142532" y="33844"/>
                    </a:cubicBezTo>
                    <a:close/>
                    <a:moveTo>
                      <a:pt x="71266" y="0"/>
                    </a:moveTo>
                    <a:cubicBezTo>
                      <a:pt x="115473" y="0"/>
                      <a:pt x="142532" y="11536"/>
                      <a:pt x="142532" y="17817"/>
                    </a:cubicBezTo>
                    <a:cubicBezTo>
                      <a:pt x="142532" y="24098"/>
                      <a:pt x="115474" y="35633"/>
                      <a:pt x="71266" y="35633"/>
                    </a:cubicBezTo>
                    <a:cubicBezTo>
                      <a:pt x="27058" y="35633"/>
                      <a:pt x="0" y="24098"/>
                      <a:pt x="0" y="17817"/>
                    </a:cubicBezTo>
                    <a:cubicBezTo>
                      <a:pt x="0" y="11536"/>
                      <a:pt x="27058" y="0"/>
                      <a:pt x="71266" y="0"/>
                    </a:cubicBezTo>
                    <a:close/>
                    <a:moveTo>
                      <a:pt x="71266" y="154406"/>
                    </a:moveTo>
                    <a:cubicBezTo>
                      <a:pt x="27058" y="154406"/>
                      <a:pt x="0" y="142871"/>
                      <a:pt x="0" y="136590"/>
                    </a:cubicBezTo>
                    <a:lnTo>
                      <a:pt x="0" y="128861"/>
                    </a:lnTo>
                    <a:cubicBezTo>
                      <a:pt x="15339" y="137868"/>
                      <a:pt x="43392" y="142528"/>
                      <a:pt x="71266" y="142528"/>
                    </a:cubicBezTo>
                    <a:cubicBezTo>
                      <a:pt x="99140" y="142528"/>
                      <a:pt x="127193" y="137868"/>
                      <a:pt x="142532" y="128861"/>
                    </a:cubicBezTo>
                    <a:lnTo>
                      <a:pt x="142532" y="136590"/>
                    </a:lnTo>
                    <a:cubicBezTo>
                      <a:pt x="142532" y="142871"/>
                      <a:pt x="115474" y="154406"/>
                      <a:pt x="71266" y="154406"/>
                    </a:cubicBezTo>
                    <a:close/>
                  </a:path>
                </a:pathLst>
              </a:custGeom>
              <a:grpFill/>
              <a:ln w="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0073924F-6838-4340-9F90-A396773D10B1}"/>
                  </a:ext>
                </a:extLst>
              </p:cNvPr>
              <p:cNvSpPr/>
              <p:nvPr/>
            </p:nvSpPr>
            <p:spPr>
              <a:xfrm>
                <a:off x="2902018" y="2894617"/>
                <a:ext cx="142531" cy="154406"/>
              </a:xfrm>
              <a:custGeom>
                <a:avLst/>
                <a:gdLst>
                  <a:gd name="connsiteX0" fmla="*/ 142532 w 142531"/>
                  <a:gd name="connsiteY0" fmla="*/ 112836 h 154406"/>
                  <a:gd name="connsiteX1" fmla="*/ 71266 w 142531"/>
                  <a:gd name="connsiteY1" fmla="*/ 130653 h 154406"/>
                  <a:gd name="connsiteX2" fmla="*/ 0 w 142531"/>
                  <a:gd name="connsiteY2" fmla="*/ 112836 h 154406"/>
                  <a:gd name="connsiteX3" fmla="*/ 0 w 142531"/>
                  <a:gd name="connsiteY3" fmla="*/ 105109 h 154406"/>
                  <a:gd name="connsiteX4" fmla="*/ 71266 w 142531"/>
                  <a:gd name="connsiteY4" fmla="*/ 118776 h 154406"/>
                  <a:gd name="connsiteX5" fmla="*/ 142532 w 142531"/>
                  <a:gd name="connsiteY5" fmla="*/ 105109 h 154406"/>
                  <a:gd name="connsiteX6" fmla="*/ 142532 w 142531"/>
                  <a:gd name="connsiteY6" fmla="*/ 89082 h 154406"/>
                  <a:gd name="connsiteX7" fmla="*/ 71266 w 142531"/>
                  <a:gd name="connsiteY7" fmla="*/ 106898 h 154406"/>
                  <a:gd name="connsiteX8" fmla="*/ 0 w 142531"/>
                  <a:gd name="connsiteY8" fmla="*/ 89082 h 154406"/>
                  <a:gd name="connsiteX9" fmla="*/ 0 w 142531"/>
                  <a:gd name="connsiteY9" fmla="*/ 81354 h 154406"/>
                  <a:gd name="connsiteX10" fmla="*/ 71266 w 142531"/>
                  <a:gd name="connsiteY10" fmla="*/ 95021 h 154406"/>
                  <a:gd name="connsiteX11" fmla="*/ 142532 w 142531"/>
                  <a:gd name="connsiteY11" fmla="*/ 81354 h 154406"/>
                  <a:gd name="connsiteX12" fmla="*/ 142532 w 142531"/>
                  <a:gd name="connsiteY12" fmla="*/ 65327 h 154406"/>
                  <a:gd name="connsiteX13" fmla="*/ 71266 w 142531"/>
                  <a:gd name="connsiteY13" fmla="*/ 83143 h 154406"/>
                  <a:gd name="connsiteX14" fmla="*/ 0 w 142531"/>
                  <a:gd name="connsiteY14" fmla="*/ 65327 h 154406"/>
                  <a:gd name="connsiteX15" fmla="*/ 0 w 142531"/>
                  <a:gd name="connsiteY15" fmla="*/ 57598 h 154406"/>
                  <a:gd name="connsiteX16" fmla="*/ 71266 w 142531"/>
                  <a:gd name="connsiteY16" fmla="*/ 71265 h 154406"/>
                  <a:gd name="connsiteX17" fmla="*/ 142532 w 142531"/>
                  <a:gd name="connsiteY17" fmla="*/ 57598 h 154406"/>
                  <a:gd name="connsiteX18" fmla="*/ 142532 w 142531"/>
                  <a:gd name="connsiteY18" fmla="*/ 41572 h 154406"/>
                  <a:gd name="connsiteX19" fmla="*/ 71266 w 142531"/>
                  <a:gd name="connsiteY19" fmla="*/ 59388 h 154406"/>
                  <a:gd name="connsiteX20" fmla="*/ 0 w 142531"/>
                  <a:gd name="connsiteY20" fmla="*/ 41572 h 154406"/>
                  <a:gd name="connsiteX21" fmla="*/ 0 w 142531"/>
                  <a:gd name="connsiteY21" fmla="*/ 33844 h 154406"/>
                  <a:gd name="connsiteX22" fmla="*/ 71266 w 142531"/>
                  <a:gd name="connsiteY22" fmla="*/ 47511 h 154406"/>
                  <a:gd name="connsiteX23" fmla="*/ 142532 w 142531"/>
                  <a:gd name="connsiteY23" fmla="*/ 33844 h 154406"/>
                  <a:gd name="connsiteX24" fmla="*/ 71266 w 142531"/>
                  <a:gd name="connsiteY24" fmla="*/ 0 h 154406"/>
                  <a:gd name="connsiteX25" fmla="*/ 142532 w 142531"/>
                  <a:gd name="connsiteY25" fmla="*/ 17817 h 154406"/>
                  <a:gd name="connsiteX26" fmla="*/ 71266 w 142531"/>
                  <a:gd name="connsiteY26" fmla="*/ 35633 h 154406"/>
                  <a:gd name="connsiteX27" fmla="*/ 0 w 142531"/>
                  <a:gd name="connsiteY27" fmla="*/ 17817 h 154406"/>
                  <a:gd name="connsiteX28" fmla="*/ 71266 w 142531"/>
                  <a:gd name="connsiteY28" fmla="*/ 0 h 154406"/>
                  <a:gd name="connsiteX29" fmla="*/ 71266 w 142531"/>
                  <a:gd name="connsiteY29" fmla="*/ 154406 h 154406"/>
                  <a:gd name="connsiteX30" fmla="*/ 0 w 142531"/>
                  <a:gd name="connsiteY30" fmla="*/ 136590 h 154406"/>
                  <a:gd name="connsiteX31" fmla="*/ 0 w 142531"/>
                  <a:gd name="connsiteY31" fmla="*/ 128862 h 154406"/>
                  <a:gd name="connsiteX32" fmla="*/ 71266 w 142531"/>
                  <a:gd name="connsiteY32" fmla="*/ 142529 h 154406"/>
                  <a:gd name="connsiteX33" fmla="*/ 142532 w 142531"/>
                  <a:gd name="connsiteY33" fmla="*/ 128862 h 154406"/>
                  <a:gd name="connsiteX34" fmla="*/ 142532 w 142531"/>
                  <a:gd name="connsiteY34" fmla="*/ 136590 h 154406"/>
                  <a:gd name="connsiteX35" fmla="*/ 71266 w 142531"/>
                  <a:gd name="connsiteY35" fmla="*/ 154406 h 15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42531" h="154406">
                    <a:moveTo>
                      <a:pt x="142532" y="112836"/>
                    </a:moveTo>
                    <a:cubicBezTo>
                      <a:pt x="142532" y="119117"/>
                      <a:pt x="115474" y="130653"/>
                      <a:pt x="71266" y="130653"/>
                    </a:cubicBezTo>
                    <a:cubicBezTo>
                      <a:pt x="27059" y="130653"/>
                      <a:pt x="0" y="119117"/>
                      <a:pt x="0" y="112836"/>
                    </a:cubicBezTo>
                    <a:lnTo>
                      <a:pt x="0" y="105109"/>
                    </a:lnTo>
                    <a:cubicBezTo>
                      <a:pt x="15338" y="114115"/>
                      <a:pt x="43392" y="118776"/>
                      <a:pt x="71266" y="118776"/>
                    </a:cubicBezTo>
                    <a:cubicBezTo>
                      <a:pt x="99140" y="118776"/>
                      <a:pt x="127193" y="114115"/>
                      <a:pt x="142532" y="105109"/>
                    </a:cubicBezTo>
                    <a:close/>
                    <a:moveTo>
                      <a:pt x="142532" y="89082"/>
                    </a:moveTo>
                    <a:cubicBezTo>
                      <a:pt x="142532" y="95363"/>
                      <a:pt x="115474" y="106898"/>
                      <a:pt x="71266" y="106898"/>
                    </a:cubicBezTo>
                    <a:cubicBezTo>
                      <a:pt x="27059" y="106898"/>
                      <a:pt x="0" y="95363"/>
                      <a:pt x="0" y="89082"/>
                    </a:cubicBezTo>
                    <a:lnTo>
                      <a:pt x="0" y="81354"/>
                    </a:lnTo>
                    <a:cubicBezTo>
                      <a:pt x="15338" y="90360"/>
                      <a:pt x="43392" y="95021"/>
                      <a:pt x="71266" y="95021"/>
                    </a:cubicBezTo>
                    <a:cubicBezTo>
                      <a:pt x="99140" y="95021"/>
                      <a:pt x="127193" y="90361"/>
                      <a:pt x="142532" y="81354"/>
                    </a:cubicBezTo>
                    <a:close/>
                    <a:moveTo>
                      <a:pt x="142532" y="65327"/>
                    </a:moveTo>
                    <a:cubicBezTo>
                      <a:pt x="142532" y="71607"/>
                      <a:pt x="115474" y="83143"/>
                      <a:pt x="71266" y="83143"/>
                    </a:cubicBezTo>
                    <a:cubicBezTo>
                      <a:pt x="27059" y="83143"/>
                      <a:pt x="0" y="71608"/>
                      <a:pt x="0" y="65327"/>
                    </a:cubicBezTo>
                    <a:lnTo>
                      <a:pt x="0" y="57598"/>
                    </a:lnTo>
                    <a:cubicBezTo>
                      <a:pt x="15338" y="66605"/>
                      <a:pt x="43392" y="71265"/>
                      <a:pt x="71266" y="71265"/>
                    </a:cubicBezTo>
                    <a:cubicBezTo>
                      <a:pt x="99140" y="71265"/>
                      <a:pt x="127193" y="66605"/>
                      <a:pt x="142532" y="57598"/>
                    </a:cubicBezTo>
                    <a:close/>
                    <a:moveTo>
                      <a:pt x="142532" y="41572"/>
                    </a:moveTo>
                    <a:cubicBezTo>
                      <a:pt x="142532" y="47852"/>
                      <a:pt x="115474" y="59388"/>
                      <a:pt x="71266" y="59388"/>
                    </a:cubicBezTo>
                    <a:cubicBezTo>
                      <a:pt x="27059" y="59388"/>
                      <a:pt x="0" y="47853"/>
                      <a:pt x="0" y="41572"/>
                    </a:cubicBezTo>
                    <a:lnTo>
                      <a:pt x="0" y="33844"/>
                    </a:lnTo>
                    <a:cubicBezTo>
                      <a:pt x="15338" y="42851"/>
                      <a:pt x="43392" y="47511"/>
                      <a:pt x="71266" y="47511"/>
                    </a:cubicBezTo>
                    <a:cubicBezTo>
                      <a:pt x="99140" y="47511"/>
                      <a:pt x="127193" y="42851"/>
                      <a:pt x="142532" y="33844"/>
                    </a:cubicBezTo>
                    <a:close/>
                    <a:moveTo>
                      <a:pt x="71266" y="0"/>
                    </a:moveTo>
                    <a:cubicBezTo>
                      <a:pt x="115474" y="0"/>
                      <a:pt x="142532" y="11536"/>
                      <a:pt x="142532" y="17817"/>
                    </a:cubicBezTo>
                    <a:cubicBezTo>
                      <a:pt x="142532" y="24098"/>
                      <a:pt x="115474" y="35633"/>
                      <a:pt x="71266" y="35633"/>
                    </a:cubicBezTo>
                    <a:cubicBezTo>
                      <a:pt x="27059" y="35633"/>
                      <a:pt x="0" y="24098"/>
                      <a:pt x="0" y="17817"/>
                    </a:cubicBezTo>
                    <a:cubicBezTo>
                      <a:pt x="0" y="11536"/>
                      <a:pt x="27058" y="0"/>
                      <a:pt x="71266" y="0"/>
                    </a:cubicBezTo>
                    <a:close/>
                    <a:moveTo>
                      <a:pt x="71266" y="154406"/>
                    </a:moveTo>
                    <a:cubicBezTo>
                      <a:pt x="27059" y="154406"/>
                      <a:pt x="0" y="142871"/>
                      <a:pt x="0" y="136590"/>
                    </a:cubicBezTo>
                    <a:lnTo>
                      <a:pt x="0" y="128862"/>
                    </a:lnTo>
                    <a:cubicBezTo>
                      <a:pt x="15338" y="137868"/>
                      <a:pt x="43392" y="142529"/>
                      <a:pt x="71266" y="142529"/>
                    </a:cubicBezTo>
                    <a:cubicBezTo>
                      <a:pt x="99140" y="142529"/>
                      <a:pt x="127193" y="137869"/>
                      <a:pt x="142532" y="128862"/>
                    </a:cubicBezTo>
                    <a:lnTo>
                      <a:pt x="142532" y="136590"/>
                    </a:lnTo>
                    <a:cubicBezTo>
                      <a:pt x="142532" y="142871"/>
                      <a:pt x="115474" y="154406"/>
                      <a:pt x="71266" y="154406"/>
                    </a:cubicBezTo>
                    <a:close/>
                  </a:path>
                </a:pathLst>
              </a:custGeom>
              <a:grpFill/>
              <a:ln w="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11AD3F1C-3DA6-4632-84A5-E52CA45623DF}"/>
                  </a:ext>
                </a:extLst>
              </p:cNvPr>
              <p:cNvSpPr/>
              <p:nvPr/>
            </p:nvSpPr>
            <p:spPr>
              <a:xfrm>
                <a:off x="2759514" y="2971820"/>
                <a:ext cx="142508" cy="77202"/>
              </a:xfrm>
              <a:custGeom>
                <a:avLst/>
                <a:gdLst>
                  <a:gd name="connsiteX0" fmla="*/ 37346 w 142508"/>
                  <a:gd name="connsiteY0" fmla="*/ 49250 h 77202"/>
                  <a:gd name="connsiteX1" fmla="*/ 29667 w 142508"/>
                  <a:gd name="connsiteY1" fmla="*/ 56929 h 77202"/>
                  <a:gd name="connsiteX2" fmla="*/ 29667 w 142508"/>
                  <a:gd name="connsiteY2" fmla="*/ 17816 h 77202"/>
                  <a:gd name="connsiteX3" fmla="*/ 35606 w 142508"/>
                  <a:gd name="connsiteY3" fmla="*/ 11877 h 77202"/>
                  <a:gd name="connsiteX4" fmla="*/ 136569 w 142508"/>
                  <a:gd name="connsiteY4" fmla="*/ 11877 h 77202"/>
                  <a:gd name="connsiteX5" fmla="*/ 142509 w 142508"/>
                  <a:gd name="connsiteY5" fmla="*/ 5939 h 77202"/>
                  <a:gd name="connsiteX6" fmla="*/ 136569 w 142508"/>
                  <a:gd name="connsiteY6" fmla="*/ 0 h 77202"/>
                  <a:gd name="connsiteX7" fmla="*/ 35606 w 142508"/>
                  <a:gd name="connsiteY7" fmla="*/ 0 h 77202"/>
                  <a:gd name="connsiteX8" fmla="*/ 17789 w 142508"/>
                  <a:gd name="connsiteY8" fmla="*/ 17816 h 77202"/>
                  <a:gd name="connsiteX9" fmla="*/ 17789 w 142508"/>
                  <a:gd name="connsiteY9" fmla="*/ 56929 h 77202"/>
                  <a:gd name="connsiteX10" fmla="*/ 10110 w 142508"/>
                  <a:gd name="connsiteY10" fmla="*/ 49250 h 77202"/>
                  <a:gd name="connsiteX11" fmla="*/ 1739 w 142508"/>
                  <a:gd name="connsiteY11" fmla="*/ 49277 h 77202"/>
                  <a:gd name="connsiteX12" fmla="*/ 1713 w 142508"/>
                  <a:gd name="connsiteY12" fmla="*/ 57648 h 77202"/>
                  <a:gd name="connsiteX13" fmla="*/ 19530 w 142508"/>
                  <a:gd name="connsiteY13" fmla="*/ 75464 h 77202"/>
                  <a:gd name="connsiteX14" fmla="*/ 19713 w 142508"/>
                  <a:gd name="connsiteY14" fmla="*/ 75586 h 77202"/>
                  <a:gd name="connsiteX15" fmla="*/ 21455 w 142508"/>
                  <a:gd name="connsiteY15" fmla="*/ 76752 h 77202"/>
                  <a:gd name="connsiteX16" fmla="*/ 21473 w 142508"/>
                  <a:gd name="connsiteY16" fmla="*/ 76756 h 77202"/>
                  <a:gd name="connsiteX17" fmla="*/ 27927 w 142508"/>
                  <a:gd name="connsiteY17" fmla="*/ 75464 h 77202"/>
                  <a:gd name="connsiteX18" fmla="*/ 45744 w 142508"/>
                  <a:gd name="connsiteY18" fmla="*/ 57648 h 77202"/>
                  <a:gd name="connsiteX19" fmla="*/ 45706 w 142508"/>
                  <a:gd name="connsiteY19" fmla="*/ 49288 h 77202"/>
                  <a:gd name="connsiteX20" fmla="*/ 37346 w 142508"/>
                  <a:gd name="connsiteY20" fmla="*/ 49250 h 7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2508" h="77202">
                    <a:moveTo>
                      <a:pt x="37346" y="49250"/>
                    </a:moveTo>
                    <a:lnTo>
                      <a:pt x="29667" y="56929"/>
                    </a:lnTo>
                    <a:lnTo>
                      <a:pt x="29667" y="17816"/>
                    </a:lnTo>
                    <a:cubicBezTo>
                      <a:pt x="29668" y="14537"/>
                      <a:pt x="32327" y="11879"/>
                      <a:pt x="35606" y="11877"/>
                    </a:cubicBezTo>
                    <a:lnTo>
                      <a:pt x="136569" y="11877"/>
                    </a:lnTo>
                    <a:cubicBezTo>
                      <a:pt x="139850" y="11877"/>
                      <a:pt x="142509" y="9219"/>
                      <a:pt x="142509" y="5939"/>
                    </a:cubicBezTo>
                    <a:cubicBezTo>
                      <a:pt x="142509" y="2659"/>
                      <a:pt x="139850" y="0"/>
                      <a:pt x="136569" y="0"/>
                    </a:cubicBezTo>
                    <a:lnTo>
                      <a:pt x="35606" y="0"/>
                    </a:lnTo>
                    <a:cubicBezTo>
                      <a:pt x="25767" y="2"/>
                      <a:pt x="17792" y="7978"/>
                      <a:pt x="17789" y="17816"/>
                    </a:cubicBezTo>
                    <a:lnTo>
                      <a:pt x="17789" y="56929"/>
                    </a:lnTo>
                    <a:lnTo>
                      <a:pt x="10110" y="49250"/>
                    </a:lnTo>
                    <a:cubicBezTo>
                      <a:pt x="7787" y="46956"/>
                      <a:pt x="4048" y="46968"/>
                      <a:pt x="1739" y="49277"/>
                    </a:cubicBezTo>
                    <a:cubicBezTo>
                      <a:pt x="-570" y="51586"/>
                      <a:pt x="-581" y="55325"/>
                      <a:pt x="1713" y="57648"/>
                    </a:cubicBezTo>
                    <a:lnTo>
                      <a:pt x="19530" y="75464"/>
                    </a:lnTo>
                    <a:cubicBezTo>
                      <a:pt x="19584" y="75519"/>
                      <a:pt x="19657" y="75535"/>
                      <a:pt x="19713" y="75586"/>
                    </a:cubicBezTo>
                    <a:cubicBezTo>
                      <a:pt x="20219" y="76077"/>
                      <a:pt x="20809" y="76471"/>
                      <a:pt x="21455" y="76752"/>
                    </a:cubicBezTo>
                    <a:lnTo>
                      <a:pt x="21473" y="76756"/>
                    </a:lnTo>
                    <a:cubicBezTo>
                      <a:pt x="23688" y="77667"/>
                      <a:pt x="26233" y="77158"/>
                      <a:pt x="27927" y="75464"/>
                    </a:cubicBezTo>
                    <a:lnTo>
                      <a:pt x="45744" y="57648"/>
                    </a:lnTo>
                    <a:cubicBezTo>
                      <a:pt x="48026" y="55323"/>
                      <a:pt x="48010" y="51593"/>
                      <a:pt x="45706" y="49288"/>
                    </a:cubicBezTo>
                    <a:cubicBezTo>
                      <a:pt x="43402" y="46984"/>
                      <a:pt x="39671" y="46967"/>
                      <a:pt x="37346" y="49250"/>
                    </a:cubicBezTo>
                    <a:close/>
                  </a:path>
                </a:pathLst>
              </a:custGeom>
              <a:grpFill/>
              <a:ln w="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08BC7299-DA9B-4466-A2F5-FC725AB871CB}"/>
                  </a:ext>
                </a:extLst>
              </p:cNvPr>
              <p:cNvSpPr/>
              <p:nvPr/>
            </p:nvSpPr>
            <p:spPr>
              <a:xfrm>
                <a:off x="2854505" y="3072828"/>
                <a:ext cx="142508" cy="77162"/>
              </a:xfrm>
              <a:custGeom>
                <a:avLst/>
                <a:gdLst>
                  <a:gd name="connsiteX0" fmla="*/ 140796 w 142508"/>
                  <a:gd name="connsiteY0" fmla="*/ 19515 h 77162"/>
                  <a:gd name="connsiteX1" fmla="*/ 122979 w 142508"/>
                  <a:gd name="connsiteY1" fmla="*/ 1698 h 77162"/>
                  <a:gd name="connsiteX2" fmla="*/ 122795 w 142508"/>
                  <a:gd name="connsiteY2" fmla="*/ 1576 h 77162"/>
                  <a:gd name="connsiteX3" fmla="*/ 121054 w 142508"/>
                  <a:gd name="connsiteY3" fmla="*/ 410 h 77162"/>
                  <a:gd name="connsiteX4" fmla="*/ 121033 w 142508"/>
                  <a:gd name="connsiteY4" fmla="*/ 406 h 77162"/>
                  <a:gd name="connsiteX5" fmla="*/ 120876 w 142508"/>
                  <a:gd name="connsiteY5" fmla="*/ 367 h 77162"/>
                  <a:gd name="connsiteX6" fmla="*/ 118996 w 142508"/>
                  <a:gd name="connsiteY6" fmla="*/ 0 h 77162"/>
                  <a:gd name="connsiteX7" fmla="*/ 118415 w 142508"/>
                  <a:gd name="connsiteY7" fmla="*/ 30 h 77162"/>
                  <a:gd name="connsiteX8" fmla="*/ 116908 w 142508"/>
                  <a:gd name="connsiteY8" fmla="*/ 322 h 77162"/>
                  <a:gd name="connsiteX9" fmla="*/ 116355 w 142508"/>
                  <a:gd name="connsiteY9" fmla="*/ 520 h 77162"/>
                  <a:gd name="connsiteX10" fmla="*/ 114582 w 142508"/>
                  <a:gd name="connsiteY10" fmla="*/ 1698 h 77162"/>
                  <a:gd name="connsiteX11" fmla="*/ 96765 w 142508"/>
                  <a:gd name="connsiteY11" fmla="*/ 19515 h 77162"/>
                  <a:gd name="connsiteX12" fmla="*/ 96795 w 142508"/>
                  <a:gd name="connsiteY12" fmla="*/ 27882 h 77162"/>
                  <a:gd name="connsiteX13" fmla="*/ 105162 w 142508"/>
                  <a:gd name="connsiteY13" fmla="*/ 27912 h 77162"/>
                  <a:gd name="connsiteX14" fmla="*/ 112841 w 142508"/>
                  <a:gd name="connsiteY14" fmla="*/ 20233 h 77162"/>
                  <a:gd name="connsiteX15" fmla="*/ 112841 w 142508"/>
                  <a:gd name="connsiteY15" fmla="*/ 59346 h 77162"/>
                  <a:gd name="connsiteX16" fmla="*/ 106903 w 142508"/>
                  <a:gd name="connsiteY16" fmla="*/ 65285 h 77162"/>
                  <a:gd name="connsiteX17" fmla="*/ 5939 w 142508"/>
                  <a:gd name="connsiteY17" fmla="*/ 65285 h 77162"/>
                  <a:gd name="connsiteX18" fmla="*/ 0 w 142508"/>
                  <a:gd name="connsiteY18" fmla="*/ 71223 h 77162"/>
                  <a:gd name="connsiteX19" fmla="*/ 5939 w 142508"/>
                  <a:gd name="connsiteY19" fmla="*/ 77162 h 77162"/>
                  <a:gd name="connsiteX20" fmla="*/ 106903 w 142508"/>
                  <a:gd name="connsiteY20" fmla="*/ 77162 h 77162"/>
                  <a:gd name="connsiteX21" fmla="*/ 124719 w 142508"/>
                  <a:gd name="connsiteY21" fmla="*/ 59346 h 77162"/>
                  <a:gd name="connsiteX22" fmla="*/ 124719 w 142508"/>
                  <a:gd name="connsiteY22" fmla="*/ 20233 h 77162"/>
                  <a:gd name="connsiteX23" fmla="*/ 132398 w 142508"/>
                  <a:gd name="connsiteY23" fmla="*/ 27912 h 77162"/>
                  <a:gd name="connsiteX24" fmla="*/ 140769 w 142508"/>
                  <a:gd name="connsiteY24" fmla="*/ 27885 h 77162"/>
                  <a:gd name="connsiteX25" fmla="*/ 140796 w 142508"/>
                  <a:gd name="connsiteY25" fmla="*/ 19515 h 77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2508" h="77162">
                    <a:moveTo>
                      <a:pt x="140796" y="19515"/>
                    </a:moveTo>
                    <a:lnTo>
                      <a:pt x="122979" y="1698"/>
                    </a:lnTo>
                    <a:cubicBezTo>
                      <a:pt x="122925" y="1643"/>
                      <a:pt x="122852" y="1628"/>
                      <a:pt x="122795" y="1576"/>
                    </a:cubicBezTo>
                    <a:cubicBezTo>
                      <a:pt x="122290" y="1085"/>
                      <a:pt x="121700" y="691"/>
                      <a:pt x="121054" y="410"/>
                    </a:cubicBezTo>
                    <a:lnTo>
                      <a:pt x="121033" y="406"/>
                    </a:lnTo>
                    <a:cubicBezTo>
                      <a:pt x="120982" y="384"/>
                      <a:pt x="120927" y="386"/>
                      <a:pt x="120876" y="367"/>
                    </a:cubicBezTo>
                    <a:cubicBezTo>
                      <a:pt x="120273" y="142"/>
                      <a:pt x="119639" y="19"/>
                      <a:pt x="118996" y="0"/>
                    </a:cubicBezTo>
                    <a:cubicBezTo>
                      <a:pt x="118802" y="0"/>
                      <a:pt x="118608" y="10"/>
                      <a:pt x="118415" y="30"/>
                    </a:cubicBezTo>
                    <a:cubicBezTo>
                      <a:pt x="117903" y="60"/>
                      <a:pt x="117396" y="159"/>
                      <a:pt x="116908" y="322"/>
                    </a:cubicBezTo>
                    <a:cubicBezTo>
                      <a:pt x="116720" y="379"/>
                      <a:pt x="116536" y="444"/>
                      <a:pt x="116355" y="520"/>
                    </a:cubicBezTo>
                    <a:cubicBezTo>
                      <a:pt x="115698" y="801"/>
                      <a:pt x="115095" y="1200"/>
                      <a:pt x="114582" y="1698"/>
                    </a:cubicBezTo>
                    <a:lnTo>
                      <a:pt x="96765" y="19515"/>
                    </a:lnTo>
                    <a:cubicBezTo>
                      <a:pt x="94475" y="21838"/>
                      <a:pt x="94489" y="25575"/>
                      <a:pt x="96795" y="27882"/>
                    </a:cubicBezTo>
                    <a:cubicBezTo>
                      <a:pt x="99102" y="30188"/>
                      <a:pt x="102839" y="30202"/>
                      <a:pt x="105162" y="27912"/>
                    </a:cubicBezTo>
                    <a:lnTo>
                      <a:pt x="112841" y="20233"/>
                    </a:lnTo>
                    <a:lnTo>
                      <a:pt x="112841" y="59346"/>
                    </a:lnTo>
                    <a:cubicBezTo>
                      <a:pt x="112840" y="62625"/>
                      <a:pt x="110182" y="65283"/>
                      <a:pt x="106903" y="65285"/>
                    </a:cubicBezTo>
                    <a:lnTo>
                      <a:pt x="5939" y="65285"/>
                    </a:lnTo>
                    <a:cubicBezTo>
                      <a:pt x="2659" y="65285"/>
                      <a:pt x="0" y="67944"/>
                      <a:pt x="0" y="71223"/>
                    </a:cubicBezTo>
                    <a:cubicBezTo>
                      <a:pt x="0" y="74504"/>
                      <a:pt x="2659" y="77162"/>
                      <a:pt x="5939" y="77162"/>
                    </a:cubicBezTo>
                    <a:lnTo>
                      <a:pt x="106903" y="77162"/>
                    </a:lnTo>
                    <a:cubicBezTo>
                      <a:pt x="116741" y="77160"/>
                      <a:pt x="124717" y="69184"/>
                      <a:pt x="124719" y="59346"/>
                    </a:cubicBezTo>
                    <a:lnTo>
                      <a:pt x="124719" y="20233"/>
                    </a:lnTo>
                    <a:lnTo>
                      <a:pt x="132398" y="27912"/>
                    </a:lnTo>
                    <a:cubicBezTo>
                      <a:pt x="134722" y="30206"/>
                      <a:pt x="138461" y="30194"/>
                      <a:pt x="140769" y="27885"/>
                    </a:cubicBezTo>
                    <a:cubicBezTo>
                      <a:pt x="143078" y="25577"/>
                      <a:pt x="143090" y="21837"/>
                      <a:pt x="140796" y="19515"/>
                    </a:cubicBezTo>
                    <a:close/>
                  </a:path>
                </a:pathLst>
              </a:custGeom>
              <a:grpFill/>
              <a:ln w="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6F76C7B-12B2-4877-A57B-718AA4220FDE}"/>
                </a:ext>
              </a:extLst>
            </p:cNvPr>
            <p:cNvSpPr txBox="1"/>
            <p:nvPr/>
          </p:nvSpPr>
          <p:spPr>
            <a:xfrm>
              <a:off x="2505160" y="2610582"/>
              <a:ext cx="9252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b="0">
                  <a:solidFill>
                    <a:schemeClr val="accent2"/>
                  </a:solidFill>
                </a:rPr>
                <a:t>Change Data </a:t>
              </a:r>
            </a:p>
            <a:p>
              <a:pPr algn="ctr"/>
              <a:r>
                <a:rPr lang="en-AU" b="0">
                  <a:solidFill>
                    <a:schemeClr val="accent2"/>
                  </a:solidFill>
                </a:rPr>
                <a:t>Capture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7CA9D3B1-193D-4EE8-A4CC-82FC5E4B7A01}"/>
                </a:ext>
              </a:extLst>
            </p:cNvPr>
            <p:cNvSpPr txBox="1"/>
            <p:nvPr/>
          </p:nvSpPr>
          <p:spPr>
            <a:xfrm>
              <a:off x="2576181" y="3553598"/>
              <a:ext cx="67999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b="0">
                  <a:solidFill>
                    <a:schemeClr val="accent2"/>
                  </a:solidFill>
                </a:rPr>
                <a:t>Replicate</a:t>
              </a:r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4A7A3FEE-6E40-422E-8B1D-A0C76B749238}"/>
                </a:ext>
              </a:extLst>
            </p:cNvPr>
            <p:cNvGrpSpPr/>
            <p:nvPr/>
          </p:nvGrpSpPr>
          <p:grpSpPr>
            <a:xfrm>
              <a:off x="2689399" y="3964578"/>
              <a:ext cx="467678" cy="353377"/>
              <a:chOff x="2662682" y="4034655"/>
              <a:chExt cx="467678" cy="353377"/>
            </a:xfrm>
            <a:solidFill>
              <a:schemeClr val="accent2"/>
            </a:solidFill>
          </p:grpSpPr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F64EB8D9-A82C-4AA6-8CBD-33C225DA1A33}"/>
                  </a:ext>
                </a:extLst>
              </p:cNvPr>
              <p:cNvSpPr/>
              <p:nvPr/>
            </p:nvSpPr>
            <p:spPr>
              <a:xfrm rot="16200000">
                <a:off x="2842229" y="4261826"/>
                <a:ext cx="1904" cy="2857"/>
              </a:xfrm>
              <a:custGeom>
                <a:avLst/>
                <a:gdLst>
                  <a:gd name="connsiteX0" fmla="*/ 0 w 1904"/>
                  <a:gd name="connsiteY0" fmla="*/ 0 h 2857"/>
                  <a:gd name="connsiteX1" fmla="*/ 1905 w 1904"/>
                  <a:gd name="connsiteY1" fmla="*/ 2857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4" h="2857">
                    <a:moveTo>
                      <a:pt x="0" y="0"/>
                    </a:moveTo>
                    <a:lnTo>
                      <a:pt x="1905" y="2857"/>
                    </a:ln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9502FE11-5280-4A6B-AC98-759659D04E72}"/>
                  </a:ext>
                </a:extLst>
              </p:cNvPr>
              <p:cNvSpPr/>
              <p:nvPr/>
            </p:nvSpPr>
            <p:spPr>
              <a:xfrm rot="16200000">
                <a:off x="2819369" y="4155146"/>
                <a:ext cx="3809" cy="2857"/>
              </a:xfrm>
              <a:custGeom>
                <a:avLst/>
                <a:gdLst>
                  <a:gd name="connsiteX0" fmla="*/ 0 w 3809"/>
                  <a:gd name="connsiteY0" fmla="*/ 2858 h 2857"/>
                  <a:gd name="connsiteX1" fmla="*/ 3810 w 3809"/>
                  <a:gd name="connsiteY1" fmla="*/ 0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09" h="2857">
                    <a:moveTo>
                      <a:pt x="0" y="2858"/>
                    </a:moveTo>
                    <a:lnTo>
                      <a:pt x="3810" y="0"/>
                    </a:ln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5D6C8062-11CA-49E0-B99F-67CEAE9B6C9E}"/>
                  </a:ext>
                </a:extLst>
              </p:cNvPr>
              <p:cNvSpPr/>
              <p:nvPr/>
            </p:nvSpPr>
            <p:spPr>
              <a:xfrm rot="16200000">
                <a:off x="2995581" y="4189436"/>
                <a:ext cx="2857" cy="1904"/>
              </a:xfrm>
              <a:custGeom>
                <a:avLst/>
                <a:gdLst>
                  <a:gd name="connsiteX0" fmla="*/ 0 w 2857"/>
                  <a:gd name="connsiteY0" fmla="*/ 1905 h 1904"/>
                  <a:gd name="connsiteX1" fmla="*/ 2857 w 2857"/>
                  <a:gd name="connsiteY1" fmla="*/ 0 h 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" h="1904">
                    <a:moveTo>
                      <a:pt x="0" y="1905"/>
                    </a:moveTo>
                    <a:lnTo>
                      <a:pt x="2857" y="0"/>
                    </a:ln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C21A7058-E5E7-49B6-B620-54694C0FEF9E}"/>
                  </a:ext>
                </a:extLst>
              </p:cNvPr>
              <p:cNvSpPr/>
              <p:nvPr/>
            </p:nvSpPr>
            <p:spPr>
              <a:xfrm rot="16200000">
                <a:off x="2872709" y="4015128"/>
                <a:ext cx="47625" cy="467677"/>
              </a:xfrm>
              <a:custGeom>
                <a:avLst/>
                <a:gdLst>
                  <a:gd name="connsiteX0" fmla="*/ 13335 w 47625"/>
                  <a:gd name="connsiteY0" fmla="*/ 105728 h 467677"/>
                  <a:gd name="connsiteX1" fmla="*/ 13335 w 47625"/>
                  <a:gd name="connsiteY1" fmla="*/ 81915 h 467677"/>
                  <a:gd name="connsiteX2" fmla="*/ 19050 w 47625"/>
                  <a:gd name="connsiteY2" fmla="*/ 81915 h 467677"/>
                  <a:gd name="connsiteX3" fmla="*/ 19050 w 47625"/>
                  <a:gd name="connsiteY3" fmla="*/ 0 h 467677"/>
                  <a:gd name="connsiteX4" fmla="*/ 0 w 47625"/>
                  <a:gd name="connsiteY4" fmla="*/ 0 h 467677"/>
                  <a:gd name="connsiteX5" fmla="*/ 0 w 47625"/>
                  <a:gd name="connsiteY5" fmla="*/ 81915 h 467677"/>
                  <a:gd name="connsiteX6" fmla="*/ 5715 w 47625"/>
                  <a:gd name="connsiteY6" fmla="*/ 81915 h 467677"/>
                  <a:gd name="connsiteX7" fmla="*/ 5715 w 47625"/>
                  <a:gd name="connsiteY7" fmla="*/ 109538 h 467677"/>
                  <a:gd name="connsiteX8" fmla="*/ 40005 w 47625"/>
                  <a:gd name="connsiteY8" fmla="*/ 139065 h 467677"/>
                  <a:gd name="connsiteX9" fmla="*/ 40005 w 47625"/>
                  <a:gd name="connsiteY9" fmla="*/ 467678 h 467677"/>
                  <a:gd name="connsiteX10" fmla="*/ 47625 w 47625"/>
                  <a:gd name="connsiteY10" fmla="*/ 467678 h 467677"/>
                  <a:gd name="connsiteX11" fmla="*/ 47625 w 47625"/>
                  <a:gd name="connsiteY11" fmla="*/ 136208 h 46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625" h="467677">
                    <a:moveTo>
                      <a:pt x="13335" y="105728"/>
                    </a:moveTo>
                    <a:lnTo>
                      <a:pt x="13335" y="81915"/>
                    </a:lnTo>
                    <a:lnTo>
                      <a:pt x="19050" y="81915"/>
                    </a:lnTo>
                    <a:lnTo>
                      <a:pt x="19050" y="0"/>
                    </a:lnTo>
                    <a:lnTo>
                      <a:pt x="0" y="0"/>
                    </a:lnTo>
                    <a:lnTo>
                      <a:pt x="0" y="81915"/>
                    </a:lnTo>
                    <a:lnTo>
                      <a:pt x="5715" y="81915"/>
                    </a:lnTo>
                    <a:lnTo>
                      <a:pt x="5715" y="109538"/>
                    </a:lnTo>
                    <a:lnTo>
                      <a:pt x="40005" y="139065"/>
                    </a:lnTo>
                    <a:lnTo>
                      <a:pt x="40005" y="467678"/>
                    </a:lnTo>
                    <a:lnTo>
                      <a:pt x="47625" y="467678"/>
                    </a:lnTo>
                    <a:lnTo>
                      <a:pt x="47625" y="13620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1EF8DC58-45E7-424F-BA3F-F5B23329D558}"/>
                  </a:ext>
                </a:extLst>
              </p:cNvPr>
              <p:cNvSpPr/>
              <p:nvPr/>
            </p:nvSpPr>
            <p:spPr>
              <a:xfrm rot="16200000">
                <a:off x="2872709" y="4049419"/>
                <a:ext cx="47625" cy="467677"/>
              </a:xfrm>
              <a:custGeom>
                <a:avLst/>
                <a:gdLst>
                  <a:gd name="connsiteX0" fmla="*/ 13335 w 47625"/>
                  <a:gd name="connsiteY0" fmla="*/ 122873 h 467677"/>
                  <a:gd name="connsiteX1" fmla="*/ 13335 w 47625"/>
                  <a:gd name="connsiteY1" fmla="*/ 81915 h 467677"/>
                  <a:gd name="connsiteX2" fmla="*/ 19050 w 47625"/>
                  <a:gd name="connsiteY2" fmla="*/ 81915 h 467677"/>
                  <a:gd name="connsiteX3" fmla="*/ 19050 w 47625"/>
                  <a:gd name="connsiteY3" fmla="*/ 0 h 467677"/>
                  <a:gd name="connsiteX4" fmla="*/ 0 w 47625"/>
                  <a:gd name="connsiteY4" fmla="*/ 0 h 467677"/>
                  <a:gd name="connsiteX5" fmla="*/ 0 w 47625"/>
                  <a:gd name="connsiteY5" fmla="*/ 81915 h 467677"/>
                  <a:gd name="connsiteX6" fmla="*/ 5715 w 47625"/>
                  <a:gd name="connsiteY6" fmla="*/ 81915 h 467677"/>
                  <a:gd name="connsiteX7" fmla="*/ 5715 w 47625"/>
                  <a:gd name="connsiteY7" fmla="*/ 125730 h 467677"/>
                  <a:gd name="connsiteX8" fmla="*/ 40005 w 47625"/>
                  <a:gd name="connsiteY8" fmla="*/ 156210 h 467677"/>
                  <a:gd name="connsiteX9" fmla="*/ 40005 w 47625"/>
                  <a:gd name="connsiteY9" fmla="*/ 467678 h 467677"/>
                  <a:gd name="connsiteX10" fmla="*/ 47625 w 47625"/>
                  <a:gd name="connsiteY10" fmla="*/ 467678 h 467677"/>
                  <a:gd name="connsiteX11" fmla="*/ 47625 w 47625"/>
                  <a:gd name="connsiteY11" fmla="*/ 152400 h 46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625" h="467677">
                    <a:moveTo>
                      <a:pt x="13335" y="122873"/>
                    </a:moveTo>
                    <a:lnTo>
                      <a:pt x="13335" y="81915"/>
                    </a:lnTo>
                    <a:lnTo>
                      <a:pt x="19050" y="81915"/>
                    </a:lnTo>
                    <a:lnTo>
                      <a:pt x="19050" y="0"/>
                    </a:lnTo>
                    <a:lnTo>
                      <a:pt x="0" y="0"/>
                    </a:lnTo>
                    <a:lnTo>
                      <a:pt x="0" y="81915"/>
                    </a:lnTo>
                    <a:lnTo>
                      <a:pt x="5715" y="81915"/>
                    </a:lnTo>
                    <a:lnTo>
                      <a:pt x="5715" y="125730"/>
                    </a:lnTo>
                    <a:lnTo>
                      <a:pt x="40005" y="156210"/>
                    </a:lnTo>
                    <a:lnTo>
                      <a:pt x="40005" y="467678"/>
                    </a:lnTo>
                    <a:lnTo>
                      <a:pt x="47625" y="467678"/>
                    </a:lnTo>
                    <a:lnTo>
                      <a:pt x="47625" y="1524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4A46859B-9220-468F-80FB-CC1B0511823A}"/>
                  </a:ext>
                </a:extLst>
              </p:cNvPr>
              <p:cNvSpPr/>
              <p:nvPr/>
            </p:nvSpPr>
            <p:spPr>
              <a:xfrm rot="16200000">
                <a:off x="2875090" y="3938452"/>
                <a:ext cx="42862" cy="467677"/>
              </a:xfrm>
              <a:custGeom>
                <a:avLst/>
                <a:gdLst>
                  <a:gd name="connsiteX0" fmla="*/ 42863 w 42862"/>
                  <a:gd name="connsiteY0" fmla="*/ 0 h 467677"/>
                  <a:gd name="connsiteX1" fmla="*/ 23813 w 42862"/>
                  <a:gd name="connsiteY1" fmla="*/ 0 h 467677"/>
                  <a:gd name="connsiteX2" fmla="*/ 23813 w 42862"/>
                  <a:gd name="connsiteY2" fmla="*/ 81915 h 467677"/>
                  <a:gd name="connsiteX3" fmla="*/ 30480 w 42862"/>
                  <a:gd name="connsiteY3" fmla="*/ 81915 h 467677"/>
                  <a:gd name="connsiteX4" fmla="*/ 30480 w 42862"/>
                  <a:gd name="connsiteY4" fmla="*/ 96203 h 467677"/>
                  <a:gd name="connsiteX5" fmla="*/ 0 w 42862"/>
                  <a:gd name="connsiteY5" fmla="*/ 126683 h 467677"/>
                  <a:gd name="connsiteX6" fmla="*/ 0 w 42862"/>
                  <a:gd name="connsiteY6" fmla="*/ 467678 h 467677"/>
                  <a:gd name="connsiteX7" fmla="*/ 6668 w 42862"/>
                  <a:gd name="connsiteY7" fmla="*/ 467678 h 467677"/>
                  <a:gd name="connsiteX8" fmla="*/ 6668 w 42862"/>
                  <a:gd name="connsiteY8" fmla="*/ 131445 h 467677"/>
                  <a:gd name="connsiteX9" fmla="*/ 36195 w 42862"/>
                  <a:gd name="connsiteY9" fmla="*/ 100965 h 467677"/>
                  <a:gd name="connsiteX10" fmla="*/ 36195 w 42862"/>
                  <a:gd name="connsiteY10" fmla="*/ 81915 h 467677"/>
                  <a:gd name="connsiteX11" fmla="*/ 42863 w 42862"/>
                  <a:gd name="connsiteY11" fmla="*/ 81915 h 46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862" h="467677">
                    <a:moveTo>
                      <a:pt x="42863" y="0"/>
                    </a:moveTo>
                    <a:lnTo>
                      <a:pt x="23813" y="0"/>
                    </a:lnTo>
                    <a:lnTo>
                      <a:pt x="23813" y="81915"/>
                    </a:lnTo>
                    <a:lnTo>
                      <a:pt x="30480" y="81915"/>
                    </a:lnTo>
                    <a:lnTo>
                      <a:pt x="30480" y="96203"/>
                    </a:lnTo>
                    <a:lnTo>
                      <a:pt x="0" y="126683"/>
                    </a:lnTo>
                    <a:lnTo>
                      <a:pt x="0" y="467678"/>
                    </a:lnTo>
                    <a:lnTo>
                      <a:pt x="6668" y="467678"/>
                    </a:lnTo>
                    <a:lnTo>
                      <a:pt x="6668" y="131445"/>
                    </a:lnTo>
                    <a:lnTo>
                      <a:pt x="36195" y="100965"/>
                    </a:lnTo>
                    <a:lnTo>
                      <a:pt x="36195" y="81915"/>
                    </a:lnTo>
                    <a:lnTo>
                      <a:pt x="42863" y="8191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E6D56BD5-488A-456D-9A62-5F5AD6B4107B}"/>
                  </a:ext>
                </a:extLst>
              </p:cNvPr>
              <p:cNvSpPr/>
              <p:nvPr/>
            </p:nvSpPr>
            <p:spPr>
              <a:xfrm rot="16200000">
                <a:off x="2874614" y="3904639"/>
                <a:ext cx="43815" cy="467677"/>
              </a:xfrm>
              <a:custGeom>
                <a:avLst/>
                <a:gdLst>
                  <a:gd name="connsiteX0" fmla="*/ 43815 w 43815"/>
                  <a:gd name="connsiteY0" fmla="*/ 0 h 467677"/>
                  <a:gd name="connsiteX1" fmla="*/ 24765 w 43815"/>
                  <a:gd name="connsiteY1" fmla="*/ 0 h 467677"/>
                  <a:gd name="connsiteX2" fmla="*/ 24765 w 43815"/>
                  <a:gd name="connsiteY2" fmla="*/ 81915 h 467677"/>
                  <a:gd name="connsiteX3" fmla="*/ 30480 w 43815"/>
                  <a:gd name="connsiteY3" fmla="*/ 81915 h 467677"/>
                  <a:gd name="connsiteX4" fmla="*/ 30480 w 43815"/>
                  <a:gd name="connsiteY4" fmla="*/ 119063 h 467677"/>
                  <a:gd name="connsiteX5" fmla="*/ 0 w 43815"/>
                  <a:gd name="connsiteY5" fmla="*/ 148590 h 467677"/>
                  <a:gd name="connsiteX6" fmla="*/ 0 w 43815"/>
                  <a:gd name="connsiteY6" fmla="*/ 467678 h 467677"/>
                  <a:gd name="connsiteX7" fmla="*/ 7620 w 43815"/>
                  <a:gd name="connsiteY7" fmla="*/ 467678 h 467677"/>
                  <a:gd name="connsiteX8" fmla="*/ 7620 w 43815"/>
                  <a:gd name="connsiteY8" fmla="*/ 151448 h 467677"/>
                  <a:gd name="connsiteX9" fmla="*/ 38100 w 43815"/>
                  <a:gd name="connsiteY9" fmla="*/ 121920 h 467677"/>
                  <a:gd name="connsiteX10" fmla="*/ 38100 w 43815"/>
                  <a:gd name="connsiteY10" fmla="*/ 81915 h 467677"/>
                  <a:gd name="connsiteX11" fmla="*/ 43815 w 43815"/>
                  <a:gd name="connsiteY11" fmla="*/ 81915 h 46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3815" h="467677">
                    <a:moveTo>
                      <a:pt x="43815" y="0"/>
                    </a:moveTo>
                    <a:lnTo>
                      <a:pt x="24765" y="0"/>
                    </a:lnTo>
                    <a:lnTo>
                      <a:pt x="24765" y="81915"/>
                    </a:lnTo>
                    <a:lnTo>
                      <a:pt x="30480" y="81915"/>
                    </a:lnTo>
                    <a:lnTo>
                      <a:pt x="30480" y="119063"/>
                    </a:lnTo>
                    <a:lnTo>
                      <a:pt x="0" y="148590"/>
                    </a:lnTo>
                    <a:lnTo>
                      <a:pt x="0" y="467678"/>
                    </a:lnTo>
                    <a:lnTo>
                      <a:pt x="7620" y="467678"/>
                    </a:lnTo>
                    <a:lnTo>
                      <a:pt x="7620" y="151448"/>
                    </a:lnTo>
                    <a:lnTo>
                      <a:pt x="38100" y="121920"/>
                    </a:lnTo>
                    <a:lnTo>
                      <a:pt x="38100" y="81915"/>
                    </a:lnTo>
                    <a:lnTo>
                      <a:pt x="43815" y="8191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DA64D39E-51A1-4B49-81DB-FE080B3CFEF4}"/>
                  </a:ext>
                </a:extLst>
              </p:cNvPr>
              <p:cNvSpPr/>
              <p:nvPr/>
            </p:nvSpPr>
            <p:spPr>
              <a:xfrm rot="16200000">
                <a:off x="2804605" y="4330882"/>
                <a:ext cx="35242" cy="35242"/>
              </a:xfrm>
              <a:custGeom>
                <a:avLst/>
                <a:gdLst>
                  <a:gd name="connsiteX0" fmla="*/ 0 w 35242"/>
                  <a:gd name="connsiteY0" fmla="*/ 0 h 35242"/>
                  <a:gd name="connsiteX1" fmla="*/ 35243 w 35242"/>
                  <a:gd name="connsiteY1" fmla="*/ 0 h 35242"/>
                  <a:gd name="connsiteX2" fmla="*/ 35243 w 35242"/>
                  <a:gd name="connsiteY2" fmla="*/ 35243 h 35242"/>
                  <a:gd name="connsiteX3" fmla="*/ 0 w 35242"/>
                  <a:gd name="connsiteY3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42" h="35242">
                    <a:moveTo>
                      <a:pt x="0" y="0"/>
                    </a:moveTo>
                    <a:lnTo>
                      <a:pt x="35243" y="0"/>
                    </a:lnTo>
                    <a:lnTo>
                      <a:pt x="35243" y="35243"/>
                    </a:lnTo>
                    <a:lnTo>
                      <a:pt x="0" y="352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11353330-6314-4DD6-9BE6-A9624BBEE4BC}"/>
                  </a:ext>
                </a:extLst>
              </p:cNvPr>
              <p:cNvSpPr/>
              <p:nvPr/>
            </p:nvSpPr>
            <p:spPr>
              <a:xfrm rot="16200000">
                <a:off x="2992248" y="4352790"/>
                <a:ext cx="35242" cy="35242"/>
              </a:xfrm>
              <a:custGeom>
                <a:avLst/>
                <a:gdLst>
                  <a:gd name="connsiteX0" fmla="*/ 0 w 35242"/>
                  <a:gd name="connsiteY0" fmla="*/ 0 h 35242"/>
                  <a:gd name="connsiteX1" fmla="*/ 35243 w 35242"/>
                  <a:gd name="connsiteY1" fmla="*/ 0 h 35242"/>
                  <a:gd name="connsiteX2" fmla="*/ 35243 w 35242"/>
                  <a:gd name="connsiteY2" fmla="*/ 35243 h 35242"/>
                  <a:gd name="connsiteX3" fmla="*/ 0 w 35242"/>
                  <a:gd name="connsiteY3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42" h="35242">
                    <a:moveTo>
                      <a:pt x="0" y="0"/>
                    </a:moveTo>
                    <a:lnTo>
                      <a:pt x="35243" y="0"/>
                    </a:lnTo>
                    <a:lnTo>
                      <a:pt x="35243" y="35243"/>
                    </a:lnTo>
                    <a:lnTo>
                      <a:pt x="0" y="352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A92829E8-ED55-4F55-936E-68D79162F55D}"/>
                  </a:ext>
                </a:extLst>
              </p:cNvPr>
              <p:cNvSpPr/>
              <p:nvPr/>
            </p:nvSpPr>
            <p:spPr>
              <a:xfrm rot="16200000">
                <a:off x="2812225" y="4056562"/>
                <a:ext cx="35242" cy="35242"/>
              </a:xfrm>
              <a:custGeom>
                <a:avLst/>
                <a:gdLst>
                  <a:gd name="connsiteX0" fmla="*/ 0 w 35242"/>
                  <a:gd name="connsiteY0" fmla="*/ 0 h 35242"/>
                  <a:gd name="connsiteX1" fmla="*/ 35243 w 35242"/>
                  <a:gd name="connsiteY1" fmla="*/ 0 h 35242"/>
                  <a:gd name="connsiteX2" fmla="*/ 35243 w 35242"/>
                  <a:gd name="connsiteY2" fmla="*/ 35243 h 35242"/>
                  <a:gd name="connsiteX3" fmla="*/ 0 w 35242"/>
                  <a:gd name="connsiteY3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42" h="35242">
                    <a:moveTo>
                      <a:pt x="0" y="0"/>
                    </a:moveTo>
                    <a:lnTo>
                      <a:pt x="35243" y="0"/>
                    </a:lnTo>
                    <a:lnTo>
                      <a:pt x="35243" y="35243"/>
                    </a:lnTo>
                    <a:lnTo>
                      <a:pt x="0" y="3524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221E956F-899B-401C-BE24-7EE82FDD8C0C}"/>
                  </a:ext>
                </a:extLst>
              </p:cNvPr>
              <p:cNvSpPr/>
              <p:nvPr/>
            </p:nvSpPr>
            <p:spPr>
              <a:xfrm rot="16200000">
                <a:off x="3023680" y="4075612"/>
                <a:ext cx="35242" cy="35242"/>
              </a:xfrm>
              <a:custGeom>
                <a:avLst/>
                <a:gdLst>
                  <a:gd name="connsiteX0" fmla="*/ 0 w 35242"/>
                  <a:gd name="connsiteY0" fmla="*/ 0 h 35242"/>
                  <a:gd name="connsiteX1" fmla="*/ 35243 w 35242"/>
                  <a:gd name="connsiteY1" fmla="*/ 0 h 35242"/>
                  <a:gd name="connsiteX2" fmla="*/ 35243 w 35242"/>
                  <a:gd name="connsiteY2" fmla="*/ 35242 h 35242"/>
                  <a:gd name="connsiteX3" fmla="*/ 0 w 35242"/>
                  <a:gd name="connsiteY3" fmla="*/ 35242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242" h="35242">
                    <a:moveTo>
                      <a:pt x="0" y="0"/>
                    </a:moveTo>
                    <a:lnTo>
                      <a:pt x="35243" y="0"/>
                    </a:lnTo>
                    <a:lnTo>
                      <a:pt x="35243" y="35242"/>
                    </a:lnTo>
                    <a:lnTo>
                      <a:pt x="0" y="3524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C035A9B8-40DA-4D42-8094-053A82DDF211}"/>
                  </a:ext>
                </a:extLst>
              </p:cNvPr>
              <p:cNvSpPr/>
              <p:nvPr/>
            </p:nvSpPr>
            <p:spPr>
              <a:xfrm rot="16200000">
                <a:off x="2944623" y="4292782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8 w 10477"/>
                  <a:gd name="connsiteY1" fmla="*/ 0 h 10477"/>
                  <a:gd name="connsiteX2" fmla="*/ 10478 w 10477"/>
                  <a:gd name="connsiteY2" fmla="*/ 10477 h 10477"/>
                  <a:gd name="connsiteX3" fmla="*/ 0 w 10477"/>
                  <a:gd name="connsiteY3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8" y="0"/>
                    </a:lnTo>
                    <a:lnTo>
                      <a:pt x="10478" y="10477"/>
                    </a:lnTo>
                    <a:lnTo>
                      <a:pt x="0" y="104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521F01CE-CBEB-48A5-8202-DA14D27FF777}"/>
                  </a:ext>
                </a:extLst>
              </p:cNvPr>
              <p:cNvSpPr/>
              <p:nvPr/>
            </p:nvSpPr>
            <p:spPr>
              <a:xfrm rot="16200000">
                <a:off x="2967483" y="4318500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7 w 10477"/>
                  <a:gd name="connsiteY1" fmla="*/ 0 h 10477"/>
                  <a:gd name="connsiteX2" fmla="*/ 10477 w 10477"/>
                  <a:gd name="connsiteY2" fmla="*/ 10477 h 10477"/>
                  <a:gd name="connsiteX3" fmla="*/ 0 w 10477"/>
                  <a:gd name="connsiteY3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7" y="0"/>
                    </a:lnTo>
                    <a:lnTo>
                      <a:pt x="10477" y="10477"/>
                    </a:lnTo>
                    <a:lnTo>
                      <a:pt x="0" y="104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15A6E123-522F-408B-AD80-6230DF9B9E0E}"/>
                  </a:ext>
                </a:extLst>
              </p:cNvPr>
              <p:cNvSpPr/>
              <p:nvPr/>
            </p:nvSpPr>
            <p:spPr>
              <a:xfrm rot="16200000">
                <a:off x="2860803" y="4373745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7 w 10477"/>
                  <a:gd name="connsiteY1" fmla="*/ 0 h 10477"/>
                  <a:gd name="connsiteX2" fmla="*/ 10477 w 10477"/>
                  <a:gd name="connsiteY2" fmla="*/ 10478 h 10477"/>
                  <a:gd name="connsiteX3" fmla="*/ 0 w 10477"/>
                  <a:gd name="connsiteY3" fmla="*/ 10478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7" y="0"/>
                    </a:lnTo>
                    <a:lnTo>
                      <a:pt x="10477" y="10478"/>
                    </a:lnTo>
                    <a:lnTo>
                      <a:pt x="0" y="104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452D64C9-D958-40DD-8586-05C55DD86763}"/>
                  </a:ext>
                </a:extLst>
              </p:cNvPr>
              <p:cNvSpPr/>
              <p:nvPr/>
            </p:nvSpPr>
            <p:spPr>
              <a:xfrm rot="16200000">
                <a:off x="2906523" y="4121332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7 w 10477"/>
                  <a:gd name="connsiteY1" fmla="*/ 0 h 10477"/>
                  <a:gd name="connsiteX2" fmla="*/ 10477 w 10477"/>
                  <a:gd name="connsiteY2" fmla="*/ 10477 h 10477"/>
                  <a:gd name="connsiteX3" fmla="*/ 0 w 10477"/>
                  <a:gd name="connsiteY3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7" y="0"/>
                    </a:lnTo>
                    <a:lnTo>
                      <a:pt x="10477" y="10477"/>
                    </a:lnTo>
                    <a:lnTo>
                      <a:pt x="0" y="104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ABC885A0-AD56-4178-9F99-43A0A6D4FB80}"/>
                  </a:ext>
                </a:extLst>
              </p:cNvPr>
              <p:cNvSpPr/>
              <p:nvPr/>
            </p:nvSpPr>
            <p:spPr>
              <a:xfrm rot="16200000">
                <a:off x="2865565" y="4048942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8 w 10477"/>
                  <a:gd name="connsiteY1" fmla="*/ 0 h 10477"/>
                  <a:gd name="connsiteX2" fmla="*/ 10478 w 10477"/>
                  <a:gd name="connsiteY2" fmla="*/ 10478 h 10477"/>
                  <a:gd name="connsiteX3" fmla="*/ 0 w 10477"/>
                  <a:gd name="connsiteY3" fmla="*/ 10478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8" y="0"/>
                    </a:lnTo>
                    <a:lnTo>
                      <a:pt x="10478" y="10478"/>
                    </a:lnTo>
                    <a:lnTo>
                      <a:pt x="0" y="104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C6DF94A4-BF9F-490A-BD00-75A15560F425}"/>
                  </a:ext>
                </a:extLst>
              </p:cNvPr>
              <p:cNvSpPr/>
              <p:nvPr/>
            </p:nvSpPr>
            <p:spPr>
              <a:xfrm rot="16200000">
                <a:off x="3016060" y="4132762"/>
                <a:ext cx="10477" cy="10477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10478 w 10477"/>
                  <a:gd name="connsiteY1" fmla="*/ 0 h 10477"/>
                  <a:gd name="connsiteX2" fmla="*/ 10478 w 10477"/>
                  <a:gd name="connsiteY2" fmla="*/ 10477 h 10477"/>
                  <a:gd name="connsiteX3" fmla="*/ 0 w 10477"/>
                  <a:gd name="connsiteY3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10478" y="0"/>
                    </a:lnTo>
                    <a:lnTo>
                      <a:pt x="10478" y="10477"/>
                    </a:lnTo>
                    <a:lnTo>
                      <a:pt x="0" y="104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80689201-A3DD-4B9D-983E-C1122ED2582A}"/>
                  </a:ext>
                </a:extLst>
              </p:cNvPr>
              <p:cNvSpPr/>
              <p:nvPr/>
            </p:nvSpPr>
            <p:spPr>
              <a:xfrm rot="16200000">
                <a:off x="2880804" y="4307069"/>
                <a:ext cx="22860" cy="22859"/>
              </a:xfrm>
              <a:custGeom>
                <a:avLst/>
                <a:gdLst>
                  <a:gd name="connsiteX0" fmla="*/ 0 w 22860"/>
                  <a:gd name="connsiteY0" fmla="*/ 0 h 22859"/>
                  <a:gd name="connsiteX1" fmla="*/ 22860 w 22860"/>
                  <a:gd name="connsiteY1" fmla="*/ 0 h 22859"/>
                  <a:gd name="connsiteX2" fmla="*/ 22860 w 22860"/>
                  <a:gd name="connsiteY2" fmla="*/ 22860 h 22859"/>
                  <a:gd name="connsiteX3" fmla="*/ 0 w 22860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6BDC2314-F309-4987-91ED-9C606C6B23C9}"/>
                  </a:ext>
                </a:extLst>
              </p:cNvPr>
              <p:cNvSpPr/>
              <p:nvPr/>
            </p:nvSpPr>
            <p:spPr>
              <a:xfrm rot="16200000">
                <a:off x="3038919" y="4312784"/>
                <a:ext cx="22860" cy="22859"/>
              </a:xfrm>
              <a:custGeom>
                <a:avLst/>
                <a:gdLst>
                  <a:gd name="connsiteX0" fmla="*/ 0 w 22860"/>
                  <a:gd name="connsiteY0" fmla="*/ 0 h 22859"/>
                  <a:gd name="connsiteX1" fmla="*/ 22860 w 22860"/>
                  <a:gd name="connsiteY1" fmla="*/ 0 h 22859"/>
                  <a:gd name="connsiteX2" fmla="*/ 22860 w 22860"/>
                  <a:gd name="connsiteY2" fmla="*/ 22860 h 22859"/>
                  <a:gd name="connsiteX3" fmla="*/ 0 w 22860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646C5732-1522-4079-8557-E581488E4863}"/>
                  </a:ext>
                </a:extLst>
              </p:cNvPr>
              <p:cNvSpPr/>
              <p:nvPr/>
            </p:nvSpPr>
            <p:spPr>
              <a:xfrm rot="16200000">
                <a:off x="2838895" y="4111808"/>
                <a:ext cx="22859" cy="22859"/>
              </a:xfrm>
              <a:custGeom>
                <a:avLst/>
                <a:gdLst>
                  <a:gd name="connsiteX0" fmla="*/ 0 w 22859"/>
                  <a:gd name="connsiteY0" fmla="*/ 0 h 22859"/>
                  <a:gd name="connsiteX1" fmla="*/ 22860 w 22859"/>
                  <a:gd name="connsiteY1" fmla="*/ 0 h 22859"/>
                  <a:gd name="connsiteX2" fmla="*/ 22860 w 22859"/>
                  <a:gd name="connsiteY2" fmla="*/ 22860 h 22859"/>
                  <a:gd name="connsiteX3" fmla="*/ 0 w 22859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42252A07-6158-42FA-A86F-3514A9DDABBA}"/>
                  </a:ext>
                </a:extLst>
              </p:cNvPr>
              <p:cNvSpPr/>
              <p:nvPr/>
            </p:nvSpPr>
            <p:spPr>
              <a:xfrm rot="16200000">
                <a:off x="2909380" y="4061325"/>
                <a:ext cx="22859" cy="22859"/>
              </a:xfrm>
              <a:custGeom>
                <a:avLst/>
                <a:gdLst>
                  <a:gd name="connsiteX0" fmla="*/ 0 w 22859"/>
                  <a:gd name="connsiteY0" fmla="*/ 0 h 22859"/>
                  <a:gd name="connsiteX1" fmla="*/ 22860 w 22859"/>
                  <a:gd name="connsiteY1" fmla="*/ 0 h 22859"/>
                  <a:gd name="connsiteX2" fmla="*/ 22860 w 22859"/>
                  <a:gd name="connsiteY2" fmla="*/ 22860 h 22859"/>
                  <a:gd name="connsiteX3" fmla="*/ 0 w 22859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246CF972-5E4A-478F-A7A9-ABF66B4E59A1}"/>
                  </a:ext>
                </a:extLst>
              </p:cNvPr>
              <p:cNvSpPr/>
              <p:nvPr/>
            </p:nvSpPr>
            <p:spPr>
              <a:xfrm rot="16200000">
                <a:off x="2957958" y="4092758"/>
                <a:ext cx="22859" cy="22859"/>
              </a:xfrm>
              <a:custGeom>
                <a:avLst/>
                <a:gdLst>
                  <a:gd name="connsiteX0" fmla="*/ 0 w 22859"/>
                  <a:gd name="connsiteY0" fmla="*/ 0 h 22859"/>
                  <a:gd name="connsiteX1" fmla="*/ 22860 w 22859"/>
                  <a:gd name="connsiteY1" fmla="*/ 0 h 22859"/>
                  <a:gd name="connsiteX2" fmla="*/ 22860 w 22859"/>
                  <a:gd name="connsiteY2" fmla="*/ 22860 h 22859"/>
                  <a:gd name="connsiteX3" fmla="*/ 0 w 22859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28F060FA-3837-421D-896E-C1DE23F43598}"/>
                  </a:ext>
                </a:extLst>
              </p:cNvPr>
              <p:cNvSpPr/>
              <p:nvPr/>
            </p:nvSpPr>
            <p:spPr>
              <a:xfrm rot="16200000">
                <a:off x="2988438" y="4034655"/>
                <a:ext cx="22859" cy="22859"/>
              </a:xfrm>
              <a:custGeom>
                <a:avLst/>
                <a:gdLst>
                  <a:gd name="connsiteX0" fmla="*/ 0 w 22859"/>
                  <a:gd name="connsiteY0" fmla="*/ 0 h 22859"/>
                  <a:gd name="connsiteX1" fmla="*/ 22860 w 22859"/>
                  <a:gd name="connsiteY1" fmla="*/ 0 h 22859"/>
                  <a:gd name="connsiteX2" fmla="*/ 22860 w 22859"/>
                  <a:gd name="connsiteY2" fmla="*/ 22860 h 22859"/>
                  <a:gd name="connsiteX3" fmla="*/ 0 w 22859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A2EB0CA0-F2F9-4456-BC21-FBDA1B9F03D4}"/>
                  </a:ext>
                </a:extLst>
              </p:cNvPr>
              <p:cNvSpPr/>
              <p:nvPr/>
            </p:nvSpPr>
            <p:spPr>
              <a:xfrm rot="16200000">
                <a:off x="2929382" y="4345169"/>
                <a:ext cx="22860" cy="22859"/>
              </a:xfrm>
              <a:custGeom>
                <a:avLst/>
                <a:gdLst>
                  <a:gd name="connsiteX0" fmla="*/ 0 w 22860"/>
                  <a:gd name="connsiteY0" fmla="*/ 0 h 22859"/>
                  <a:gd name="connsiteX1" fmla="*/ 22860 w 22860"/>
                  <a:gd name="connsiteY1" fmla="*/ 0 h 22859"/>
                  <a:gd name="connsiteX2" fmla="*/ 22860 w 22860"/>
                  <a:gd name="connsiteY2" fmla="*/ 22860 h 22859"/>
                  <a:gd name="connsiteX3" fmla="*/ 0 w 22860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ACF0C4B5-ACDB-4BBD-9105-F094466B54D3}"/>
                  </a:ext>
                </a:extLst>
              </p:cNvPr>
              <p:cNvSpPr/>
              <p:nvPr/>
            </p:nvSpPr>
            <p:spPr>
              <a:xfrm rot="16200000">
                <a:off x="2977959" y="4280399"/>
                <a:ext cx="22860" cy="22859"/>
              </a:xfrm>
              <a:custGeom>
                <a:avLst/>
                <a:gdLst>
                  <a:gd name="connsiteX0" fmla="*/ 0 w 22860"/>
                  <a:gd name="connsiteY0" fmla="*/ 0 h 22859"/>
                  <a:gd name="connsiteX1" fmla="*/ 22860 w 22860"/>
                  <a:gd name="connsiteY1" fmla="*/ 0 h 22859"/>
                  <a:gd name="connsiteX2" fmla="*/ 22860 w 22860"/>
                  <a:gd name="connsiteY2" fmla="*/ 22860 h 22859"/>
                  <a:gd name="connsiteX3" fmla="*/ 0 w 22860"/>
                  <a:gd name="connsiteY3" fmla="*/ 22860 h 22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" h="22859">
                    <a:moveTo>
                      <a:pt x="0" y="0"/>
                    </a:moveTo>
                    <a:lnTo>
                      <a:pt x="22860" y="0"/>
                    </a:lnTo>
                    <a:lnTo>
                      <a:pt x="22860" y="22860"/>
                    </a:lnTo>
                    <a:lnTo>
                      <a:pt x="0" y="228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C573167C-A187-4439-BD46-1B48CD3FC185}"/>
                </a:ext>
              </a:extLst>
            </p:cNvPr>
            <p:cNvSpPr txBox="1"/>
            <p:nvPr/>
          </p:nvSpPr>
          <p:spPr>
            <a:xfrm>
              <a:off x="2628293" y="4353651"/>
              <a:ext cx="5645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b="0">
                  <a:solidFill>
                    <a:schemeClr val="accent2"/>
                  </a:solidFill>
                </a:rPr>
                <a:t>Stream</a:t>
              </a:r>
            </a:p>
          </p:txBody>
        </p:sp>
        <p:grpSp>
          <p:nvGrpSpPr>
            <p:cNvPr id="294" name="Graphic 510">
              <a:extLst>
                <a:ext uri="{FF2B5EF4-FFF2-40B4-BE49-F238E27FC236}">
                  <a16:creationId xmlns:a16="http://schemas.microsoft.com/office/drawing/2014/main" id="{DFEA4DD8-D719-4D80-8167-9C7D7CC712A3}"/>
                </a:ext>
              </a:extLst>
            </p:cNvPr>
            <p:cNvGrpSpPr/>
            <p:nvPr/>
          </p:nvGrpSpPr>
          <p:grpSpPr>
            <a:xfrm>
              <a:off x="2691080" y="4897503"/>
              <a:ext cx="445592" cy="445592"/>
              <a:chOff x="2699601" y="4969464"/>
              <a:chExt cx="445592" cy="445592"/>
            </a:xfrm>
            <a:solidFill>
              <a:schemeClr val="accent2"/>
            </a:solidFill>
          </p:grpSpPr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06382A47-F8F4-48A0-9157-54C447BC6601}"/>
                  </a:ext>
                </a:extLst>
              </p:cNvPr>
              <p:cNvSpPr/>
              <p:nvPr/>
            </p:nvSpPr>
            <p:spPr>
              <a:xfrm>
                <a:off x="2779168" y="5049033"/>
                <a:ext cx="284165" cy="286452"/>
              </a:xfrm>
              <a:custGeom>
                <a:avLst/>
                <a:gdLst>
                  <a:gd name="connsiteX0" fmla="*/ 173911 w 284165"/>
                  <a:gd name="connsiteY0" fmla="*/ 286453 h 286452"/>
                  <a:gd name="connsiteX1" fmla="*/ 110255 w 284165"/>
                  <a:gd name="connsiteY1" fmla="*/ 286453 h 286452"/>
                  <a:gd name="connsiteX2" fmla="*/ 94341 w 284165"/>
                  <a:gd name="connsiteY2" fmla="*/ 270539 h 286452"/>
                  <a:gd name="connsiteX3" fmla="*/ 94341 w 284165"/>
                  <a:gd name="connsiteY3" fmla="*/ 243792 h 286452"/>
                  <a:gd name="connsiteX4" fmla="*/ 78847 w 284165"/>
                  <a:gd name="connsiteY4" fmla="*/ 234872 h 286452"/>
                  <a:gd name="connsiteX5" fmla="*/ 55699 w 284165"/>
                  <a:gd name="connsiteY5" fmla="*/ 248237 h 286452"/>
                  <a:gd name="connsiteX6" fmla="*/ 43624 w 284165"/>
                  <a:gd name="connsiteY6" fmla="*/ 249821 h 286452"/>
                  <a:gd name="connsiteX7" fmla="*/ 33958 w 284165"/>
                  <a:gd name="connsiteY7" fmla="*/ 242409 h 286452"/>
                  <a:gd name="connsiteX8" fmla="*/ 2129 w 284165"/>
                  <a:gd name="connsiteY8" fmla="*/ 187270 h 286452"/>
                  <a:gd name="connsiteX9" fmla="*/ 544 w 284165"/>
                  <a:gd name="connsiteY9" fmla="*/ 175195 h 286452"/>
                  <a:gd name="connsiteX10" fmla="*/ 7957 w 284165"/>
                  <a:gd name="connsiteY10" fmla="*/ 165528 h 286452"/>
                  <a:gd name="connsiteX11" fmla="*/ 31074 w 284165"/>
                  <a:gd name="connsiteY11" fmla="*/ 152194 h 286452"/>
                  <a:gd name="connsiteX12" fmla="*/ 30685 w 284165"/>
                  <a:gd name="connsiteY12" fmla="*/ 143227 h 286452"/>
                  <a:gd name="connsiteX13" fmla="*/ 31074 w 284165"/>
                  <a:gd name="connsiteY13" fmla="*/ 134258 h 286452"/>
                  <a:gd name="connsiteX14" fmla="*/ 7957 w 284165"/>
                  <a:gd name="connsiteY14" fmla="*/ 120925 h 286452"/>
                  <a:gd name="connsiteX15" fmla="*/ 544 w 284165"/>
                  <a:gd name="connsiteY15" fmla="*/ 111259 h 286452"/>
                  <a:gd name="connsiteX16" fmla="*/ 2129 w 284165"/>
                  <a:gd name="connsiteY16" fmla="*/ 99184 h 286452"/>
                  <a:gd name="connsiteX17" fmla="*/ 33957 w 284165"/>
                  <a:gd name="connsiteY17" fmla="*/ 44044 h 286452"/>
                  <a:gd name="connsiteX18" fmla="*/ 43622 w 284165"/>
                  <a:gd name="connsiteY18" fmla="*/ 36631 h 286452"/>
                  <a:gd name="connsiteX19" fmla="*/ 55699 w 284165"/>
                  <a:gd name="connsiteY19" fmla="*/ 38216 h 286452"/>
                  <a:gd name="connsiteX20" fmla="*/ 78847 w 284165"/>
                  <a:gd name="connsiteY20" fmla="*/ 51581 h 286452"/>
                  <a:gd name="connsiteX21" fmla="*/ 94341 w 284165"/>
                  <a:gd name="connsiteY21" fmla="*/ 42660 h 286452"/>
                  <a:gd name="connsiteX22" fmla="*/ 94341 w 284165"/>
                  <a:gd name="connsiteY22" fmla="*/ 15914 h 286452"/>
                  <a:gd name="connsiteX23" fmla="*/ 110255 w 284165"/>
                  <a:gd name="connsiteY23" fmla="*/ 0 h 286452"/>
                  <a:gd name="connsiteX24" fmla="*/ 173911 w 284165"/>
                  <a:gd name="connsiteY24" fmla="*/ 0 h 286452"/>
                  <a:gd name="connsiteX25" fmla="*/ 189825 w 284165"/>
                  <a:gd name="connsiteY25" fmla="*/ 15914 h 286452"/>
                  <a:gd name="connsiteX26" fmla="*/ 189825 w 284165"/>
                  <a:gd name="connsiteY26" fmla="*/ 42660 h 286452"/>
                  <a:gd name="connsiteX27" fmla="*/ 205318 w 284165"/>
                  <a:gd name="connsiteY27" fmla="*/ 51581 h 286452"/>
                  <a:gd name="connsiteX28" fmla="*/ 228467 w 284165"/>
                  <a:gd name="connsiteY28" fmla="*/ 38216 h 286452"/>
                  <a:gd name="connsiteX29" fmla="*/ 240541 w 284165"/>
                  <a:gd name="connsiteY29" fmla="*/ 36631 h 286452"/>
                  <a:gd name="connsiteX30" fmla="*/ 250207 w 284165"/>
                  <a:gd name="connsiteY30" fmla="*/ 44044 h 286452"/>
                  <a:gd name="connsiteX31" fmla="*/ 282035 w 284165"/>
                  <a:gd name="connsiteY31" fmla="*/ 99183 h 286452"/>
                  <a:gd name="connsiteX32" fmla="*/ 283621 w 284165"/>
                  <a:gd name="connsiteY32" fmla="*/ 111257 h 286452"/>
                  <a:gd name="connsiteX33" fmla="*/ 276209 w 284165"/>
                  <a:gd name="connsiteY33" fmla="*/ 120925 h 286452"/>
                  <a:gd name="connsiteX34" fmla="*/ 253092 w 284165"/>
                  <a:gd name="connsiteY34" fmla="*/ 134258 h 286452"/>
                  <a:gd name="connsiteX35" fmla="*/ 253479 w 284165"/>
                  <a:gd name="connsiteY35" fmla="*/ 143227 h 286452"/>
                  <a:gd name="connsiteX36" fmla="*/ 253092 w 284165"/>
                  <a:gd name="connsiteY36" fmla="*/ 152194 h 286452"/>
                  <a:gd name="connsiteX37" fmla="*/ 276209 w 284165"/>
                  <a:gd name="connsiteY37" fmla="*/ 165529 h 286452"/>
                  <a:gd name="connsiteX38" fmla="*/ 283621 w 284165"/>
                  <a:gd name="connsiteY38" fmla="*/ 175195 h 286452"/>
                  <a:gd name="connsiteX39" fmla="*/ 282035 w 284165"/>
                  <a:gd name="connsiteY39" fmla="*/ 187270 h 286452"/>
                  <a:gd name="connsiteX40" fmla="*/ 250207 w 284165"/>
                  <a:gd name="connsiteY40" fmla="*/ 242409 h 286452"/>
                  <a:gd name="connsiteX41" fmla="*/ 240541 w 284165"/>
                  <a:gd name="connsiteY41" fmla="*/ 249821 h 286452"/>
                  <a:gd name="connsiteX42" fmla="*/ 228467 w 284165"/>
                  <a:gd name="connsiteY42" fmla="*/ 248237 h 286452"/>
                  <a:gd name="connsiteX43" fmla="*/ 205318 w 284165"/>
                  <a:gd name="connsiteY43" fmla="*/ 234872 h 286452"/>
                  <a:gd name="connsiteX44" fmla="*/ 189825 w 284165"/>
                  <a:gd name="connsiteY44" fmla="*/ 243792 h 286452"/>
                  <a:gd name="connsiteX45" fmla="*/ 189825 w 284165"/>
                  <a:gd name="connsiteY45" fmla="*/ 270539 h 286452"/>
                  <a:gd name="connsiteX46" fmla="*/ 173911 w 284165"/>
                  <a:gd name="connsiteY46" fmla="*/ 286453 h 286452"/>
                  <a:gd name="connsiteX47" fmla="*/ 126169 w 284165"/>
                  <a:gd name="connsiteY47" fmla="*/ 254625 h 286452"/>
                  <a:gd name="connsiteX48" fmla="*/ 157997 w 284165"/>
                  <a:gd name="connsiteY48" fmla="*/ 254625 h 286452"/>
                  <a:gd name="connsiteX49" fmla="*/ 157997 w 284165"/>
                  <a:gd name="connsiteY49" fmla="*/ 233163 h 286452"/>
                  <a:gd name="connsiteX50" fmla="*/ 168603 w 284165"/>
                  <a:gd name="connsiteY50" fmla="*/ 218166 h 286452"/>
                  <a:gd name="connsiteX51" fmla="*/ 193733 w 284165"/>
                  <a:gd name="connsiteY51" fmla="*/ 203680 h 286452"/>
                  <a:gd name="connsiteX52" fmla="*/ 212032 w 284165"/>
                  <a:gd name="connsiteY52" fmla="*/ 201987 h 286452"/>
                  <a:gd name="connsiteX53" fmla="*/ 230596 w 284165"/>
                  <a:gd name="connsiteY53" fmla="*/ 212709 h 286452"/>
                  <a:gd name="connsiteX54" fmla="*/ 246510 w 284165"/>
                  <a:gd name="connsiteY54" fmla="*/ 185141 h 286452"/>
                  <a:gd name="connsiteX55" fmla="*/ 227946 w 284165"/>
                  <a:gd name="connsiteY55" fmla="*/ 174432 h 286452"/>
                  <a:gd name="connsiteX56" fmla="*/ 220254 w 284165"/>
                  <a:gd name="connsiteY56" fmla="*/ 157742 h 286452"/>
                  <a:gd name="connsiteX57" fmla="*/ 221653 w 284165"/>
                  <a:gd name="connsiteY57" fmla="*/ 143227 h 286452"/>
                  <a:gd name="connsiteX58" fmla="*/ 220254 w 284165"/>
                  <a:gd name="connsiteY58" fmla="*/ 128712 h 286452"/>
                  <a:gd name="connsiteX59" fmla="*/ 227946 w 284165"/>
                  <a:gd name="connsiteY59" fmla="*/ 112021 h 286452"/>
                  <a:gd name="connsiteX60" fmla="*/ 246510 w 284165"/>
                  <a:gd name="connsiteY60" fmla="*/ 101313 h 286452"/>
                  <a:gd name="connsiteX61" fmla="*/ 230596 w 284165"/>
                  <a:gd name="connsiteY61" fmla="*/ 73744 h 286452"/>
                  <a:gd name="connsiteX62" fmla="*/ 212032 w 284165"/>
                  <a:gd name="connsiteY62" fmla="*/ 84467 h 286452"/>
                  <a:gd name="connsiteX63" fmla="*/ 193733 w 284165"/>
                  <a:gd name="connsiteY63" fmla="*/ 82773 h 286452"/>
                  <a:gd name="connsiteX64" fmla="*/ 168603 w 284165"/>
                  <a:gd name="connsiteY64" fmla="*/ 68288 h 286452"/>
                  <a:gd name="connsiteX65" fmla="*/ 157997 w 284165"/>
                  <a:gd name="connsiteY65" fmla="*/ 53291 h 286452"/>
                  <a:gd name="connsiteX66" fmla="*/ 157997 w 284165"/>
                  <a:gd name="connsiteY66" fmla="*/ 31829 h 286452"/>
                  <a:gd name="connsiteX67" fmla="*/ 126169 w 284165"/>
                  <a:gd name="connsiteY67" fmla="*/ 31829 h 286452"/>
                  <a:gd name="connsiteX68" fmla="*/ 126169 w 284165"/>
                  <a:gd name="connsiteY68" fmla="*/ 53291 h 286452"/>
                  <a:gd name="connsiteX69" fmla="*/ 115562 w 284165"/>
                  <a:gd name="connsiteY69" fmla="*/ 68288 h 286452"/>
                  <a:gd name="connsiteX70" fmla="*/ 90432 w 284165"/>
                  <a:gd name="connsiteY70" fmla="*/ 82773 h 286452"/>
                  <a:gd name="connsiteX71" fmla="*/ 72133 w 284165"/>
                  <a:gd name="connsiteY71" fmla="*/ 84467 h 286452"/>
                  <a:gd name="connsiteX72" fmla="*/ 53570 w 284165"/>
                  <a:gd name="connsiteY72" fmla="*/ 73744 h 286452"/>
                  <a:gd name="connsiteX73" fmla="*/ 37656 w 284165"/>
                  <a:gd name="connsiteY73" fmla="*/ 101313 h 286452"/>
                  <a:gd name="connsiteX74" fmla="*/ 56219 w 284165"/>
                  <a:gd name="connsiteY74" fmla="*/ 112021 h 286452"/>
                  <a:gd name="connsiteX75" fmla="*/ 63912 w 284165"/>
                  <a:gd name="connsiteY75" fmla="*/ 128712 h 286452"/>
                  <a:gd name="connsiteX76" fmla="*/ 62513 w 284165"/>
                  <a:gd name="connsiteY76" fmla="*/ 143227 h 286452"/>
                  <a:gd name="connsiteX77" fmla="*/ 63912 w 284165"/>
                  <a:gd name="connsiteY77" fmla="*/ 157742 h 286452"/>
                  <a:gd name="connsiteX78" fmla="*/ 56219 w 284165"/>
                  <a:gd name="connsiteY78" fmla="*/ 174432 h 286452"/>
                  <a:gd name="connsiteX79" fmla="*/ 37656 w 284165"/>
                  <a:gd name="connsiteY79" fmla="*/ 185141 h 286452"/>
                  <a:gd name="connsiteX80" fmla="*/ 53570 w 284165"/>
                  <a:gd name="connsiteY80" fmla="*/ 212709 h 286452"/>
                  <a:gd name="connsiteX81" fmla="*/ 72142 w 284165"/>
                  <a:gd name="connsiteY81" fmla="*/ 201987 h 286452"/>
                  <a:gd name="connsiteX82" fmla="*/ 90449 w 284165"/>
                  <a:gd name="connsiteY82" fmla="*/ 203680 h 286452"/>
                  <a:gd name="connsiteX83" fmla="*/ 115564 w 284165"/>
                  <a:gd name="connsiteY83" fmla="*/ 218166 h 286452"/>
                  <a:gd name="connsiteX84" fmla="*/ 126170 w 284165"/>
                  <a:gd name="connsiteY84" fmla="*/ 233163 h 286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284165" h="286452">
                    <a:moveTo>
                      <a:pt x="173911" y="286453"/>
                    </a:moveTo>
                    <a:lnTo>
                      <a:pt x="110255" y="286453"/>
                    </a:lnTo>
                    <a:cubicBezTo>
                      <a:pt x="101467" y="286453"/>
                      <a:pt x="94341" y="279335"/>
                      <a:pt x="94341" y="270539"/>
                    </a:cubicBezTo>
                    <a:lnTo>
                      <a:pt x="94341" y="243792"/>
                    </a:lnTo>
                    <a:cubicBezTo>
                      <a:pt x="88933" y="241227"/>
                      <a:pt x="83758" y="238258"/>
                      <a:pt x="78847" y="234872"/>
                    </a:cubicBezTo>
                    <a:lnTo>
                      <a:pt x="55699" y="248237"/>
                    </a:lnTo>
                    <a:cubicBezTo>
                      <a:pt x="52031" y="250334"/>
                      <a:pt x="47671" y="250895"/>
                      <a:pt x="43624" y="249821"/>
                    </a:cubicBezTo>
                    <a:cubicBezTo>
                      <a:pt x="39546" y="248733"/>
                      <a:pt x="36071" y="246061"/>
                      <a:pt x="33958" y="242409"/>
                    </a:cubicBezTo>
                    <a:lnTo>
                      <a:pt x="2129" y="187270"/>
                    </a:lnTo>
                    <a:cubicBezTo>
                      <a:pt x="24" y="183617"/>
                      <a:pt x="-552" y="179266"/>
                      <a:pt x="544" y="175195"/>
                    </a:cubicBezTo>
                    <a:cubicBezTo>
                      <a:pt x="1639" y="171108"/>
                      <a:pt x="4304" y="167641"/>
                      <a:pt x="7957" y="165528"/>
                    </a:cubicBezTo>
                    <a:lnTo>
                      <a:pt x="31074" y="152194"/>
                    </a:lnTo>
                    <a:cubicBezTo>
                      <a:pt x="30818" y="149162"/>
                      <a:pt x="30685" y="146164"/>
                      <a:pt x="30685" y="143227"/>
                    </a:cubicBezTo>
                    <a:cubicBezTo>
                      <a:pt x="30685" y="140289"/>
                      <a:pt x="30818" y="137291"/>
                      <a:pt x="31074" y="134258"/>
                    </a:cubicBezTo>
                    <a:lnTo>
                      <a:pt x="7957" y="120925"/>
                    </a:lnTo>
                    <a:cubicBezTo>
                      <a:pt x="4304" y="118811"/>
                      <a:pt x="1639" y="115346"/>
                      <a:pt x="544" y="111259"/>
                    </a:cubicBezTo>
                    <a:cubicBezTo>
                      <a:pt x="-551" y="107186"/>
                      <a:pt x="23" y="102835"/>
                      <a:pt x="2129" y="99184"/>
                    </a:cubicBezTo>
                    <a:lnTo>
                      <a:pt x="33957" y="44044"/>
                    </a:lnTo>
                    <a:cubicBezTo>
                      <a:pt x="36070" y="40393"/>
                      <a:pt x="39544" y="37719"/>
                      <a:pt x="43622" y="36631"/>
                    </a:cubicBezTo>
                    <a:cubicBezTo>
                      <a:pt x="47695" y="35559"/>
                      <a:pt x="52055" y="36133"/>
                      <a:pt x="55699" y="38216"/>
                    </a:cubicBezTo>
                    <a:lnTo>
                      <a:pt x="78847" y="51581"/>
                    </a:lnTo>
                    <a:cubicBezTo>
                      <a:pt x="83758" y="48193"/>
                      <a:pt x="88933" y="45223"/>
                      <a:pt x="94341" y="42660"/>
                    </a:cubicBezTo>
                    <a:lnTo>
                      <a:pt x="94341" y="15914"/>
                    </a:lnTo>
                    <a:cubicBezTo>
                      <a:pt x="94341" y="7118"/>
                      <a:pt x="101467" y="0"/>
                      <a:pt x="110255" y="0"/>
                    </a:cubicBezTo>
                    <a:lnTo>
                      <a:pt x="173911" y="0"/>
                    </a:lnTo>
                    <a:cubicBezTo>
                      <a:pt x="182698" y="0"/>
                      <a:pt x="189825" y="7118"/>
                      <a:pt x="189825" y="15914"/>
                    </a:cubicBezTo>
                    <a:lnTo>
                      <a:pt x="189825" y="42660"/>
                    </a:lnTo>
                    <a:cubicBezTo>
                      <a:pt x="195233" y="45225"/>
                      <a:pt x="200407" y="48194"/>
                      <a:pt x="205318" y="51581"/>
                    </a:cubicBezTo>
                    <a:lnTo>
                      <a:pt x="228467" y="38216"/>
                    </a:lnTo>
                    <a:cubicBezTo>
                      <a:pt x="232119" y="36102"/>
                      <a:pt x="236470" y="35542"/>
                      <a:pt x="240541" y="36631"/>
                    </a:cubicBezTo>
                    <a:cubicBezTo>
                      <a:pt x="244620" y="37719"/>
                      <a:pt x="248094" y="40391"/>
                      <a:pt x="250207" y="44044"/>
                    </a:cubicBezTo>
                    <a:lnTo>
                      <a:pt x="282035" y="99183"/>
                    </a:lnTo>
                    <a:cubicBezTo>
                      <a:pt x="284142" y="102835"/>
                      <a:pt x="284717" y="107186"/>
                      <a:pt x="283621" y="111257"/>
                    </a:cubicBezTo>
                    <a:cubicBezTo>
                      <a:pt x="282526" y="115346"/>
                      <a:pt x="279861" y="118811"/>
                      <a:pt x="276209" y="120925"/>
                    </a:cubicBezTo>
                    <a:lnTo>
                      <a:pt x="253092" y="134258"/>
                    </a:lnTo>
                    <a:cubicBezTo>
                      <a:pt x="253348" y="137288"/>
                      <a:pt x="253479" y="140289"/>
                      <a:pt x="253479" y="143227"/>
                    </a:cubicBezTo>
                    <a:cubicBezTo>
                      <a:pt x="253479" y="146164"/>
                      <a:pt x="253348" y="149162"/>
                      <a:pt x="253092" y="152194"/>
                    </a:cubicBezTo>
                    <a:lnTo>
                      <a:pt x="276209" y="165529"/>
                    </a:lnTo>
                    <a:cubicBezTo>
                      <a:pt x="279861" y="167642"/>
                      <a:pt x="282526" y="171108"/>
                      <a:pt x="283621" y="175195"/>
                    </a:cubicBezTo>
                    <a:cubicBezTo>
                      <a:pt x="284716" y="179267"/>
                      <a:pt x="284142" y="183619"/>
                      <a:pt x="282035" y="187270"/>
                    </a:cubicBezTo>
                    <a:lnTo>
                      <a:pt x="250207" y="242409"/>
                    </a:lnTo>
                    <a:cubicBezTo>
                      <a:pt x="248094" y="246061"/>
                      <a:pt x="244620" y="248735"/>
                      <a:pt x="240541" y="249821"/>
                    </a:cubicBezTo>
                    <a:cubicBezTo>
                      <a:pt x="236486" y="250895"/>
                      <a:pt x="232119" y="250334"/>
                      <a:pt x="228467" y="248237"/>
                    </a:cubicBezTo>
                    <a:lnTo>
                      <a:pt x="205318" y="234872"/>
                    </a:lnTo>
                    <a:cubicBezTo>
                      <a:pt x="200407" y="238261"/>
                      <a:pt x="195233" y="241229"/>
                      <a:pt x="189825" y="243792"/>
                    </a:cubicBezTo>
                    <a:lnTo>
                      <a:pt x="189825" y="270539"/>
                    </a:lnTo>
                    <a:cubicBezTo>
                      <a:pt x="189825" y="279335"/>
                      <a:pt x="182699" y="286453"/>
                      <a:pt x="173911" y="286453"/>
                    </a:cubicBezTo>
                    <a:close/>
                    <a:moveTo>
                      <a:pt x="126169" y="254625"/>
                    </a:moveTo>
                    <a:lnTo>
                      <a:pt x="157997" y="254625"/>
                    </a:lnTo>
                    <a:lnTo>
                      <a:pt x="157997" y="233163"/>
                    </a:lnTo>
                    <a:cubicBezTo>
                      <a:pt x="157997" y="226418"/>
                      <a:pt x="162247" y="220403"/>
                      <a:pt x="168603" y="218166"/>
                    </a:cubicBezTo>
                    <a:cubicBezTo>
                      <a:pt x="177881" y="214871"/>
                      <a:pt x="186342" y="210006"/>
                      <a:pt x="193733" y="203680"/>
                    </a:cubicBezTo>
                    <a:cubicBezTo>
                      <a:pt x="198871" y="199282"/>
                      <a:pt x="206197" y="198629"/>
                      <a:pt x="212032" y="201987"/>
                    </a:cubicBezTo>
                    <a:lnTo>
                      <a:pt x="230596" y="212709"/>
                    </a:lnTo>
                    <a:lnTo>
                      <a:pt x="246510" y="185141"/>
                    </a:lnTo>
                    <a:lnTo>
                      <a:pt x="227946" y="174432"/>
                    </a:lnTo>
                    <a:cubicBezTo>
                      <a:pt x="222111" y="171060"/>
                      <a:pt x="219026" y="164378"/>
                      <a:pt x="220254" y="157742"/>
                    </a:cubicBezTo>
                    <a:cubicBezTo>
                      <a:pt x="221194" y="152675"/>
                      <a:pt x="221653" y="147936"/>
                      <a:pt x="221653" y="143227"/>
                    </a:cubicBezTo>
                    <a:cubicBezTo>
                      <a:pt x="221653" y="138518"/>
                      <a:pt x="221194" y="133777"/>
                      <a:pt x="220254" y="128712"/>
                    </a:cubicBezTo>
                    <a:cubicBezTo>
                      <a:pt x="219027" y="122075"/>
                      <a:pt x="222111" y="115394"/>
                      <a:pt x="227946" y="112021"/>
                    </a:cubicBezTo>
                    <a:lnTo>
                      <a:pt x="246510" y="101313"/>
                    </a:lnTo>
                    <a:lnTo>
                      <a:pt x="230596" y="73744"/>
                    </a:lnTo>
                    <a:lnTo>
                      <a:pt x="212032" y="84467"/>
                    </a:lnTo>
                    <a:cubicBezTo>
                      <a:pt x="206180" y="87822"/>
                      <a:pt x="198854" y="87170"/>
                      <a:pt x="193733" y="82773"/>
                    </a:cubicBezTo>
                    <a:cubicBezTo>
                      <a:pt x="186342" y="76447"/>
                      <a:pt x="177881" y="71584"/>
                      <a:pt x="168603" y="68288"/>
                    </a:cubicBezTo>
                    <a:cubicBezTo>
                      <a:pt x="162247" y="66050"/>
                      <a:pt x="157997" y="60034"/>
                      <a:pt x="157997" y="53291"/>
                    </a:cubicBezTo>
                    <a:lnTo>
                      <a:pt x="157997" y="31829"/>
                    </a:lnTo>
                    <a:lnTo>
                      <a:pt x="126169" y="31829"/>
                    </a:lnTo>
                    <a:lnTo>
                      <a:pt x="126169" y="53291"/>
                    </a:lnTo>
                    <a:cubicBezTo>
                      <a:pt x="126169" y="60034"/>
                      <a:pt x="121918" y="66050"/>
                      <a:pt x="115562" y="68288"/>
                    </a:cubicBezTo>
                    <a:cubicBezTo>
                      <a:pt x="106284" y="71583"/>
                      <a:pt x="97823" y="76447"/>
                      <a:pt x="90432" y="82773"/>
                    </a:cubicBezTo>
                    <a:cubicBezTo>
                      <a:pt x="85303" y="87186"/>
                      <a:pt x="77984" y="87840"/>
                      <a:pt x="72133" y="84467"/>
                    </a:cubicBezTo>
                    <a:lnTo>
                      <a:pt x="53570" y="73744"/>
                    </a:lnTo>
                    <a:lnTo>
                      <a:pt x="37656" y="101313"/>
                    </a:lnTo>
                    <a:lnTo>
                      <a:pt x="56219" y="112021"/>
                    </a:lnTo>
                    <a:cubicBezTo>
                      <a:pt x="62054" y="115394"/>
                      <a:pt x="65138" y="122076"/>
                      <a:pt x="63912" y="128712"/>
                    </a:cubicBezTo>
                    <a:cubicBezTo>
                      <a:pt x="62971" y="133777"/>
                      <a:pt x="62513" y="138518"/>
                      <a:pt x="62513" y="143227"/>
                    </a:cubicBezTo>
                    <a:cubicBezTo>
                      <a:pt x="62513" y="147936"/>
                      <a:pt x="62971" y="152676"/>
                      <a:pt x="63912" y="157742"/>
                    </a:cubicBezTo>
                    <a:cubicBezTo>
                      <a:pt x="65138" y="164378"/>
                      <a:pt x="62054" y="171060"/>
                      <a:pt x="56219" y="174432"/>
                    </a:cubicBezTo>
                    <a:lnTo>
                      <a:pt x="37656" y="185141"/>
                    </a:lnTo>
                    <a:lnTo>
                      <a:pt x="53570" y="212709"/>
                    </a:lnTo>
                    <a:lnTo>
                      <a:pt x="72142" y="201987"/>
                    </a:lnTo>
                    <a:cubicBezTo>
                      <a:pt x="77970" y="198615"/>
                      <a:pt x="85304" y="199267"/>
                      <a:pt x="90449" y="203680"/>
                    </a:cubicBezTo>
                    <a:cubicBezTo>
                      <a:pt x="97832" y="210006"/>
                      <a:pt x="106277" y="214870"/>
                      <a:pt x="115564" y="218166"/>
                    </a:cubicBezTo>
                    <a:cubicBezTo>
                      <a:pt x="121919" y="220403"/>
                      <a:pt x="126170" y="226418"/>
                      <a:pt x="126170" y="233163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D410039A-B4B8-46C1-AC08-F311854C84BE}"/>
                  </a:ext>
                </a:extLst>
              </p:cNvPr>
              <p:cNvSpPr/>
              <p:nvPr/>
            </p:nvSpPr>
            <p:spPr>
              <a:xfrm>
                <a:off x="2873509" y="5144518"/>
                <a:ext cx="95483" cy="95484"/>
              </a:xfrm>
              <a:custGeom>
                <a:avLst/>
                <a:gdLst>
                  <a:gd name="connsiteX0" fmla="*/ 47742 w 95483"/>
                  <a:gd name="connsiteY0" fmla="*/ 95484 h 95484"/>
                  <a:gd name="connsiteX1" fmla="*/ 0 w 95483"/>
                  <a:gd name="connsiteY1" fmla="*/ 47742 h 95484"/>
                  <a:gd name="connsiteX2" fmla="*/ 47742 w 95483"/>
                  <a:gd name="connsiteY2" fmla="*/ 0 h 95484"/>
                  <a:gd name="connsiteX3" fmla="*/ 95484 w 95483"/>
                  <a:gd name="connsiteY3" fmla="*/ 47742 h 95484"/>
                  <a:gd name="connsiteX4" fmla="*/ 47742 w 95483"/>
                  <a:gd name="connsiteY4" fmla="*/ 95484 h 95484"/>
                  <a:gd name="connsiteX5" fmla="*/ 47742 w 95483"/>
                  <a:gd name="connsiteY5" fmla="*/ 31828 h 95484"/>
                  <a:gd name="connsiteX6" fmla="*/ 31828 w 95483"/>
                  <a:gd name="connsiteY6" fmla="*/ 47742 h 95484"/>
                  <a:gd name="connsiteX7" fmla="*/ 47742 w 95483"/>
                  <a:gd name="connsiteY7" fmla="*/ 63656 h 95484"/>
                  <a:gd name="connsiteX8" fmla="*/ 63656 w 95483"/>
                  <a:gd name="connsiteY8" fmla="*/ 47742 h 95484"/>
                  <a:gd name="connsiteX9" fmla="*/ 47742 w 95483"/>
                  <a:gd name="connsiteY9" fmla="*/ 31828 h 95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483" h="95484">
                    <a:moveTo>
                      <a:pt x="47742" y="95484"/>
                    </a:moveTo>
                    <a:cubicBezTo>
                      <a:pt x="21415" y="95484"/>
                      <a:pt x="0" y="74069"/>
                      <a:pt x="0" y="47742"/>
                    </a:cubicBezTo>
                    <a:cubicBezTo>
                      <a:pt x="0" y="21415"/>
                      <a:pt x="21415" y="0"/>
                      <a:pt x="47742" y="0"/>
                    </a:cubicBezTo>
                    <a:cubicBezTo>
                      <a:pt x="74069" y="0"/>
                      <a:pt x="95484" y="21415"/>
                      <a:pt x="95484" y="47742"/>
                    </a:cubicBezTo>
                    <a:cubicBezTo>
                      <a:pt x="95484" y="74069"/>
                      <a:pt x="74069" y="95484"/>
                      <a:pt x="47742" y="95484"/>
                    </a:cubicBezTo>
                    <a:close/>
                    <a:moveTo>
                      <a:pt x="47742" y="31828"/>
                    </a:moveTo>
                    <a:cubicBezTo>
                      <a:pt x="38969" y="31828"/>
                      <a:pt x="31828" y="38960"/>
                      <a:pt x="31828" y="47742"/>
                    </a:cubicBezTo>
                    <a:cubicBezTo>
                      <a:pt x="31828" y="56524"/>
                      <a:pt x="38969" y="63656"/>
                      <a:pt x="47742" y="63656"/>
                    </a:cubicBezTo>
                    <a:cubicBezTo>
                      <a:pt x="56515" y="63656"/>
                      <a:pt x="63656" y="56524"/>
                      <a:pt x="63656" y="47742"/>
                    </a:cubicBezTo>
                    <a:cubicBezTo>
                      <a:pt x="63656" y="38960"/>
                      <a:pt x="56515" y="31828"/>
                      <a:pt x="47742" y="31828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D023C9FA-A4B2-4FBE-A159-CA278EEA64D0}"/>
                  </a:ext>
                </a:extLst>
              </p:cNvPr>
              <p:cNvSpPr/>
              <p:nvPr/>
            </p:nvSpPr>
            <p:spPr>
              <a:xfrm>
                <a:off x="2699601" y="4969464"/>
                <a:ext cx="175054" cy="206882"/>
              </a:xfrm>
              <a:custGeom>
                <a:avLst/>
                <a:gdLst>
                  <a:gd name="connsiteX0" fmla="*/ 47742 w 175054"/>
                  <a:gd name="connsiteY0" fmla="*/ 206882 h 206882"/>
                  <a:gd name="connsiteX1" fmla="*/ 15914 w 175054"/>
                  <a:gd name="connsiteY1" fmla="*/ 206882 h 206882"/>
                  <a:gd name="connsiteX2" fmla="*/ 0 w 175054"/>
                  <a:gd name="connsiteY2" fmla="*/ 190968 h 206882"/>
                  <a:gd name="connsiteX3" fmla="*/ 0 w 175054"/>
                  <a:gd name="connsiteY3" fmla="*/ 15914 h 206882"/>
                  <a:gd name="connsiteX4" fmla="*/ 15914 w 175054"/>
                  <a:gd name="connsiteY4" fmla="*/ 0 h 206882"/>
                  <a:gd name="connsiteX5" fmla="*/ 159140 w 175054"/>
                  <a:gd name="connsiteY5" fmla="*/ 0 h 206882"/>
                  <a:gd name="connsiteX6" fmla="*/ 175054 w 175054"/>
                  <a:gd name="connsiteY6" fmla="*/ 15914 h 206882"/>
                  <a:gd name="connsiteX7" fmla="*/ 175054 w 175054"/>
                  <a:gd name="connsiteY7" fmla="*/ 63656 h 206882"/>
                  <a:gd name="connsiteX8" fmla="*/ 159140 w 175054"/>
                  <a:gd name="connsiteY8" fmla="*/ 79570 h 206882"/>
                  <a:gd name="connsiteX9" fmla="*/ 143226 w 175054"/>
                  <a:gd name="connsiteY9" fmla="*/ 63656 h 206882"/>
                  <a:gd name="connsiteX10" fmla="*/ 143226 w 175054"/>
                  <a:gd name="connsiteY10" fmla="*/ 31828 h 206882"/>
                  <a:gd name="connsiteX11" fmla="*/ 31828 w 175054"/>
                  <a:gd name="connsiteY11" fmla="*/ 31828 h 206882"/>
                  <a:gd name="connsiteX12" fmla="*/ 31828 w 175054"/>
                  <a:gd name="connsiteY12" fmla="*/ 175054 h 206882"/>
                  <a:gd name="connsiteX13" fmla="*/ 47742 w 175054"/>
                  <a:gd name="connsiteY13" fmla="*/ 175054 h 206882"/>
                  <a:gd name="connsiteX14" fmla="*/ 63656 w 175054"/>
                  <a:gd name="connsiteY14" fmla="*/ 190968 h 206882"/>
                  <a:gd name="connsiteX15" fmla="*/ 47742 w 175054"/>
                  <a:gd name="connsiteY15" fmla="*/ 206882 h 206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5054" h="206882">
                    <a:moveTo>
                      <a:pt x="47742" y="206882"/>
                    </a:moveTo>
                    <a:lnTo>
                      <a:pt x="15914" y="206882"/>
                    </a:lnTo>
                    <a:cubicBezTo>
                      <a:pt x="7127" y="206882"/>
                      <a:pt x="0" y="199764"/>
                      <a:pt x="0" y="190968"/>
                    </a:cubicBezTo>
                    <a:lnTo>
                      <a:pt x="0" y="15914"/>
                    </a:lnTo>
                    <a:cubicBezTo>
                      <a:pt x="0" y="7118"/>
                      <a:pt x="7127" y="0"/>
                      <a:pt x="15914" y="0"/>
                    </a:cubicBezTo>
                    <a:lnTo>
                      <a:pt x="159140" y="0"/>
                    </a:lnTo>
                    <a:cubicBezTo>
                      <a:pt x="167927" y="0"/>
                      <a:pt x="175054" y="7118"/>
                      <a:pt x="175054" y="15914"/>
                    </a:cubicBezTo>
                    <a:lnTo>
                      <a:pt x="175054" y="63656"/>
                    </a:lnTo>
                    <a:cubicBezTo>
                      <a:pt x="175054" y="72452"/>
                      <a:pt x="167927" y="79570"/>
                      <a:pt x="159140" y="79570"/>
                    </a:cubicBezTo>
                    <a:cubicBezTo>
                      <a:pt x="150353" y="79570"/>
                      <a:pt x="143226" y="72452"/>
                      <a:pt x="143226" y="63656"/>
                    </a:cubicBezTo>
                    <a:lnTo>
                      <a:pt x="143226" y="31828"/>
                    </a:lnTo>
                    <a:lnTo>
                      <a:pt x="31828" y="31828"/>
                    </a:lnTo>
                    <a:lnTo>
                      <a:pt x="31828" y="175054"/>
                    </a:lnTo>
                    <a:lnTo>
                      <a:pt x="47742" y="175054"/>
                    </a:lnTo>
                    <a:cubicBezTo>
                      <a:pt x="56529" y="175054"/>
                      <a:pt x="63656" y="182172"/>
                      <a:pt x="63656" y="190968"/>
                    </a:cubicBezTo>
                    <a:cubicBezTo>
                      <a:pt x="63656" y="199764"/>
                      <a:pt x="56529" y="206882"/>
                      <a:pt x="47742" y="206882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B5C2E854-27EC-407B-998B-4BF8CAAFB72C}"/>
                  </a:ext>
                </a:extLst>
              </p:cNvPr>
              <p:cNvSpPr/>
              <p:nvPr/>
            </p:nvSpPr>
            <p:spPr>
              <a:xfrm>
                <a:off x="2747343" y="5033120"/>
                <a:ext cx="79570" cy="31828"/>
              </a:xfrm>
              <a:custGeom>
                <a:avLst/>
                <a:gdLst>
                  <a:gd name="connsiteX0" fmla="*/ 63656 w 79570"/>
                  <a:gd name="connsiteY0" fmla="*/ 31828 h 31828"/>
                  <a:gd name="connsiteX1" fmla="*/ 15914 w 79570"/>
                  <a:gd name="connsiteY1" fmla="*/ 31828 h 31828"/>
                  <a:gd name="connsiteX2" fmla="*/ 0 w 79570"/>
                  <a:gd name="connsiteY2" fmla="*/ 15914 h 31828"/>
                  <a:gd name="connsiteX3" fmla="*/ 15914 w 79570"/>
                  <a:gd name="connsiteY3" fmla="*/ 0 h 31828"/>
                  <a:gd name="connsiteX4" fmla="*/ 63656 w 79570"/>
                  <a:gd name="connsiteY4" fmla="*/ 0 h 31828"/>
                  <a:gd name="connsiteX5" fmla="*/ 79570 w 79570"/>
                  <a:gd name="connsiteY5" fmla="*/ 15914 h 31828"/>
                  <a:gd name="connsiteX6" fmla="*/ 63656 w 79570"/>
                  <a:gd name="connsiteY6" fmla="*/ 31828 h 31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570" h="31828">
                    <a:moveTo>
                      <a:pt x="63656" y="31828"/>
                    </a:moveTo>
                    <a:lnTo>
                      <a:pt x="15914" y="31828"/>
                    </a:lnTo>
                    <a:cubicBezTo>
                      <a:pt x="7127" y="31828"/>
                      <a:pt x="0" y="24710"/>
                      <a:pt x="0" y="15914"/>
                    </a:cubicBezTo>
                    <a:cubicBezTo>
                      <a:pt x="0" y="7118"/>
                      <a:pt x="7127" y="0"/>
                      <a:pt x="15914" y="0"/>
                    </a:cubicBezTo>
                    <a:lnTo>
                      <a:pt x="63656" y="0"/>
                    </a:lnTo>
                    <a:cubicBezTo>
                      <a:pt x="72443" y="0"/>
                      <a:pt x="79570" y="7118"/>
                      <a:pt x="79570" y="15914"/>
                    </a:cubicBezTo>
                    <a:cubicBezTo>
                      <a:pt x="79570" y="24710"/>
                      <a:pt x="72443" y="31828"/>
                      <a:pt x="63656" y="31828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D91D4CD5-194C-4968-85AF-5837811A5833}"/>
                  </a:ext>
                </a:extLst>
              </p:cNvPr>
              <p:cNvSpPr/>
              <p:nvPr/>
            </p:nvSpPr>
            <p:spPr>
              <a:xfrm>
                <a:off x="2747343" y="5080862"/>
                <a:ext cx="47742" cy="31828"/>
              </a:xfrm>
              <a:custGeom>
                <a:avLst/>
                <a:gdLst>
                  <a:gd name="connsiteX0" fmla="*/ 31828 w 47742"/>
                  <a:gd name="connsiteY0" fmla="*/ 31828 h 31828"/>
                  <a:gd name="connsiteX1" fmla="*/ 15914 w 47742"/>
                  <a:gd name="connsiteY1" fmla="*/ 31828 h 31828"/>
                  <a:gd name="connsiteX2" fmla="*/ 0 w 47742"/>
                  <a:gd name="connsiteY2" fmla="*/ 15914 h 31828"/>
                  <a:gd name="connsiteX3" fmla="*/ 15914 w 47742"/>
                  <a:gd name="connsiteY3" fmla="*/ 0 h 31828"/>
                  <a:gd name="connsiteX4" fmla="*/ 31828 w 47742"/>
                  <a:gd name="connsiteY4" fmla="*/ 0 h 31828"/>
                  <a:gd name="connsiteX5" fmla="*/ 47742 w 47742"/>
                  <a:gd name="connsiteY5" fmla="*/ 15914 h 31828"/>
                  <a:gd name="connsiteX6" fmla="*/ 31828 w 47742"/>
                  <a:gd name="connsiteY6" fmla="*/ 31828 h 31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742" h="31828">
                    <a:moveTo>
                      <a:pt x="31828" y="31828"/>
                    </a:moveTo>
                    <a:lnTo>
                      <a:pt x="15914" y="31828"/>
                    </a:lnTo>
                    <a:cubicBezTo>
                      <a:pt x="7127" y="31828"/>
                      <a:pt x="0" y="24710"/>
                      <a:pt x="0" y="15914"/>
                    </a:cubicBezTo>
                    <a:cubicBezTo>
                      <a:pt x="0" y="7118"/>
                      <a:pt x="7127" y="0"/>
                      <a:pt x="15914" y="0"/>
                    </a:cubicBezTo>
                    <a:lnTo>
                      <a:pt x="31828" y="0"/>
                    </a:lnTo>
                    <a:cubicBezTo>
                      <a:pt x="40615" y="0"/>
                      <a:pt x="47742" y="7118"/>
                      <a:pt x="47742" y="15914"/>
                    </a:cubicBezTo>
                    <a:cubicBezTo>
                      <a:pt x="47742" y="24710"/>
                      <a:pt x="40615" y="31828"/>
                      <a:pt x="31828" y="31828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80E1225A-00DA-4BB0-90FD-9D00C107CF84}"/>
                  </a:ext>
                </a:extLst>
              </p:cNvPr>
              <p:cNvSpPr/>
              <p:nvPr/>
            </p:nvSpPr>
            <p:spPr>
              <a:xfrm>
                <a:off x="2954225" y="5295701"/>
                <a:ext cx="190968" cy="119355"/>
              </a:xfrm>
              <a:custGeom>
                <a:avLst/>
                <a:gdLst>
                  <a:gd name="connsiteX0" fmla="*/ 95484 w 190968"/>
                  <a:gd name="connsiteY0" fmla="*/ 119355 h 119355"/>
                  <a:gd name="connsiteX1" fmla="*/ 0 w 190968"/>
                  <a:gd name="connsiteY1" fmla="*/ 79570 h 119355"/>
                  <a:gd name="connsiteX2" fmla="*/ 0 w 190968"/>
                  <a:gd name="connsiteY2" fmla="*/ 71613 h 119355"/>
                  <a:gd name="connsiteX3" fmla="*/ 15914 w 190968"/>
                  <a:gd name="connsiteY3" fmla="*/ 55699 h 119355"/>
                  <a:gd name="connsiteX4" fmla="*/ 31828 w 190968"/>
                  <a:gd name="connsiteY4" fmla="*/ 71613 h 119355"/>
                  <a:gd name="connsiteX5" fmla="*/ 31828 w 190968"/>
                  <a:gd name="connsiteY5" fmla="*/ 76260 h 119355"/>
                  <a:gd name="connsiteX6" fmla="*/ 95484 w 190968"/>
                  <a:gd name="connsiteY6" fmla="*/ 87527 h 119355"/>
                  <a:gd name="connsiteX7" fmla="*/ 159140 w 190968"/>
                  <a:gd name="connsiteY7" fmla="*/ 76260 h 119355"/>
                  <a:gd name="connsiteX8" fmla="*/ 159140 w 190968"/>
                  <a:gd name="connsiteY8" fmla="*/ 15914 h 119355"/>
                  <a:gd name="connsiteX9" fmla="*/ 175054 w 190968"/>
                  <a:gd name="connsiteY9" fmla="*/ 0 h 119355"/>
                  <a:gd name="connsiteX10" fmla="*/ 190968 w 190968"/>
                  <a:gd name="connsiteY10" fmla="*/ 15914 h 119355"/>
                  <a:gd name="connsiteX11" fmla="*/ 190968 w 190968"/>
                  <a:gd name="connsiteY11" fmla="*/ 79570 h 119355"/>
                  <a:gd name="connsiteX12" fmla="*/ 95484 w 190968"/>
                  <a:gd name="connsiteY12" fmla="*/ 119355 h 119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968" h="119355">
                    <a:moveTo>
                      <a:pt x="95484" y="119355"/>
                    </a:moveTo>
                    <a:cubicBezTo>
                      <a:pt x="79537" y="119355"/>
                      <a:pt x="0" y="117444"/>
                      <a:pt x="0" y="79570"/>
                    </a:cubicBezTo>
                    <a:lnTo>
                      <a:pt x="0" y="71613"/>
                    </a:lnTo>
                    <a:cubicBezTo>
                      <a:pt x="0" y="62817"/>
                      <a:pt x="7127" y="55699"/>
                      <a:pt x="15914" y="55699"/>
                    </a:cubicBezTo>
                    <a:cubicBezTo>
                      <a:pt x="24701" y="55699"/>
                      <a:pt x="31828" y="62817"/>
                      <a:pt x="31828" y="71613"/>
                    </a:cubicBezTo>
                    <a:lnTo>
                      <a:pt x="31828" y="76260"/>
                    </a:lnTo>
                    <a:cubicBezTo>
                      <a:pt x="38300" y="80627"/>
                      <a:pt x="61107" y="87527"/>
                      <a:pt x="95484" y="87527"/>
                    </a:cubicBezTo>
                    <a:cubicBezTo>
                      <a:pt x="129861" y="87527"/>
                      <a:pt x="152668" y="80627"/>
                      <a:pt x="159140" y="76260"/>
                    </a:cubicBezTo>
                    <a:lnTo>
                      <a:pt x="159140" y="15914"/>
                    </a:lnTo>
                    <a:cubicBezTo>
                      <a:pt x="159140" y="7118"/>
                      <a:pt x="166267" y="0"/>
                      <a:pt x="175054" y="0"/>
                    </a:cubicBezTo>
                    <a:cubicBezTo>
                      <a:pt x="183841" y="0"/>
                      <a:pt x="190968" y="7118"/>
                      <a:pt x="190968" y="15914"/>
                    </a:cubicBezTo>
                    <a:lnTo>
                      <a:pt x="190968" y="79570"/>
                    </a:lnTo>
                    <a:cubicBezTo>
                      <a:pt x="190968" y="117444"/>
                      <a:pt x="111431" y="119355"/>
                      <a:pt x="95484" y="119355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729028D3-8124-4570-A472-A94CE39D7CE8}"/>
                  </a:ext>
                </a:extLst>
              </p:cNvPr>
              <p:cNvSpPr/>
              <p:nvPr/>
            </p:nvSpPr>
            <p:spPr>
              <a:xfrm>
                <a:off x="2985993" y="5272306"/>
                <a:ext cx="159195" cy="79093"/>
              </a:xfrm>
              <a:custGeom>
                <a:avLst/>
                <a:gdLst>
                  <a:gd name="connsiteX0" fmla="*/ 63715 w 159195"/>
                  <a:gd name="connsiteY0" fmla="*/ 79094 h 79093"/>
                  <a:gd name="connsiteX1" fmla="*/ 12423 w 159195"/>
                  <a:gd name="connsiteY1" fmla="*/ 73918 h 79093"/>
                  <a:gd name="connsiteX2" fmla="*/ 393 w 159195"/>
                  <a:gd name="connsiteY2" fmla="*/ 54896 h 79093"/>
                  <a:gd name="connsiteX3" fmla="*/ 19415 w 159195"/>
                  <a:gd name="connsiteY3" fmla="*/ 42868 h 79093"/>
                  <a:gd name="connsiteX4" fmla="*/ 63714 w 159195"/>
                  <a:gd name="connsiteY4" fmla="*/ 47266 h 79093"/>
                  <a:gd name="connsiteX5" fmla="*/ 120321 w 159195"/>
                  <a:gd name="connsiteY5" fmla="*/ 39309 h 79093"/>
                  <a:gd name="connsiteX6" fmla="*/ 93474 w 159195"/>
                  <a:gd name="connsiteY6" fmla="*/ 33202 h 79093"/>
                  <a:gd name="connsiteX7" fmla="*/ 78686 w 159195"/>
                  <a:gd name="connsiteY7" fmla="*/ 31803 h 79093"/>
                  <a:gd name="connsiteX8" fmla="*/ 63742 w 159195"/>
                  <a:gd name="connsiteY8" fmla="*/ 14988 h 79093"/>
                  <a:gd name="connsiteX9" fmla="*/ 80565 w 159195"/>
                  <a:gd name="connsiteY9" fmla="*/ 36 h 79093"/>
                  <a:gd name="connsiteX10" fmla="*/ 97629 w 159195"/>
                  <a:gd name="connsiteY10" fmla="*/ 1653 h 79093"/>
                  <a:gd name="connsiteX11" fmla="*/ 159195 w 159195"/>
                  <a:gd name="connsiteY11" fmla="*/ 39309 h 79093"/>
                  <a:gd name="connsiteX12" fmla="*/ 63711 w 159195"/>
                  <a:gd name="connsiteY12" fmla="*/ 79094 h 7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9195" h="79093">
                    <a:moveTo>
                      <a:pt x="63715" y="79094"/>
                    </a:moveTo>
                    <a:cubicBezTo>
                      <a:pt x="45176" y="79094"/>
                      <a:pt x="27434" y="77307"/>
                      <a:pt x="12423" y="73918"/>
                    </a:cubicBezTo>
                    <a:cubicBezTo>
                      <a:pt x="3843" y="71991"/>
                      <a:pt x="-1540" y="63460"/>
                      <a:pt x="393" y="54896"/>
                    </a:cubicBezTo>
                    <a:cubicBezTo>
                      <a:pt x="2336" y="46318"/>
                      <a:pt x="10899" y="40972"/>
                      <a:pt x="19415" y="42868"/>
                    </a:cubicBezTo>
                    <a:cubicBezTo>
                      <a:pt x="32175" y="45744"/>
                      <a:pt x="47499" y="47266"/>
                      <a:pt x="63714" y="47266"/>
                    </a:cubicBezTo>
                    <a:cubicBezTo>
                      <a:pt x="90150" y="47266"/>
                      <a:pt x="109739" y="43179"/>
                      <a:pt x="120321" y="39309"/>
                    </a:cubicBezTo>
                    <a:cubicBezTo>
                      <a:pt x="114688" y="37212"/>
                      <a:pt x="106017" y="34849"/>
                      <a:pt x="93474" y="33202"/>
                    </a:cubicBezTo>
                    <a:cubicBezTo>
                      <a:pt x="88765" y="32580"/>
                      <a:pt x="83824" y="32113"/>
                      <a:pt x="78686" y="31803"/>
                    </a:cubicBezTo>
                    <a:cubicBezTo>
                      <a:pt x="69913" y="31291"/>
                      <a:pt x="63222" y="23751"/>
                      <a:pt x="63742" y="14988"/>
                    </a:cubicBezTo>
                    <a:cubicBezTo>
                      <a:pt x="64254" y="6206"/>
                      <a:pt x="71715" y="-554"/>
                      <a:pt x="80565" y="36"/>
                    </a:cubicBezTo>
                    <a:cubicBezTo>
                      <a:pt x="86494" y="377"/>
                      <a:pt x="92212" y="936"/>
                      <a:pt x="97629" y="1653"/>
                    </a:cubicBezTo>
                    <a:cubicBezTo>
                      <a:pt x="137896" y="6919"/>
                      <a:pt x="159195" y="19945"/>
                      <a:pt x="159195" y="39309"/>
                    </a:cubicBezTo>
                    <a:cubicBezTo>
                      <a:pt x="159195" y="77183"/>
                      <a:pt x="79658" y="79094"/>
                      <a:pt x="63711" y="79094"/>
                    </a:cubicBezTo>
                    <a:close/>
                  </a:path>
                </a:pathLst>
              </a:custGeom>
              <a:grpFill/>
              <a:ln w="1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D8857603-0583-4EEE-9CD8-1668D9F96A7E}"/>
                </a:ext>
              </a:extLst>
            </p:cNvPr>
            <p:cNvSpPr txBox="1"/>
            <p:nvPr/>
          </p:nvSpPr>
          <p:spPr>
            <a:xfrm>
              <a:off x="2642246" y="5414709"/>
              <a:ext cx="55656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b="0">
                  <a:solidFill>
                    <a:schemeClr val="accent2"/>
                  </a:solidFill>
                </a:rPr>
                <a:t>Extract</a:t>
              </a:r>
            </a:p>
          </p:txBody>
        </p:sp>
        <p:grpSp>
          <p:nvGrpSpPr>
            <p:cNvPr id="303" name="Graphic 74">
              <a:extLst>
                <a:ext uri="{FF2B5EF4-FFF2-40B4-BE49-F238E27FC236}">
                  <a16:creationId xmlns:a16="http://schemas.microsoft.com/office/drawing/2014/main" id="{CFFF21F6-B876-423F-AC9E-D918E7A1EEB0}"/>
                </a:ext>
              </a:extLst>
            </p:cNvPr>
            <p:cNvGrpSpPr/>
            <p:nvPr/>
          </p:nvGrpSpPr>
          <p:grpSpPr>
            <a:xfrm>
              <a:off x="7938092" y="3891648"/>
              <a:ext cx="457200" cy="457200"/>
              <a:chOff x="7919659" y="3971786"/>
              <a:chExt cx="457200" cy="457200"/>
            </a:xfrm>
            <a:solidFill>
              <a:schemeClr val="accent2"/>
            </a:solidFill>
          </p:grpSpPr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EEEA2BB8-847C-40A6-8158-FBB4AD5F141B}"/>
                  </a:ext>
                </a:extLst>
              </p:cNvPr>
              <p:cNvSpPr/>
              <p:nvPr/>
            </p:nvSpPr>
            <p:spPr>
              <a:xfrm>
                <a:off x="7919659" y="4352786"/>
                <a:ext cx="457200" cy="76200"/>
              </a:xfrm>
              <a:custGeom>
                <a:avLst/>
                <a:gdLst>
                  <a:gd name="connsiteX0" fmla="*/ 447675 w 457200"/>
                  <a:gd name="connsiteY0" fmla="*/ 0 h 76200"/>
                  <a:gd name="connsiteX1" fmla="*/ 9525 w 457200"/>
                  <a:gd name="connsiteY1" fmla="*/ 0 h 76200"/>
                  <a:gd name="connsiteX2" fmla="*/ 0 w 457200"/>
                  <a:gd name="connsiteY2" fmla="*/ 9525 h 76200"/>
                  <a:gd name="connsiteX3" fmla="*/ 0 w 457200"/>
                  <a:gd name="connsiteY3" fmla="*/ 28575 h 76200"/>
                  <a:gd name="connsiteX4" fmla="*/ 47625 w 457200"/>
                  <a:gd name="connsiteY4" fmla="*/ 76200 h 76200"/>
                  <a:gd name="connsiteX5" fmla="*/ 409575 w 457200"/>
                  <a:gd name="connsiteY5" fmla="*/ 76200 h 76200"/>
                  <a:gd name="connsiteX6" fmla="*/ 457200 w 457200"/>
                  <a:gd name="connsiteY6" fmla="*/ 28575 h 76200"/>
                  <a:gd name="connsiteX7" fmla="*/ 457200 w 457200"/>
                  <a:gd name="connsiteY7" fmla="*/ 9525 h 76200"/>
                  <a:gd name="connsiteX8" fmla="*/ 447675 w 457200"/>
                  <a:gd name="connsiteY8" fmla="*/ 0 h 76200"/>
                  <a:gd name="connsiteX9" fmla="*/ 438150 w 457200"/>
                  <a:gd name="connsiteY9" fmla="*/ 28575 h 76200"/>
                  <a:gd name="connsiteX10" fmla="*/ 409575 w 457200"/>
                  <a:gd name="connsiteY10" fmla="*/ 57150 h 76200"/>
                  <a:gd name="connsiteX11" fmla="*/ 47625 w 457200"/>
                  <a:gd name="connsiteY11" fmla="*/ 57150 h 76200"/>
                  <a:gd name="connsiteX12" fmla="*/ 19050 w 457200"/>
                  <a:gd name="connsiteY12" fmla="*/ 28575 h 76200"/>
                  <a:gd name="connsiteX13" fmla="*/ 19050 w 457200"/>
                  <a:gd name="connsiteY13" fmla="*/ 19050 h 76200"/>
                  <a:gd name="connsiteX14" fmla="*/ 161925 w 457200"/>
                  <a:gd name="connsiteY14" fmla="*/ 19050 h 76200"/>
                  <a:gd name="connsiteX15" fmla="*/ 180975 w 457200"/>
                  <a:gd name="connsiteY15" fmla="*/ 38100 h 76200"/>
                  <a:gd name="connsiteX16" fmla="*/ 276225 w 457200"/>
                  <a:gd name="connsiteY16" fmla="*/ 38100 h 76200"/>
                  <a:gd name="connsiteX17" fmla="*/ 295275 w 457200"/>
                  <a:gd name="connsiteY17" fmla="*/ 19050 h 76200"/>
                  <a:gd name="connsiteX18" fmla="*/ 438150 w 457200"/>
                  <a:gd name="connsiteY18" fmla="*/ 1905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7200" h="76200">
                    <a:moveTo>
                      <a:pt x="447675" y="0"/>
                    </a:moveTo>
                    <a:lnTo>
                      <a:pt x="9525" y="0"/>
                    </a:lnTo>
                    <a:cubicBezTo>
                      <a:pt x="4264" y="0"/>
                      <a:pt x="0" y="4264"/>
                      <a:pt x="0" y="9525"/>
                    </a:cubicBezTo>
                    <a:lnTo>
                      <a:pt x="0" y="28575"/>
                    </a:lnTo>
                    <a:cubicBezTo>
                      <a:pt x="0" y="54877"/>
                      <a:pt x="21322" y="76200"/>
                      <a:pt x="47625" y="76200"/>
                    </a:cubicBezTo>
                    <a:lnTo>
                      <a:pt x="409575" y="76200"/>
                    </a:lnTo>
                    <a:cubicBezTo>
                      <a:pt x="435877" y="76200"/>
                      <a:pt x="457200" y="54877"/>
                      <a:pt x="457200" y="28575"/>
                    </a:cubicBezTo>
                    <a:lnTo>
                      <a:pt x="457200" y="9525"/>
                    </a:lnTo>
                    <a:cubicBezTo>
                      <a:pt x="457200" y="4264"/>
                      <a:pt x="452936" y="0"/>
                      <a:pt x="447675" y="0"/>
                    </a:cubicBezTo>
                    <a:close/>
                    <a:moveTo>
                      <a:pt x="438150" y="28575"/>
                    </a:moveTo>
                    <a:cubicBezTo>
                      <a:pt x="438150" y="44357"/>
                      <a:pt x="425357" y="57150"/>
                      <a:pt x="409575" y="57150"/>
                    </a:cubicBezTo>
                    <a:lnTo>
                      <a:pt x="47625" y="57150"/>
                    </a:lnTo>
                    <a:cubicBezTo>
                      <a:pt x="31844" y="57150"/>
                      <a:pt x="19050" y="44357"/>
                      <a:pt x="19050" y="28575"/>
                    </a:cubicBezTo>
                    <a:lnTo>
                      <a:pt x="19050" y="19050"/>
                    </a:lnTo>
                    <a:lnTo>
                      <a:pt x="161925" y="19050"/>
                    </a:lnTo>
                    <a:cubicBezTo>
                      <a:pt x="161925" y="29571"/>
                      <a:pt x="170454" y="38100"/>
                      <a:pt x="180975" y="38100"/>
                    </a:cubicBezTo>
                    <a:lnTo>
                      <a:pt x="276225" y="38100"/>
                    </a:lnTo>
                    <a:cubicBezTo>
                      <a:pt x="286746" y="38100"/>
                      <a:pt x="295275" y="29571"/>
                      <a:pt x="295275" y="19050"/>
                    </a:cubicBezTo>
                    <a:lnTo>
                      <a:pt x="43815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CF723538-85B8-49FA-AF07-EAA7E5A636C1}"/>
                  </a:ext>
                </a:extLst>
              </p:cNvPr>
              <p:cNvSpPr/>
              <p:nvPr/>
            </p:nvSpPr>
            <p:spPr>
              <a:xfrm>
                <a:off x="7948234" y="4047857"/>
                <a:ext cx="400050" cy="304928"/>
              </a:xfrm>
              <a:custGeom>
                <a:avLst/>
                <a:gdLst>
                  <a:gd name="connsiteX0" fmla="*/ 371475 w 400050"/>
                  <a:gd name="connsiteY0" fmla="*/ 128 h 304928"/>
                  <a:gd name="connsiteX1" fmla="*/ 323850 w 400050"/>
                  <a:gd name="connsiteY1" fmla="*/ 1557 h 304928"/>
                  <a:gd name="connsiteX2" fmla="*/ 323850 w 400050"/>
                  <a:gd name="connsiteY2" fmla="*/ 19178 h 304928"/>
                  <a:gd name="connsiteX3" fmla="*/ 371475 w 400050"/>
                  <a:gd name="connsiteY3" fmla="*/ 19178 h 304928"/>
                  <a:gd name="connsiteX4" fmla="*/ 381000 w 400050"/>
                  <a:gd name="connsiteY4" fmla="*/ 28703 h 304928"/>
                  <a:gd name="connsiteX5" fmla="*/ 381000 w 400050"/>
                  <a:gd name="connsiteY5" fmla="*/ 304928 h 304928"/>
                  <a:gd name="connsiteX6" fmla="*/ 400050 w 400050"/>
                  <a:gd name="connsiteY6" fmla="*/ 304928 h 304928"/>
                  <a:gd name="connsiteX7" fmla="*/ 400050 w 400050"/>
                  <a:gd name="connsiteY7" fmla="*/ 28703 h 304928"/>
                  <a:gd name="connsiteX8" fmla="*/ 371475 w 400050"/>
                  <a:gd name="connsiteY8" fmla="*/ 128 h 304928"/>
                  <a:gd name="connsiteX9" fmla="*/ 0 w 400050"/>
                  <a:gd name="connsiteY9" fmla="*/ 28703 h 304928"/>
                  <a:gd name="connsiteX10" fmla="*/ 0 w 400050"/>
                  <a:gd name="connsiteY10" fmla="*/ 304928 h 304928"/>
                  <a:gd name="connsiteX11" fmla="*/ 19050 w 400050"/>
                  <a:gd name="connsiteY11" fmla="*/ 304928 h 304928"/>
                  <a:gd name="connsiteX12" fmla="*/ 19050 w 400050"/>
                  <a:gd name="connsiteY12" fmla="*/ 28703 h 304928"/>
                  <a:gd name="connsiteX13" fmla="*/ 28575 w 400050"/>
                  <a:gd name="connsiteY13" fmla="*/ 19178 h 304928"/>
                  <a:gd name="connsiteX14" fmla="*/ 76200 w 400050"/>
                  <a:gd name="connsiteY14" fmla="*/ 19178 h 304928"/>
                  <a:gd name="connsiteX15" fmla="*/ 76200 w 400050"/>
                  <a:gd name="connsiteY15" fmla="*/ 1557 h 304928"/>
                  <a:gd name="connsiteX16" fmla="*/ 28575 w 400050"/>
                  <a:gd name="connsiteY16" fmla="*/ 128 h 304928"/>
                  <a:gd name="connsiteX17" fmla="*/ 0 w 400050"/>
                  <a:gd name="connsiteY17" fmla="*/ 28703 h 304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0050" h="304928">
                    <a:moveTo>
                      <a:pt x="371475" y="128"/>
                    </a:moveTo>
                    <a:cubicBezTo>
                      <a:pt x="310134" y="128"/>
                      <a:pt x="318802" y="-443"/>
                      <a:pt x="323850" y="1557"/>
                    </a:cubicBezTo>
                    <a:lnTo>
                      <a:pt x="323850" y="19178"/>
                    </a:lnTo>
                    <a:lnTo>
                      <a:pt x="371475" y="19178"/>
                    </a:lnTo>
                    <a:cubicBezTo>
                      <a:pt x="376736" y="19178"/>
                      <a:pt x="381000" y="23443"/>
                      <a:pt x="381000" y="28703"/>
                    </a:cubicBezTo>
                    <a:lnTo>
                      <a:pt x="381000" y="304928"/>
                    </a:lnTo>
                    <a:lnTo>
                      <a:pt x="400050" y="304928"/>
                    </a:lnTo>
                    <a:lnTo>
                      <a:pt x="400050" y="28703"/>
                    </a:lnTo>
                    <a:cubicBezTo>
                      <a:pt x="400050" y="12922"/>
                      <a:pt x="387257" y="128"/>
                      <a:pt x="371475" y="128"/>
                    </a:cubicBezTo>
                    <a:close/>
                    <a:moveTo>
                      <a:pt x="0" y="28703"/>
                    </a:moveTo>
                    <a:lnTo>
                      <a:pt x="0" y="304928"/>
                    </a:lnTo>
                    <a:lnTo>
                      <a:pt x="19050" y="304928"/>
                    </a:lnTo>
                    <a:lnTo>
                      <a:pt x="19050" y="28703"/>
                    </a:lnTo>
                    <a:cubicBezTo>
                      <a:pt x="19050" y="23443"/>
                      <a:pt x="23315" y="19178"/>
                      <a:pt x="28575" y="19178"/>
                    </a:cubicBezTo>
                    <a:lnTo>
                      <a:pt x="76200" y="19178"/>
                    </a:lnTo>
                    <a:lnTo>
                      <a:pt x="76200" y="1557"/>
                    </a:lnTo>
                    <a:cubicBezTo>
                      <a:pt x="81629" y="-634"/>
                      <a:pt x="88487" y="128"/>
                      <a:pt x="28575" y="128"/>
                    </a:cubicBezTo>
                    <a:cubicBezTo>
                      <a:pt x="12794" y="128"/>
                      <a:pt x="0" y="12922"/>
                      <a:pt x="0" y="287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22F74A5D-1CA8-41B9-BA4F-50C4755C338C}"/>
                  </a:ext>
                </a:extLst>
              </p:cNvPr>
              <p:cNvSpPr/>
              <p:nvPr/>
            </p:nvSpPr>
            <p:spPr>
              <a:xfrm>
                <a:off x="7986334" y="4086086"/>
                <a:ext cx="323850" cy="247650"/>
              </a:xfrm>
              <a:custGeom>
                <a:avLst/>
                <a:gdLst>
                  <a:gd name="connsiteX0" fmla="*/ 314325 w 323850"/>
                  <a:gd name="connsiteY0" fmla="*/ 0 h 247650"/>
                  <a:gd name="connsiteX1" fmla="*/ 285750 w 323850"/>
                  <a:gd name="connsiteY1" fmla="*/ 0 h 247650"/>
                  <a:gd name="connsiteX2" fmla="*/ 285750 w 323850"/>
                  <a:gd name="connsiteY2" fmla="*/ 17621 h 247650"/>
                  <a:gd name="connsiteX3" fmla="*/ 304800 w 323850"/>
                  <a:gd name="connsiteY3" fmla="*/ 19050 h 247650"/>
                  <a:gd name="connsiteX4" fmla="*/ 304800 w 323850"/>
                  <a:gd name="connsiteY4" fmla="*/ 228600 h 247650"/>
                  <a:gd name="connsiteX5" fmla="*/ 19050 w 323850"/>
                  <a:gd name="connsiteY5" fmla="*/ 228600 h 247650"/>
                  <a:gd name="connsiteX6" fmla="*/ 19050 w 323850"/>
                  <a:gd name="connsiteY6" fmla="*/ 19050 h 247650"/>
                  <a:gd name="connsiteX7" fmla="*/ 38100 w 323850"/>
                  <a:gd name="connsiteY7" fmla="*/ 17621 h 247650"/>
                  <a:gd name="connsiteX8" fmla="*/ 38100 w 323850"/>
                  <a:gd name="connsiteY8" fmla="*/ 0 h 247650"/>
                  <a:gd name="connsiteX9" fmla="*/ 9525 w 323850"/>
                  <a:gd name="connsiteY9" fmla="*/ 0 h 247650"/>
                  <a:gd name="connsiteX10" fmla="*/ 0 w 323850"/>
                  <a:gd name="connsiteY10" fmla="*/ 9525 h 247650"/>
                  <a:gd name="connsiteX11" fmla="*/ 0 w 323850"/>
                  <a:gd name="connsiteY11" fmla="*/ 238125 h 247650"/>
                  <a:gd name="connsiteX12" fmla="*/ 9525 w 323850"/>
                  <a:gd name="connsiteY12" fmla="*/ 247650 h 247650"/>
                  <a:gd name="connsiteX13" fmla="*/ 314325 w 323850"/>
                  <a:gd name="connsiteY13" fmla="*/ 247650 h 247650"/>
                  <a:gd name="connsiteX14" fmla="*/ 323850 w 323850"/>
                  <a:gd name="connsiteY14" fmla="*/ 238125 h 247650"/>
                  <a:gd name="connsiteX15" fmla="*/ 323850 w 323850"/>
                  <a:gd name="connsiteY15" fmla="*/ 9525 h 247650"/>
                  <a:gd name="connsiteX16" fmla="*/ 314325 w 323850"/>
                  <a:gd name="connsiteY16" fmla="*/ 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3850" h="247650">
                    <a:moveTo>
                      <a:pt x="314325" y="0"/>
                    </a:moveTo>
                    <a:lnTo>
                      <a:pt x="285750" y="0"/>
                    </a:lnTo>
                    <a:lnTo>
                      <a:pt x="285750" y="17621"/>
                    </a:lnTo>
                    <a:cubicBezTo>
                      <a:pt x="280702" y="19622"/>
                      <a:pt x="277082" y="19050"/>
                      <a:pt x="304800" y="19050"/>
                    </a:cubicBezTo>
                    <a:lnTo>
                      <a:pt x="304800" y="228600"/>
                    </a:lnTo>
                    <a:lnTo>
                      <a:pt x="19050" y="228600"/>
                    </a:lnTo>
                    <a:lnTo>
                      <a:pt x="19050" y="19050"/>
                    </a:lnTo>
                    <a:cubicBezTo>
                      <a:pt x="47625" y="19050"/>
                      <a:pt x="42767" y="19526"/>
                      <a:pt x="38100" y="17621"/>
                    </a:cubicBezTo>
                    <a:lnTo>
                      <a:pt x="38100" y="0"/>
                    </a:lnTo>
                    <a:lnTo>
                      <a:pt x="9525" y="0"/>
                    </a:lnTo>
                    <a:cubicBezTo>
                      <a:pt x="4265" y="0"/>
                      <a:pt x="0" y="4264"/>
                      <a:pt x="0" y="9525"/>
                    </a:cubicBezTo>
                    <a:lnTo>
                      <a:pt x="0" y="238125"/>
                    </a:lnTo>
                    <a:cubicBezTo>
                      <a:pt x="0" y="243386"/>
                      <a:pt x="4265" y="247650"/>
                      <a:pt x="9525" y="247650"/>
                    </a:cubicBezTo>
                    <a:lnTo>
                      <a:pt x="314325" y="247650"/>
                    </a:lnTo>
                    <a:cubicBezTo>
                      <a:pt x="319586" y="247650"/>
                      <a:pt x="323850" y="243386"/>
                      <a:pt x="323850" y="238125"/>
                    </a:cubicBezTo>
                    <a:lnTo>
                      <a:pt x="323850" y="9525"/>
                    </a:lnTo>
                    <a:cubicBezTo>
                      <a:pt x="323850" y="4264"/>
                      <a:pt x="319586" y="0"/>
                      <a:pt x="31432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11B428C6-B2B8-44B5-BC40-64EBEE802F32}"/>
                  </a:ext>
                </a:extLst>
              </p:cNvPr>
              <p:cNvSpPr/>
              <p:nvPr/>
            </p:nvSpPr>
            <p:spPr>
              <a:xfrm>
                <a:off x="8129209" y="4200386"/>
                <a:ext cx="57150" cy="95250"/>
              </a:xfrm>
              <a:custGeom>
                <a:avLst/>
                <a:gdLst>
                  <a:gd name="connsiteX0" fmla="*/ 28575 w 57150"/>
                  <a:gd name="connsiteY0" fmla="*/ 0 h 95250"/>
                  <a:gd name="connsiteX1" fmla="*/ 9525 w 57150"/>
                  <a:gd name="connsiteY1" fmla="*/ 0 h 95250"/>
                  <a:gd name="connsiteX2" fmla="*/ 0 w 57150"/>
                  <a:gd name="connsiteY2" fmla="*/ 9525 h 95250"/>
                  <a:gd name="connsiteX3" fmla="*/ 0 w 57150"/>
                  <a:gd name="connsiteY3" fmla="*/ 85725 h 95250"/>
                  <a:gd name="connsiteX4" fmla="*/ 9525 w 57150"/>
                  <a:gd name="connsiteY4" fmla="*/ 95250 h 95250"/>
                  <a:gd name="connsiteX5" fmla="*/ 19050 w 57150"/>
                  <a:gd name="connsiteY5" fmla="*/ 85725 h 95250"/>
                  <a:gd name="connsiteX6" fmla="*/ 19050 w 57150"/>
                  <a:gd name="connsiteY6" fmla="*/ 57150 h 95250"/>
                  <a:gd name="connsiteX7" fmla="*/ 28575 w 57150"/>
                  <a:gd name="connsiteY7" fmla="*/ 57150 h 95250"/>
                  <a:gd name="connsiteX8" fmla="*/ 57150 w 57150"/>
                  <a:gd name="connsiteY8" fmla="*/ 28575 h 95250"/>
                  <a:gd name="connsiteX9" fmla="*/ 28575 w 57150"/>
                  <a:gd name="connsiteY9" fmla="*/ 0 h 95250"/>
                  <a:gd name="connsiteX10" fmla="*/ 28575 w 57150"/>
                  <a:gd name="connsiteY10" fmla="*/ 38100 h 95250"/>
                  <a:gd name="connsiteX11" fmla="*/ 19050 w 57150"/>
                  <a:gd name="connsiteY11" fmla="*/ 38100 h 95250"/>
                  <a:gd name="connsiteX12" fmla="*/ 19050 w 57150"/>
                  <a:gd name="connsiteY12" fmla="*/ 19050 h 95250"/>
                  <a:gd name="connsiteX13" fmla="*/ 28575 w 57150"/>
                  <a:gd name="connsiteY13" fmla="*/ 19050 h 95250"/>
                  <a:gd name="connsiteX14" fmla="*/ 38100 w 57150"/>
                  <a:gd name="connsiteY14" fmla="*/ 28575 h 95250"/>
                  <a:gd name="connsiteX15" fmla="*/ 28575 w 57150"/>
                  <a:gd name="connsiteY15" fmla="*/ 3810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7150" h="95250">
                    <a:moveTo>
                      <a:pt x="28575" y="0"/>
                    </a:moveTo>
                    <a:lnTo>
                      <a:pt x="9525" y="0"/>
                    </a:lnTo>
                    <a:cubicBezTo>
                      <a:pt x="4264" y="0"/>
                      <a:pt x="0" y="4264"/>
                      <a:pt x="0" y="9525"/>
                    </a:cubicBezTo>
                    <a:lnTo>
                      <a:pt x="0" y="85725"/>
                    </a:lnTo>
                    <a:cubicBezTo>
                      <a:pt x="0" y="90986"/>
                      <a:pt x="4264" y="95250"/>
                      <a:pt x="9525" y="95250"/>
                    </a:cubicBezTo>
                    <a:cubicBezTo>
                      <a:pt x="14786" y="95250"/>
                      <a:pt x="19050" y="90986"/>
                      <a:pt x="19050" y="85725"/>
                    </a:cubicBezTo>
                    <a:lnTo>
                      <a:pt x="19050" y="57150"/>
                    </a:lnTo>
                    <a:lnTo>
                      <a:pt x="28575" y="57150"/>
                    </a:lnTo>
                    <a:cubicBezTo>
                      <a:pt x="44357" y="57150"/>
                      <a:pt x="57150" y="44357"/>
                      <a:pt x="57150" y="28575"/>
                    </a:cubicBezTo>
                    <a:cubicBezTo>
                      <a:pt x="57150" y="12793"/>
                      <a:pt x="44357" y="0"/>
                      <a:pt x="28575" y="0"/>
                    </a:cubicBezTo>
                    <a:close/>
                    <a:moveTo>
                      <a:pt x="28575" y="38100"/>
                    </a:moveTo>
                    <a:lnTo>
                      <a:pt x="19050" y="38100"/>
                    </a:lnTo>
                    <a:lnTo>
                      <a:pt x="19050" y="19050"/>
                    </a:lnTo>
                    <a:lnTo>
                      <a:pt x="28575" y="19050"/>
                    </a:lnTo>
                    <a:cubicBezTo>
                      <a:pt x="33836" y="19050"/>
                      <a:pt x="38100" y="23314"/>
                      <a:pt x="38100" y="28575"/>
                    </a:cubicBezTo>
                    <a:cubicBezTo>
                      <a:pt x="38100" y="33836"/>
                      <a:pt x="33836" y="38100"/>
                      <a:pt x="28575" y="381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24F36D39-707B-4387-B2AD-721892FAF48C}"/>
                  </a:ext>
                </a:extLst>
              </p:cNvPr>
              <p:cNvSpPr/>
              <p:nvPr/>
            </p:nvSpPr>
            <p:spPr>
              <a:xfrm>
                <a:off x="8053009" y="4200440"/>
                <a:ext cx="57150" cy="95195"/>
              </a:xfrm>
              <a:custGeom>
                <a:avLst/>
                <a:gdLst>
                  <a:gd name="connsiteX0" fmla="*/ 37052 w 57150"/>
                  <a:gd name="connsiteY0" fmla="*/ 5184 h 95195"/>
                  <a:gd name="connsiteX1" fmla="*/ 24232 w 57150"/>
                  <a:gd name="connsiteY1" fmla="*/ 1050 h 95195"/>
                  <a:gd name="connsiteX2" fmla="*/ 20098 w 57150"/>
                  <a:gd name="connsiteY2" fmla="*/ 5184 h 95195"/>
                  <a:gd name="connsiteX3" fmla="*/ 1048 w 57150"/>
                  <a:gd name="connsiteY3" fmla="*/ 43284 h 95195"/>
                  <a:gd name="connsiteX4" fmla="*/ 0 w 57150"/>
                  <a:gd name="connsiteY4" fmla="*/ 85670 h 95195"/>
                  <a:gd name="connsiteX5" fmla="*/ 9525 w 57150"/>
                  <a:gd name="connsiteY5" fmla="*/ 95195 h 95195"/>
                  <a:gd name="connsiteX6" fmla="*/ 19050 w 57150"/>
                  <a:gd name="connsiteY6" fmla="*/ 85670 h 95195"/>
                  <a:gd name="connsiteX7" fmla="*/ 19050 w 57150"/>
                  <a:gd name="connsiteY7" fmla="*/ 66620 h 95195"/>
                  <a:gd name="connsiteX8" fmla="*/ 38100 w 57150"/>
                  <a:gd name="connsiteY8" fmla="*/ 66620 h 95195"/>
                  <a:gd name="connsiteX9" fmla="*/ 38100 w 57150"/>
                  <a:gd name="connsiteY9" fmla="*/ 85670 h 95195"/>
                  <a:gd name="connsiteX10" fmla="*/ 47625 w 57150"/>
                  <a:gd name="connsiteY10" fmla="*/ 95195 h 95195"/>
                  <a:gd name="connsiteX11" fmla="*/ 57150 w 57150"/>
                  <a:gd name="connsiteY11" fmla="*/ 85670 h 95195"/>
                  <a:gd name="connsiteX12" fmla="*/ 57150 w 57150"/>
                  <a:gd name="connsiteY12" fmla="*/ 47570 h 95195"/>
                  <a:gd name="connsiteX13" fmla="*/ 37052 w 57150"/>
                  <a:gd name="connsiteY13" fmla="*/ 5184 h 95195"/>
                  <a:gd name="connsiteX14" fmla="*/ 28575 w 57150"/>
                  <a:gd name="connsiteY14" fmla="*/ 30806 h 95195"/>
                  <a:gd name="connsiteX15" fmla="*/ 36957 w 57150"/>
                  <a:gd name="connsiteY15" fmla="*/ 47570 h 95195"/>
                  <a:gd name="connsiteX16" fmla="*/ 20193 w 57150"/>
                  <a:gd name="connsiteY16" fmla="*/ 47570 h 95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50" h="95195">
                    <a:moveTo>
                      <a:pt x="37052" y="5184"/>
                    </a:moveTo>
                    <a:cubicBezTo>
                      <a:pt x="34654" y="502"/>
                      <a:pt x="28914" y="-1349"/>
                      <a:pt x="24232" y="1050"/>
                    </a:cubicBezTo>
                    <a:cubicBezTo>
                      <a:pt x="22454" y="1961"/>
                      <a:pt x="21008" y="3407"/>
                      <a:pt x="20098" y="5184"/>
                    </a:cubicBezTo>
                    <a:lnTo>
                      <a:pt x="1048" y="43284"/>
                    </a:lnTo>
                    <a:cubicBezTo>
                      <a:pt x="0" y="46046"/>
                      <a:pt x="0" y="44617"/>
                      <a:pt x="0" y="85670"/>
                    </a:cubicBezTo>
                    <a:cubicBezTo>
                      <a:pt x="0" y="90931"/>
                      <a:pt x="4264" y="95195"/>
                      <a:pt x="9525" y="95195"/>
                    </a:cubicBezTo>
                    <a:cubicBezTo>
                      <a:pt x="14786" y="95195"/>
                      <a:pt x="19050" y="90931"/>
                      <a:pt x="19050" y="85670"/>
                    </a:cubicBezTo>
                    <a:lnTo>
                      <a:pt x="19050" y="66620"/>
                    </a:lnTo>
                    <a:lnTo>
                      <a:pt x="38100" y="66620"/>
                    </a:lnTo>
                    <a:lnTo>
                      <a:pt x="38100" y="85670"/>
                    </a:lnTo>
                    <a:cubicBezTo>
                      <a:pt x="38100" y="90931"/>
                      <a:pt x="42364" y="95195"/>
                      <a:pt x="47625" y="95195"/>
                    </a:cubicBezTo>
                    <a:cubicBezTo>
                      <a:pt x="52886" y="95195"/>
                      <a:pt x="57150" y="90931"/>
                      <a:pt x="57150" y="85670"/>
                    </a:cubicBezTo>
                    <a:lnTo>
                      <a:pt x="57150" y="47570"/>
                    </a:lnTo>
                    <a:cubicBezTo>
                      <a:pt x="57150" y="44332"/>
                      <a:pt x="57626" y="46332"/>
                      <a:pt x="37052" y="5184"/>
                    </a:cubicBezTo>
                    <a:close/>
                    <a:moveTo>
                      <a:pt x="28575" y="30806"/>
                    </a:moveTo>
                    <a:lnTo>
                      <a:pt x="36957" y="47570"/>
                    </a:lnTo>
                    <a:lnTo>
                      <a:pt x="20193" y="4757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6EC9EA70-C45E-41A0-A32D-A71AC190CDD9}"/>
                  </a:ext>
                </a:extLst>
              </p:cNvPr>
              <p:cNvSpPr/>
              <p:nvPr/>
            </p:nvSpPr>
            <p:spPr>
              <a:xfrm>
                <a:off x="8205409" y="4200386"/>
                <a:ext cx="38100" cy="95250"/>
              </a:xfrm>
              <a:custGeom>
                <a:avLst/>
                <a:gdLst>
                  <a:gd name="connsiteX0" fmla="*/ 28575 w 38100"/>
                  <a:gd name="connsiteY0" fmla="*/ 76200 h 95250"/>
                  <a:gd name="connsiteX1" fmla="*/ 28575 w 38100"/>
                  <a:gd name="connsiteY1" fmla="*/ 19050 h 95250"/>
                  <a:gd name="connsiteX2" fmla="*/ 38100 w 38100"/>
                  <a:gd name="connsiteY2" fmla="*/ 9525 h 95250"/>
                  <a:gd name="connsiteX3" fmla="*/ 28575 w 38100"/>
                  <a:gd name="connsiteY3" fmla="*/ 0 h 95250"/>
                  <a:gd name="connsiteX4" fmla="*/ 9525 w 38100"/>
                  <a:gd name="connsiteY4" fmla="*/ 0 h 95250"/>
                  <a:gd name="connsiteX5" fmla="*/ 0 w 38100"/>
                  <a:gd name="connsiteY5" fmla="*/ 9525 h 95250"/>
                  <a:gd name="connsiteX6" fmla="*/ 9525 w 38100"/>
                  <a:gd name="connsiteY6" fmla="*/ 19050 h 95250"/>
                  <a:gd name="connsiteX7" fmla="*/ 9525 w 38100"/>
                  <a:gd name="connsiteY7" fmla="*/ 76200 h 95250"/>
                  <a:gd name="connsiteX8" fmla="*/ 0 w 38100"/>
                  <a:gd name="connsiteY8" fmla="*/ 85725 h 95250"/>
                  <a:gd name="connsiteX9" fmla="*/ 9525 w 38100"/>
                  <a:gd name="connsiteY9" fmla="*/ 95250 h 95250"/>
                  <a:gd name="connsiteX10" fmla="*/ 28575 w 38100"/>
                  <a:gd name="connsiteY10" fmla="*/ 95250 h 95250"/>
                  <a:gd name="connsiteX11" fmla="*/ 38100 w 38100"/>
                  <a:gd name="connsiteY11" fmla="*/ 85725 h 95250"/>
                  <a:gd name="connsiteX12" fmla="*/ 28575 w 38100"/>
                  <a:gd name="connsiteY12" fmla="*/ 7620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100" h="95250">
                    <a:moveTo>
                      <a:pt x="28575" y="76200"/>
                    </a:moveTo>
                    <a:lnTo>
                      <a:pt x="28575" y="19050"/>
                    </a:lnTo>
                    <a:cubicBezTo>
                      <a:pt x="33836" y="19050"/>
                      <a:pt x="38100" y="14786"/>
                      <a:pt x="38100" y="9525"/>
                    </a:cubicBezTo>
                    <a:cubicBezTo>
                      <a:pt x="38100" y="4264"/>
                      <a:pt x="33836" y="0"/>
                      <a:pt x="28575" y="0"/>
                    </a:cubicBezTo>
                    <a:lnTo>
                      <a:pt x="9525" y="0"/>
                    </a:lnTo>
                    <a:cubicBezTo>
                      <a:pt x="4264" y="0"/>
                      <a:pt x="0" y="4264"/>
                      <a:pt x="0" y="9525"/>
                    </a:cubicBezTo>
                    <a:cubicBezTo>
                      <a:pt x="0" y="14786"/>
                      <a:pt x="4264" y="19050"/>
                      <a:pt x="9525" y="19050"/>
                    </a:cubicBezTo>
                    <a:lnTo>
                      <a:pt x="9525" y="76200"/>
                    </a:lnTo>
                    <a:cubicBezTo>
                      <a:pt x="4264" y="76200"/>
                      <a:pt x="0" y="80464"/>
                      <a:pt x="0" y="85725"/>
                    </a:cubicBezTo>
                    <a:cubicBezTo>
                      <a:pt x="0" y="90986"/>
                      <a:pt x="4264" y="95250"/>
                      <a:pt x="9525" y="95250"/>
                    </a:cubicBezTo>
                    <a:lnTo>
                      <a:pt x="28575" y="95250"/>
                    </a:lnTo>
                    <a:cubicBezTo>
                      <a:pt x="33836" y="95250"/>
                      <a:pt x="38100" y="90986"/>
                      <a:pt x="38100" y="85725"/>
                    </a:cubicBezTo>
                    <a:cubicBezTo>
                      <a:pt x="38100" y="80464"/>
                      <a:pt x="33836" y="76200"/>
                      <a:pt x="28575" y="76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0CCB0690-55DD-4F2B-8E48-02AD33CC826A}"/>
                  </a:ext>
                </a:extLst>
              </p:cNvPr>
              <p:cNvSpPr/>
              <p:nvPr/>
            </p:nvSpPr>
            <p:spPr>
              <a:xfrm>
                <a:off x="8043484" y="3971786"/>
                <a:ext cx="209550" cy="209550"/>
              </a:xfrm>
              <a:custGeom>
                <a:avLst/>
                <a:gdLst>
                  <a:gd name="connsiteX0" fmla="*/ 209550 w 209550"/>
                  <a:gd name="connsiteY0" fmla="*/ 119063 h 209550"/>
                  <a:gd name="connsiteX1" fmla="*/ 209550 w 209550"/>
                  <a:gd name="connsiteY1" fmla="*/ 90488 h 209550"/>
                  <a:gd name="connsiteX2" fmla="*/ 187262 w 209550"/>
                  <a:gd name="connsiteY2" fmla="*/ 81534 h 209550"/>
                  <a:gd name="connsiteX3" fmla="*/ 179546 w 209550"/>
                  <a:gd name="connsiteY3" fmla="*/ 62484 h 209550"/>
                  <a:gd name="connsiteX4" fmla="*/ 189071 w 209550"/>
                  <a:gd name="connsiteY4" fmla="*/ 40386 h 209550"/>
                  <a:gd name="connsiteX5" fmla="*/ 168783 w 209550"/>
                  <a:gd name="connsiteY5" fmla="*/ 20574 h 209550"/>
                  <a:gd name="connsiteX6" fmla="*/ 146685 w 209550"/>
                  <a:gd name="connsiteY6" fmla="*/ 30099 h 209550"/>
                  <a:gd name="connsiteX7" fmla="*/ 127635 w 209550"/>
                  <a:gd name="connsiteY7" fmla="*/ 22384 h 209550"/>
                  <a:gd name="connsiteX8" fmla="*/ 119063 w 209550"/>
                  <a:gd name="connsiteY8" fmla="*/ 0 h 209550"/>
                  <a:gd name="connsiteX9" fmla="*/ 90488 w 209550"/>
                  <a:gd name="connsiteY9" fmla="*/ 0 h 209550"/>
                  <a:gd name="connsiteX10" fmla="*/ 81534 w 209550"/>
                  <a:gd name="connsiteY10" fmla="*/ 22289 h 209550"/>
                  <a:gd name="connsiteX11" fmla="*/ 62484 w 209550"/>
                  <a:gd name="connsiteY11" fmla="*/ 30004 h 209550"/>
                  <a:gd name="connsiteX12" fmla="*/ 40386 w 209550"/>
                  <a:gd name="connsiteY12" fmla="*/ 20479 h 209550"/>
                  <a:gd name="connsiteX13" fmla="*/ 20574 w 209550"/>
                  <a:gd name="connsiteY13" fmla="*/ 40767 h 209550"/>
                  <a:gd name="connsiteX14" fmla="*/ 30099 w 209550"/>
                  <a:gd name="connsiteY14" fmla="*/ 62865 h 209550"/>
                  <a:gd name="connsiteX15" fmla="*/ 22384 w 209550"/>
                  <a:gd name="connsiteY15" fmla="*/ 81915 h 209550"/>
                  <a:gd name="connsiteX16" fmla="*/ 0 w 209550"/>
                  <a:gd name="connsiteY16" fmla="*/ 90488 h 209550"/>
                  <a:gd name="connsiteX17" fmla="*/ 0 w 209550"/>
                  <a:gd name="connsiteY17" fmla="*/ 119063 h 209550"/>
                  <a:gd name="connsiteX18" fmla="*/ 22289 w 209550"/>
                  <a:gd name="connsiteY18" fmla="*/ 128016 h 209550"/>
                  <a:gd name="connsiteX19" fmla="*/ 30004 w 209550"/>
                  <a:gd name="connsiteY19" fmla="*/ 147066 h 209550"/>
                  <a:gd name="connsiteX20" fmla="*/ 20479 w 209550"/>
                  <a:gd name="connsiteY20" fmla="*/ 169164 h 209550"/>
                  <a:gd name="connsiteX21" fmla="*/ 40672 w 209550"/>
                  <a:gd name="connsiteY21" fmla="*/ 189357 h 209550"/>
                  <a:gd name="connsiteX22" fmla="*/ 62770 w 209550"/>
                  <a:gd name="connsiteY22" fmla="*/ 179832 h 209550"/>
                  <a:gd name="connsiteX23" fmla="*/ 81820 w 209550"/>
                  <a:gd name="connsiteY23" fmla="*/ 187547 h 209550"/>
                  <a:gd name="connsiteX24" fmla="*/ 90488 w 209550"/>
                  <a:gd name="connsiteY24" fmla="*/ 209550 h 209550"/>
                  <a:gd name="connsiteX25" fmla="*/ 119063 w 209550"/>
                  <a:gd name="connsiteY25" fmla="*/ 209550 h 209550"/>
                  <a:gd name="connsiteX26" fmla="*/ 128016 w 209550"/>
                  <a:gd name="connsiteY26" fmla="*/ 187262 h 209550"/>
                  <a:gd name="connsiteX27" fmla="*/ 147066 w 209550"/>
                  <a:gd name="connsiteY27" fmla="*/ 179546 h 209550"/>
                  <a:gd name="connsiteX28" fmla="*/ 169164 w 209550"/>
                  <a:gd name="connsiteY28" fmla="*/ 189071 h 209550"/>
                  <a:gd name="connsiteX29" fmla="*/ 189357 w 209550"/>
                  <a:gd name="connsiteY29" fmla="*/ 168878 h 209550"/>
                  <a:gd name="connsiteX30" fmla="*/ 179832 w 209550"/>
                  <a:gd name="connsiteY30" fmla="*/ 146780 h 209550"/>
                  <a:gd name="connsiteX31" fmla="*/ 187547 w 209550"/>
                  <a:gd name="connsiteY31" fmla="*/ 127730 h 209550"/>
                  <a:gd name="connsiteX32" fmla="*/ 73438 w 209550"/>
                  <a:gd name="connsiteY32" fmla="*/ 117062 h 209550"/>
                  <a:gd name="connsiteX33" fmla="*/ 73493 w 209550"/>
                  <a:gd name="connsiteY33" fmla="*/ 130533 h 209550"/>
                  <a:gd name="connsiteX34" fmla="*/ 66675 w 209550"/>
                  <a:gd name="connsiteY34" fmla="*/ 133350 h 209550"/>
                  <a:gd name="connsiteX35" fmla="*/ 40862 w 209550"/>
                  <a:gd name="connsiteY35" fmla="*/ 111538 h 209550"/>
                  <a:gd name="connsiteX36" fmla="*/ 40807 w 209550"/>
                  <a:gd name="connsiteY36" fmla="*/ 98068 h 209550"/>
                  <a:gd name="connsiteX37" fmla="*/ 40862 w 209550"/>
                  <a:gd name="connsiteY37" fmla="*/ 98012 h 209550"/>
                  <a:gd name="connsiteX38" fmla="*/ 59912 w 209550"/>
                  <a:gd name="connsiteY38" fmla="*/ 78962 h 209550"/>
                  <a:gd name="connsiteX39" fmla="*/ 73438 w 209550"/>
                  <a:gd name="connsiteY39" fmla="*/ 78962 h 209550"/>
                  <a:gd name="connsiteX40" fmla="*/ 73438 w 209550"/>
                  <a:gd name="connsiteY40" fmla="*/ 92488 h 209550"/>
                  <a:gd name="connsiteX41" fmla="*/ 61055 w 209550"/>
                  <a:gd name="connsiteY41" fmla="*/ 104775 h 209550"/>
                  <a:gd name="connsiteX42" fmla="*/ 123349 w 209550"/>
                  <a:gd name="connsiteY42" fmla="*/ 78962 h 209550"/>
                  <a:gd name="connsiteX43" fmla="*/ 104299 w 209550"/>
                  <a:gd name="connsiteY43" fmla="*/ 136112 h 209550"/>
                  <a:gd name="connsiteX44" fmla="*/ 92202 w 209550"/>
                  <a:gd name="connsiteY44" fmla="*/ 142113 h 209550"/>
                  <a:gd name="connsiteX45" fmla="*/ 86201 w 209550"/>
                  <a:gd name="connsiteY45" fmla="*/ 130016 h 209550"/>
                  <a:gd name="connsiteX46" fmla="*/ 105251 w 209550"/>
                  <a:gd name="connsiteY46" fmla="*/ 72866 h 209550"/>
                  <a:gd name="connsiteX47" fmla="*/ 117729 w 209550"/>
                  <a:gd name="connsiteY47" fmla="*/ 66770 h 209550"/>
                  <a:gd name="connsiteX48" fmla="*/ 123825 w 209550"/>
                  <a:gd name="connsiteY48" fmla="*/ 79248 h 209550"/>
                  <a:gd name="connsiteX49" fmla="*/ 168688 w 209550"/>
                  <a:gd name="connsiteY49" fmla="*/ 111252 h 209550"/>
                  <a:gd name="connsiteX50" fmla="*/ 142875 w 209550"/>
                  <a:gd name="connsiteY50" fmla="*/ 133350 h 209550"/>
                  <a:gd name="connsiteX51" fmla="*/ 133295 w 209550"/>
                  <a:gd name="connsiteY51" fmla="*/ 123880 h 209550"/>
                  <a:gd name="connsiteX52" fmla="*/ 136112 w 209550"/>
                  <a:gd name="connsiteY52" fmla="*/ 117062 h 209550"/>
                  <a:gd name="connsiteX53" fmla="*/ 148495 w 209550"/>
                  <a:gd name="connsiteY53" fmla="*/ 104775 h 209550"/>
                  <a:gd name="connsiteX54" fmla="*/ 136112 w 209550"/>
                  <a:gd name="connsiteY54" fmla="*/ 92488 h 209550"/>
                  <a:gd name="connsiteX55" fmla="*/ 136112 w 209550"/>
                  <a:gd name="connsiteY55" fmla="*/ 78962 h 209550"/>
                  <a:gd name="connsiteX56" fmla="*/ 149638 w 209550"/>
                  <a:gd name="connsiteY56" fmla="*/ 78962 h 209550"/>
                  <a:gd name="connsiteX57" fmla="*/ 168688 w 209550"/>
                  <a:gd name="connsiteY57" fmla="*/ 98012 h 209550"/>
                  <a:gd name="connsiteX58" fmla="*/ 168743 w 209550"/>
                  <a:gd name="connsiteY58" fmla="*/ 111483 h 209550"/>
                  <a:gd name="connsiteX59" fmla="*/ 168688 w 209550"/>
                  <a:gd name="connsiteY59" fmla="*/ 111538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09550" h="209550">
                    <a:moveTo>
                      <a:pt x="209550" y="119063"/>
                    </a:moveTo>
                    <a:lnTo>
                      <a:pt x="209550" y="90488"/>
                    </a:lnTo>
                    <a:lnTo>
                      <a:pt x="187262" y="81534"/>
                    </a:lnTo>
                    <a:cubicBezTo>
                      <a:pt x="185430" y="74909"/>
                      <a:pt x="182841" y="68517"/>
                      <a:pt x="179546" y="62484"/>
                    </a:cubicBezTo>
                    <a:lnTo>
                      <a:pt x="189071" y="40386"/>
                    </a:lnTo>
                    <a:lnTo>
                      <a:pt x="168783" y="20574"/>
                    </a:lnTo>
                    <a:lnTo>
                      <a:pt x="146685" y="30099"/>
                    </a:lnTo>
                    <a:cubicBezTo>
                      <a:pt x="140652" y="26804"/>
                      <a:pt x="134260" y="24216"/>
                      <a:pt x="127635" y="22384"/>
                    </a:cubicBezTo>
                    <a:lnTo>
                      <a:pt x="119063" y="0"/>
                    </a:lnTo>
                    <a:lnTo>
                      <a:pt x="90488" y="0"/>
                    </a:lnTo>
                    <a:lnTo>
                      <a:pt x="81534" y="22289"/>
                    </a:lnTo>
                    <a:cubicBezTo>
                      <a:pt x="74909" y="24120"/>
                      <a:pt x="68517" y="26709"/>
                      <a:pt x="62484" y="30004"/>
                    </a:cubicBezTo>
                    <a:lnTo>
                      <a:pt x="40386" y="20479"/>
                    </a:lnTo>
                    <a:lnTo>
                      <a:pt x="20574" y="40767"/>
                    </a:lnTo>
                    <a:lnTo>
                      <a:pt x="30099" y="62865"/>
                    </a:lnTo>
                    <a:cubicBezTo>
                      <a:pt x="26804" y="68898"/>
                      <a:pt x="24215" y="75290"/>
                      <a:pt x="22384" y="81915"/>
                    </a:cubicBezTo>
                    <a:lnTo>
                      <a:pt x="0" y="90488"/>
                    </a:lnTo>
                    <a:lnTo>
                      <a:pt x="0" y="119063"/>
                    </a:lnTo>
                    <a:lnTo>
                      <a:pt x="22289" y="128016"/>
                    </a:lnTo>
                    <a:cubicBezTo>
                      <a:pt x="24120" y="134641"/>
                      <a:pt x="26709" y="141033"/>
                      <a:pt x="30004" y="147066"/>
                    </a:cubicBezTo>
                    <a:lnTo>
                      <a:pt x="20479" y="169164"/>
                    </a:lnTo>
                    <a:lnTo>
                      <a:pt x="40672" y="189357"/>
                    </a:lnTo>
                    <a:lnTo>
                      <a:pt x="62770" y="179832"/>
                    </a:lnTo>
                    <a:cubicBezTo>
                      <a:pt x="68803" y="183127"/>
                      <a:pt x="75195" y="185716"/>
                      <a:pt x="81820" y="187547"/>
                    </a:cubicBezTo>
                    <a:lnTo>
                      <a:pt x="90488" y="209550"/>
                    </a:lnTo>
                    <a:lnTo>
                      <a:pt x="119063" y="209550"/>
                    </a:lnTo>
                    <a:lnTo>
                      <a:pt x="128016" y="187262"/>
                    </a:lnTo>
                    <a:cubicBezTo>
                      <a:pt x="134641" y="185430"/>
                      <a:pt x="141033" y="182841"/>
                      <a:pt x="147066" y="179546"/>
                    </a:cubicBezTo>
                    <a:lnTo>
                      <a:pt x="169164" y="189071"/>
                    </a:lnTo>
                    <a:lnTo>
                      <a:pt x="189357" y="168878"/>
                    </a:lnTo>
                    <a:lnTo>
                      <a:pt x="179832" y="146780"/>
                    </a:lnTo>
                    <a:cubicBezTo>
                      <a:pt x="183127" y="140747"/>
                      <a:pt x="185716" y="134355"/>
                      <a:pt x="187547" y="127730"/>
                    </a:cubicBezTo>
                    <a:close/>
                    <a:moveTo>
                      <a:pt x="73438" y="117062"/>
                    </a:moveTo>
                    <a:cubicBezTo>
                      <a:pt x="77173" y="120767"/>
                      <a:pt x="77197" y="126798"/>
                      <a:pt x="73493" y="130533"/>
                    </a:cubicBezTo>
                    <a:cubicBezTo>
                      <a:pt x="71691" y="132350"/>
                      <a:pt x="69234" y="133365"/>
                      <a:pt x="66675" y="133350"/>
                    </a:cubicBezTo>
                    <a:cubicBezTo>
                      <a:pt x="61436" y="133350"/>
                      <a:pt x="61151" y="131826"/>
                      <a:pt x="40862" y="111538"/>
                    </a:cubicBezTo>
                    <a:cubicBezTo>
                      <a:pt x="37127" y="107833"/>
                      <a:pt x="37103" y="101802"/>
                      <a:pt x="40807" y="98068"/>
                    </a:cubicBezTo>
                    <a:cubicBezTo>
                      <a:pt x="40825" y="98049"/>
                      <a:pt x="40844" y="98030"/>
                      <a:pt x="40862" y="98012"/>
                    </a:cubicBezTo>
                    <a:lnTo>
                      <a:pt x="59912" y="78962"/>
                    </a:lnTo>
                    <a:cubicBezTo>
                      <a:pt x="63647" y="75227"/>
                      <a:pt x="69703" y="75227"/>
                      <a:pt x="73438" y="78962"/>
                    </a:cubicBezTo>
                    <a:cubicBezTo>
                      <a:pt x="77173" y="82697"/>
                      <a:pt x="77173" y="88753"/>
                      <a:pt x="73438" y="92488"/>
                    </a:cubicBezTo>
                    <a:lnTo>
                      <a:pt x="61055" y="104775"/>
                    </a:lnTo>
                    <a:close/>
                    <a:moveTo>
                      <a:pt x="123349" y="78962"/>
                    </a:moveTo>
                    <a:lnTo>
                      <a:pt x="104299" y="136112"/>
                    </a:lnTo>
                    <a:cubicBezTo>
                      <a:pt x="102616" y="141110"/>
                      <a:pt x="97200" y="143796"/>
                      <a:pt x="92202" y="142113"/>
                    </a:cubicBezTo>
                    <a:cubicBezTo>
                      <a:pt x="87204" y="140430"/>
                      <a:pt x="84518" y="135014"/>
                      <a:pt x="86201" y="130016"/>
                    </a:cubicBezTo>
                    <a:lnTo>
                      <a:pt x="105251" y="72866"/>
                    </a:lnTo>
                    <a:cubicBezTo>
                      <a:pt x="107013" y="67737"/>
                      <a:pt x="112600" y="65008"/>
                      <a:pt x="117729" y="66770"/>
                    </a:cubicBezTo>
                    <a:cubicBezTo>
                      <a:pt x="122858" y="68533"/>
                      <a:pt x="125587" y="74119"/>
                      <a:pt x="123825" y="79248"/>
                    </a:cubicBezTo>
                    <a:close/>
                    <a:moveTo>
                      <a:pt x="168688" y="111252"/>
                    </a:moveTo>
                    <a:cubicBezTo>
                      <a:pt x="148495" y="131731"/>
                      <a:pt x="148114" y="133350"/>
                      <a:pt x="142875" y="133350"/>
                    </a:cubicBezTo>
                    <a:cubicBezTo>
                      <a:pt x="137614" y="133380"/>
                      <a:pt x="133325" y="129141"/>
                      <a:pt x="133295" y="123880"/>
                    </a:cubicBezTo>
                    <a:cubicBezTo>
                      <a:pt x="133280" y="121322"/>
                      <a:pt x="134295" y="118864"/>
                      <a:pt x="136112" y="117062"/>
                    </a:cubicBezTo>
                    <a:lnTo>
                      <a:pt x="148495" y="104775"/>
                    </a:lnTo>
                    <a:lnTo>
                      <a:pt x="136112" y="92488"/>
                    </a:lnTo>
                    <a:cubicBezTo>
                      <a:pt x="132378" y="88753"/>
                      <a:pt x="132378" y="82697"/>
                      <a:pt x="136112" y="78962"/>
                    </a:cubicBezTo>
                    <a:cubicBezTo>
                      <a:pt x="139847" y="75227"/>
                      <a:pt x="145903" y="75227"/>
                      <a:pt x="149638" y="78962"/>
                    </a:cubicBezTo>
                    <a:lnTo>
                      <a:pt x="168688" y="98012"/>
                    </a:lnTo>
                    <a:cubicBezTo>
                      <a:pt x="172423" y="101717"/>
                      <a:pt x="172447" y="107748"/>
                      <a:pt x="168743" y="111483"/>
                    </a:cubicBezTo>
                    <a:cubicBezTo>
                      <a:pt x="168725" y="111501"/>
                      <a:pt x="168706" y="111520"/>
                      <a:pt x="168688" y="1115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9537A30B-12CD-437A-A3DA-279D7FDD330A}"/>
                </a:ext>
              </a:extLst>
            </p:cNvPr>
            <p:cNvSpPr txBox="1"/>
            <p:nvPr/>
          </p:nvSpPr>
          <p:spPr>
            <a:xfrm>
              <a:off x="7480936" y="4297952"/>
              <a:ext cx="130356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b="0">
                  <a:solidFill>
                    <a:schemeClr val="accent2"/>
                  </a:solidFill>
                </a:rPr>
                <a:t>Application Program</a:t>
              </a:r>
            </a:p>
            <a:p>
              <a:pPr algn="ctr"/>
              <a:r>
                <a:rPr lang="en-AU" b="0">
                  <a:solidFill>
                    <a:schemeClr val="accent2"/>
                  </a:solidFill>
                </a:rPr>
                <a:t>Interface</a:t>
              </a:r>
            </a:p>
          </p:txBody>
        </p:sp>
        <p:grpSp>
          <p:nvGrpSpPr>
            <p:cNvPr id="312" name="Graphic 84">
              <a:extLst>
                <a:ext uri="{FF2B5EF4-FFF2-40B4-BE49-F238E27FC236}">
                  <a16:creationId xmlns:a16="http://schemas.microsoft.com/office/drawing/2014/main" id="{41CE464B-1A70-457D-A840-D9387C93CCCE}"/>
                </a:ext>
              </a:extLst>
            </p:cNvPr>
            <p:cNvGrpSpPr/>
            <p:nvPr/>
          </p:nvGrpSpPr>
          <p:grpSpPr>
            <a:xfrm>
              <a:off x="9194004" y="2530580"/>
              <a:ext cx="417040" cy="332870"/>
              <a:chOff x="2670962" y="6480039"/>
              <a:chExt cx="417040" cy="332870"/>
            </a:xfrm>
            <a:solidFill>
              <a:schemeClr val="accent2"/>
            </a:solidFill>
          </p:grpSpPr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FAD144C8-E138-4EF0-A314-A28EA6876605}"/>
                  </a:ext>
                </a:extLst>
              </p:cNvPr>
              <p:cNvSpPr/>
              <p:nvPr/>
            </p:nvSpPr>
            <p:spPr>
              <a:xfrm>
                <a:off x="2694072" y="6587003"/>
                <a:ext cx="167331" cy="33673"/>
              </a:xfrm>
              <a:custGeom>
                <a:avLst/>
                <a:gdLst>
                  <a:gd name="connsiteX0" fmla="*/ 162616 w 167331"/>
                  <a:gd name="connsiteY0" fmla="*/ 33674 h 33673"/>
                  <a:gd name="connsiteX1" fmla="*/ 157900 w 167331"/>
                  <a:gd name="connsiteY1" fmla="*/ 28958 h 33673"/>
                  <a:gd name="connsiteX2" fmla="*/ 157900 w 167331"/>
                  <a:gd name="connsiteY2" fmla="*/ 4716 h 33673"/>
                  <a:gd name="connsiteX3" fmla="*/ 162616 w 167331"/>
                  <a:gd name="connsiteY3" fmla="*/ 0 h 33673"/>
                  <a:gd name="connsiteX4" fmla="*/ 167332 w 167331"/>
                  <a:gd name="connsiteY4" fmla="*/ 4716 h 33673"/>
                  <a:gd name="connsiteX5" fmla="*/ 167332 w 167331"/>
                  <a:gd name="connsiteY5" fmla="*/ 28958 h 33673"/>
                  <a:gd name="connsiteX6" fmla="*/ 162616 w 167331"/>
                  <a:gd name="connsiteY6" fmla="*/ 33674 h 33673"/>
                  <a:gd name="connsiteX7" fmla="*/ 4716 w 167331"/>
                  <a:gd name="connsiteY7" fmla="*/ 33674 h 33673"/>
                  <a:gd name="connsiteX8" fmla="*/ 0 w 167331"/>
                  <a:gd name="connsiteY8" fmla="*/ 28958 h 33673"/>
                  <a:gd name="connsiteX9" fmla="*/ 0 w 167331"/>
                  <a:gd name="connsiteY9" fmla="*/ 4716 h 33673"/>
                  <a:gd name="connsiteX10" fmla="*/ 4716 w 167331"/>
                  <a:gd name="connsiteY10" fmla="*/ 0 h 33673"/>
                  <a:gd name="connsiteX11" fmla="*/ 9432 w 167331"/>
                  <a:gd name="connsiteY11" fmla="*/ 4716 h 33673"/>
                  <a:gd name="connsiteX12" fmla="*/ 9432 w 167331"/>
                  <a:gd name="connsiteY12" fmla="*/ 28958 h 33673"/>
                  <a:gd name="connsiteX13" fmla="*/ 4716 w 167331"/>
                  <a:gd name="connsiteY13" fmla="*/ 33674 h 33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7331" h="33673">
                    <a:moveTo>
                      <a:pt x="162616" y="33674"/>
                    </a:moveTo>
                    <a:cubicBezTo>
                      <a:pt x="159975" y="33674"/>
                      <a:pt x="157900" y="31599"/>
                      <a:pt x="157900" y="28958"/>
                    </a:cubicBezTo>
                    <a:lnTo>
                      <a:pt x="157900" y="4716"/>
                    </a:lnTo>
                    <a:cubicBezTo>
                      <a:pt x="157900" y="2075"/>
                      <a:pt x="159975" y="0"/>
                      <a:pt x="162616" y="0"/>
                    </a:cubicBezTo>
                    <a:cubicBezTo>
                      <a:pt x="165257" y="0"/>
                      <a:pt x="167332" y="2075"/>
                      <a:pt x="167332" y="4716"/>
                    </a:cubicBezTo>
                    <a:lnTo>
                      <a:pt x="167332" y="28958"/>
                    </a:lnTo>
                    <a:cubicBezTo>
                      <a:pt x="167332" y="31599"/>
                      <a:pt x="165257" y="33674"/>
                      <a:pt x="162616" y="33674"/>
                    </a:cubicBezTo>
                    <a:close/>
                    <a:moveTo>
                      <a:pt x="4716" y="33674"/>
                    </a:moveTo>
                    <a:cubicBezTo>
                      <a:pt x="2075" y="33674"/>
                      <a:pt x="0" y="31599"/>
                      <a:pt x="0" y="28958"/>
                    </a:cubicBezTo>
                    <a:lnTo>
                      <a:pt x="0" y="4716"/>
                    </a:lnTo>
                    <a:cubicBezTo>
                      <a:pt x="0" y="2075"/>
                      <a:pt x="2075" y="0"/>
                      <a:pt x="4716" y="0"/>
                    </a:cubicBezTo>
                    <a:cubicBezTo>
                      <a:pt x="7357" y="0"/>
                      <a:pt x="9432" y="2075"/>
                      <a:pt x="9432" y="4716"/>
                    </a:cubicBezTo>
                    <a:lnTo>
                      <a:pt x="9432" y="28958"/>
                    </a:lnTo>
                    <a:cubicBezTo>
                      <a:pt x="9432" y="31599"/>
                      <a:pt x="7357" y="33674"/>
                      <a:pt x="4716" y="33674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52B717A3-1D66-4E8E-9525-0C8542EF9A20}"/>
                  </a:ext>
                </a:extLst>
              </p:cNvPr>
              <p:cNvSpPr/>
              <p:nvPr/>
            </p:nvSpPr>
            <p:spPr>
              <a:xfrm>
                <a:off x="2670962" y="6525975"/>
                <a:ext cx="213456" cy="70460"/>
              </a:xfrm>
              <a:custGeom>
                <a:avLst/>
                <a:gdLst>
                  <a:gd name="connsiteX0" fmla="*/ 198648 w 213456"/>
                  <a:gd name="connsiteY0" fmla="*/ 70461 h 70460"/>
                  <a:gd name="connsiteX1" fmla="*/ 14903 w 213456"/>
                  <a:gd name="connsiteY1" fmla="*/ 70461 h 70460"/>
                  <a:gd name="connsiteX2" fmla="*/ 0 w 213456"/>
                  <a:gd name="connsiteY2" fmla="*/ 55557 h 70460"/>
                  <a:gd name="connsiteX3" fmla="*/ 0 w 213456"/>
                  <a:gd name="connsiteY3" fmla="*/ 14903 h 70460"/>
                  <a:gd name="connsiteX4" fmla="*/ 14903 w 213456"/>
                  <a:gd name="connsiteY4" fmla="*/ 0 h 70460"/>
                  <a:gd name="connsiteX5" fmla="*/ 198553 w 213456"/>
                  <a:gd name="connsiteY5" fmla="*/ 0 h 70460"/>
                  <a:gd name="connsiteX6" fmla="*/ 213457 w 213456"/>
                  <a:gd name="connsiteY6" fmla="*/ 14903 h 70460"/>
                  <a:gd name="connsiteX7" fmla="*/ 213457 w 213456"/>
                  <a:gd name="connsiteY7" fmla="*/ 55652 h 70460"/>
                  <a:gd name="connsiteX8" fmla="*/ 198648 w 213456"/>
                  <a:gd name="connsiteY8" fmla="*/ 70461 h 70460"/>
                  <a:gd name="connsiteX9" fmla="*/ 14903 w 213456"/>
                  <a:gd name="connsiteY9" fmla="*/ 9527 h 70460"/>
                  <a:gd name="connsiteX10" fmla="*/ 9433 w 213456"/>
                  <a:gd name="connsiteY10" fmla="*/ 14997 h 70460"/>
                  <a:gd name="connsiteX11" fmla="*/ 9433 w 213456"/>
                  <a:gd name="connsiteY11" fmla="*/ 55652 h 70460"/>
                  <a:gd name="connsiteX12" fmla="*/ 14903 w 213456"/>
                  <a:gd name="connsiteY12" fmla="*/ 61122 h 70460"/>
                  <a:gd name="connsiteX13" fmla="*/ 198553 w 213456"/>
                  <a:gd name="connsiteY13" fmla="*/ 61122 h 70460"/>
                  <a:gd name="connsiteX14" fmla="*/ 204024 w 213456"/>
                  <a:gd name="connsiteY14" fmla="*/ 55652 h 70460"/>
                  <a:gd name="connsiteX15" fmla="*/ 204024 w 213456"/>
                  <a:gd name="connsiteY15" fmla="*/ 14997 h 70460"/>
                  <a:gd name="connsiteX16" fmla="*/ 198553 w 213456"/>
                  <a:gd name="connsiteY16" fmla="*/ 9527 h 7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3456" h="70460">
                    <a:moveTo>
                      <a:pt x="198648" y="70461"/>
                    </a:moveTo>
                    <a:lnTo>
                      <a:pt x="14903" y="70461"/>
                    </a:lnTo>
                    <a:cubicBezTo>
                      <a:pt x="6697" y="70461"/>
                      <a:pt x="0" y="63763"/>
                      <a:pt x="0" y="55557"/>
                    </a:cubicBezTo>
                    <a:lnTo>
                      <a:pt x="0" y="14903"/>
                    </a:lnTo>
                    <a:cubicBezTo>
                      <a:pt x="0" y="6697"/>
                      <a:pt x="6697" y="0"/>
                      <a:pt x="14903" y="0"/>
                    </a:cubicBezTo>
                    <a:lnTo>
                      <a:pt x="198553" y="0"/>
                    </a:lnTo>
                    <a:cubicBezTo>
                      <a:pt x="206760" y="0"/>
                      <a:pt x="213457" y="6697"/>
                      <a:pt x="213457" y="14903"/>
                    </a:cubicBezTo>
                    <a:lnTo>
                      <a:pt x="213457" y="55652"/>
                    </a:lnTo>
                    <a:cubicBezTo>
                      <a:pt x="213457" y="63858"/>
                      <a:pt x="206854" y="70461"/>
                      <a:pt x="198648" y="70461"/>
                    </a:cubicBezTo>
                    <a:close/>
                    <a:moveTo>
                      <a:pt x="14903" y="9527"/>
                    </a:moveTo>
                    <a:cubicBezTo>
                      <a:pt x="11885" y="9527"/>
                      <a:pt x="9433" y="11979"/>
                      <a:pt x="9433" y="14997"/>
                    </a:cubicBezTo>
                    <a:lnTo>
                      <a:pt x="9433" y="55652"/>
                    </a:lnTo>
                    <a:cubicBezTo>
                      <a:pt x="9433" y="58670"/>
                      <a:pt x="11885" y="61122"/>
                      <a:pt x="14903" y="61122"/>
                    </a:cubicBezTo>
                    <a:lnTo>
                      <a:pt x="198553" y="61122"/>
                    </a:lnTo>
                    <a:cubicBezTo>
                      <a:pt x="201572" y="61122"/>
                      <a:pt x="204024" y="58669"/>
                      <a:pt x="204024" y="55652"/>
                    </a:cubicBezTo>
                    <a:lnTo>
                      <a:pt x="204024" y="14997"/>
                    </a:lnTo>
                    <a:cubicBezTo>
                      <a:pt x="204024" y="11979"/>
                      <a:pt x="201572" y="9527"/>
                      <a:pt x="198553" y="9527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56D33C04-696E-42F5-9EF7-814998FDF2ED}"/>
                  </a:ext>
                </a:extLst>
              </p:cNvPr>
              <p:cNvSpPr/>
              <p:nvPr/>
            </p:nvSpPr>
            <p:spPr>
              <a:xfrm>
                <a:off x="2694732" y="6548896"/>
                <a:ext cx="24713" cy="24713"/>
              </a:xfrm>
              <a:custGeom>
                <a:avLst/>
                <a:gdLst>
                  <a:gd name="connsiteX0" fmla="*/ 12357 w 24713"/>
                  <a:gd name="connsiteY0" fmla="*/ 24713 h 24713"/>
                  <a:gd name="connsiteX1" fmla="*/ 0 w 24713"/>
                  <a:gd name="connsiteY1" fmla="*/ 12357 h 24713"/>
                  <a:gd name="connsiteX2" fmla="*/ 12357 w 24713"/>
                  <a:gd name="connsiteY2" fmla="*/ 0 h 24713"/>
                  <a:gd name="connsiteX3" fmla="*/ 24713 w 24713"/>
                  <a:gd name="connsiteY3" fmla="*/ 12357 h 24713"/>
                  <a:gd name="connsiteX4" fmla="*/ 12357 w 24713"/>
                  <a:gd name="connsiteY4" fmla="*/ 24713 h 24713"/>
                  <a:gd name="connsiteX5" fmla="*/ 12357 w 24713"/>
                  <a:gd name="connsiteY5" fmla="*/ 9432 h 24713"/>
                  <a:gd name="connsiteX6" fmla="*/ 9432 w 24713"/>
                  <a:gd name="connsiteY6" fmla="*/ 12357 h 24713"/>
                  <a:gd name="connsiteX7" fmla="*/ 12357 w 24713"/>
                  <a:gd name="connsiteY7" fmla="*/ 15281 h 24713"/>
                  <a:gd name="connsiteX8" fmla="*/ 15281 w 24713"/>
                  <a:gd name="connsiteY8" fmla="*/ 12357 h 24713"/>
                  <a:gd name="connsiteX9" fmla="*/ 12357 w 24713"/>
                  <a:gd name="connsiteY9" fmla="*/ 9432 h 2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713">
                    <a:moveTo>
                      <a:pt x="12357" y="24713"/>
                    </a:moveTo>
                    <a:cubicBezTo>
                      <a:pt x="5565" y="24713"/>
                      <a:pt x="0" y="19148"/>
                      <a:pt x="0" y="12357"/>
                    </a:cubicBezTo>
                    <a:cubicBezTo>
                      <a:pt x="0" y="5565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713"/>
                      <a:pt x="12357" y="24713"/>
                    </a:cubicBezTo>
                    <a:close/>
                    <a:moveTo>
                      <a:pt x="12357" y="9432"/>
                    </a:moveTo>
                    <a:cubicBezTo>
                      <a:pt x="10753" y="9432"/>
                      <a:pt x="9432" y="10753"/>
                      <a:pt x="9432" y="12357"/>
                    </a:cubicBezTo>
                    <a:cubicBezTo>
                      <a:pt x="9432" y="13960"/>
                      <a:pt x="10753" y="15281"/>
                      <a:pt x="12357" y="15281"/>
                    </a:cubicBezTo>
                    <a:cubicBezTo>
                      <a:pt x="13960" y="15281"/>
                      <a:pt x="15281" y="13960"/>
                      <a:pt x="15281" y="12357"/>
                    </a:cubicBezTo>
                    <a:cubicBezTo>
                      <a:pt x="15281" y="10753"/>
                      <a:pt x="13960" y="9432"/>
                      <a:pt x="12357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DF0C61DC-8240-4612-8A08-315C9F67145C}"/>
                  </a:ext>
                </a:extLst>
              </p:cNvPr>
              <p:cNvSpPr/>
              <p:nvPr/>
            </p:nvSpPr>
            <p:spPr>
              <a:xfrm>
                <a:off x="2836030" y="6548896"/>
                <a:ext cx="24713" cy="24713"/>
              </a:xfrm>
              <a:custGeom>
                <a:avLst/>
                <a:gdLst>
                  <a:gd name="connsiteX0" fmla="*/ 12357 w 24713"/>
                  <a:gd name="connsiteY0" fmla="*/ 24713 h 24713"/>
                  <a:gd name="connsiteX1" fmla="*/ 0 w 24713"/>
                  <a:gd name="connsiteY1" fmla="*/ 12357 h 24713"/>
                  <a:gd name="connsiteX2" fmla="*/ 12357 w 24713"/>
                  <a:gd name="connsiteY2" fmla="*/ 0 h 24713"/>
                  <a:gd name="connsiteX3" fmla="*/ 24713 w 24713"/>
                  <a:gd name="connsiteY3" fmla="*/ 12357 h 24713"/>
                  <a:gd name="connsiteX4" fmla="*/ 12357 w 24713"/>
                  <a:gd name="connsiteY4" fmla="*/ 24713 h 24713"/>
                  <a:gd name="connsiteX5" fmla="*/ 12357 w 24713"/>
                  <a:gd name="connsiteY5" fmla="*/ 9432 h 24713"/>
                  <a:gd name="connsiteX6" fmla="*/ 9432 w 24713"/>
                  <a:gd name="connsiteY6" fmla="*/ 12357 h 24713"/>
                  <a:gd name="connsiteX7" fmla="*/ 12357 w 24713"/>
                  <a:gd name="connsiteY7" fmla="*/ 15281 h 24713"/>
                  <a:gd name="connsiteX8" fmla="*/ 15281 w 24713"/>
                  <a:gd name="connsiteY8" fmla="*/ 12357 h 24713"/>
                  <a:gd name="connsiteX9" fmla="*/ 12357 w 24713"/>
                  <a:gd name="connsiteY9" fmla="*/ 9432 h 2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713">
                    <a:moveTo>
                      <a:pt x="12357" y="24713"/>
                    </a:moveTo>
                    <a:cubicBezTo>
                      <a:pt x="5565" y="24713"/>
                      <a:pt x="0" y="19148"/>
                      <a:pt x="0" y="12357"/>
                    </a:cubicBezTo>
                    <a:cubicBezTo>
                      <a:pt x="0" y="5565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713"/>
                      <a:pt x="12357" y="24713"/>
                    </a:cubicBezTo>
                    <a:close/>
                    <a:moveTo>
                      <a:pt x="12357" y="9432"/>
                    </a:moveTo>
                    <a:cubicBezTo>
                      <a:pt x="10753" y="9432"/>
                      <a:pt x="9432" y="10753"/>
                      <a:pt x="9432" y="12357"/>
                    </a:cubicBezTo>
                    <a:cubicBezTo>
                      <a:pt x="9432" y="13960"/>
                      <a:pt x="10753" y="15281"/>
                      <a:pt x="12357" y="15281"/>
                    </a:cubicBezTo>
                    <a:cubicBezTo>
                      <a:pt x="13960" y="15281"/>
                      <a:pt x="15281" y="13960"/>
                      <a:pt x="15281" y="12357"/>
                    </a:cubicBezTo>
                    <a:cubicBezTo>
                      <a:pt x="15281" y="10753"/>
                      <a:pt x="13960" y="9432"/>
                      <a:pt x="12357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2AA4A0D9-FEFF-41F4-B0F0-D06C46583348}"/>
                  </a:ext>
                </a:extLst>
              </p:cNvPr>
              <p:cNvSpPr/>
              <p:nvPr/>
            </p:nvSpPr>
            <p:spPr>
              <a:xfrm>
                <a:off x="2727085" y="6542859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8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C5D0C81A-58E3-45A9-8E11-DFC20538F08F}"/>
                  </a:ext>
                </a:extLst>
              </p:cNvPr>
              <p:cNvSpPr/>
              <p:nvPr/>
            </p:nvSpPr>
            <p:spPr>
              <a:xfrm>
                <a:off x="2727085" y="6570213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7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73E41CB1-2601-48D0-872D-174198505A97}"/>
                  </a:ext>
                </a:extLst>
              </p:cNvPr>
              <p:cNvSpPr/>
              <p:nvPr/>
            </p:nvSpPr>
            <p:spPr>
              <a:xfrm>
                <a:off x="2670962" y="6696419"/>
                <a:ext cx="213456" cy="70460"/>
              </a:xfrm>
              <a:custGeom>
                <a:avLst/>
                <a:gdLst>
                  <a:gd name="connsiteX0" fmla="*/ 198648 w 213456"/>
                  <a:gd name="connsiteY0" fmla="*/ 70461 h 70460"/>
                  <a:gd name="connsiteX1" fmla="*/ 14903 w 213456"/>
                  <a:gd name="connsiteY1" fmla="*/ 70461 h 70460"/>
                  <a:gd name="connsiteX2" fmla="*/ 0 w 213456"/>
                  <a:gd name="connsiteY2" fmla="*/ 55557 h 70460"/>
                  <a:gd name="connsiteX3" fmla="*/ 0 w 213456"/>
                  <a:gd name="connsiteY3" fmla="*/ 14903 h 70460"/>
                  <a:gd name="connsiteX4" fmla="*/ 14903 w 213456"/>
                  <a:gd name="connsiteY4" fmla="*/ 0 h 70460"/>
                  <a:gd name="connsiteX5" fmla="*/ 198553 w 213456"/>
                  <a:gd name="connsiteY5" fmla="*/ 0 h 70460"/>
                  <a:gd name="connsiteX6" fmla="*/ 213457 w 213456"/>
                  <a:gd name="connsiteY6" fmla="*/ 14903 h 70460"/>
                  <a:gd name="connsiteX7" fmla="*/ 213457 w 213456"/>
                  <a:gd name="connsiteY7" fmla="*/ 55557 h 70460"/>
                  <a:gd name="connsiteX8" fmla="*/ 198648 w 213456"/>
                  <a:gd name="connsiteY8" fmla="*/ 70461 h 70460"/>
                  <a:gd name="connsiteX9" fmla="*/ 14903 w 213456"/>
                  <a:gd name="connsiteY9" fmla="*/ 9527 h 70460"/>
                  <a:gd name="connsiteX10" fmla="*/ 9433 w 213456"/>
                  <a:gd name="connsiteY10" fmla="*/ 14998 h 70460"/>
                  <a:gd name="connsiteX11" fmla="*/ 9433 w 213456"/>
                  <a:gd name="connsiteY11" fmla="*/ 55652 h 70460"/>
                  <a:gd name="connsiteX12" fmla="*/ 14903 w 213456"/>
                  <a:gd name="connsiteY12" fmla="*/ 61122 h 70460"/>
                  <a:gd name="connsiteX13" fmla="*/ 198553 w 213456"/>
                  <a:gd name="connsiteY13" fmla="*/ 61122 h 70460"/>
                  <a:gd name="connsiteX14" fmla="*/ 204024 w 213456"/>
                  <a:gd name="connsiteY14" fmla="*/ 55652 h 70460"/>
                  <a:gd name="connsiteX15" fmla="*/ 204024 w 213456"/>
                  <a:gd name="connsiteY15" fmla="*/ 14998 h 70460"/>
                  <a:gd name="connsiteX16" fmla="*/ 198553 w 213456"/>
                  <a:gd name="connsiteY16" fmla="*/ 9527 h 7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3456" h="70460">
                    <a:moveTo>
                      <a:pt x="198648" y="70461"/>
                    </a:moveTo>
                    <a:lnTo>
                      <a:pt x="14903" y="70461"/>
                    </a:lnTo>
                    <a:cubicBezTo>
                      <a:pt x="6697" y="70461"/>
                      <a:pt x="0" y="63763"/>
                      <a:pt x="0" y="55557"/>
                    </a:cubicBezTo>
                    <a:lnTo>
                      <a:pt x="0" y="14903"/>
                    </a:lnTo>
                    <a:cubicBezTo>
                      <a:pt x="0" y="6697"/>
                      <a:pt x="6697" y="0"/>
                      <a:pt x="14903" y="0"/>
                    </a:cubicBezTo>
                    <a:lnTo>
                      <a:pt x="198553" y="0"/>
                    </a:lnTo>
                    <a:cubicBezTo>
                      <a:pt x="206760" y="0"/>
                      <a:pt x="213457" y="6697"/>
                      <a:pt x="213457" y="14903"/>
                    </a:cubicBezTo>
                    <a:lnTo>
                      <a:pt x="213457" y="55557"/>
                    </a:lnTo>
                    <a:cubicBezTo>
                      <a:pt x="213457" y="63763"/>
                      <a:pt x="206854" y="70461"/>
                      <a:pt x="198648" y="70461"/>
                    </a:cubicBezTo>
                    <a:close/>
                    <a:moveTo>
                      <a:pt x="14903" y="9527"/>
                    </a:moveTo>
                    <a:cubicBezTo>
                      <a:pt x="11885" y="9527"/>
                      <a:pt x="9433" y="11979"/>
                      <a:pt x="9433" y="14998"/>
                    </a:cubicBezTo>
                    <a:lnTo>
                      <a:pt x="9433" y="55652"/>
                    </a:lnTo>
                    <a:cubicBezTo>
                      <a:pt x="9433" y="58670"/>
                      <a:pt x="11885" y="61122"/>
                      <a:pt x="14903" y="61122"/>
                    </a:cubicBezTo>
                    <a:lnTo>
                      <a:pt x="198553" y="61122"/>
                    </a:lnTo>
                    <a:cubicBezTo>
                      <a:pt x="201572" y="61122"/>
                      <a:pt x="204024" y="58670"/>
                      <a:pt x="204024" y="55652"/>
                    </a:cubicBezTo>
                    <a:lnTo>
                      <a:pt x="204024" y="14998"/>
                    </a:lnTo>
                    <a:cubicBezTo>
                      <a:pt x="204024" y="11979"/>
                      <a:pt x="201572" y="9527"/>
                      <a:pt x="198553" y="9527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3DC82290-D1F7-4FC7-8565-0A85EDC576C0}"/>
                  </a:ext>
                </a:extLst>
              </p:cNvPr>
              <p:cNvSpPr/>
              <p:nvPr/>
            </p:nvSpPr>
            <p:spPr>
              <a:xfrm>
                <a:off x="2670962" y="6611244"/>
                <a:ext cx="213456" cy="70460"/>
              </a:xfrm>
              <a:custGeom>
                <a:avLst/>
                <a:gdLst>
                  <a:gd name="connsiteX0" fmla="*/ 198648 w 213456"/>
                  <a:gd name="connsiteY0" fmla="*/ 70461 h 70460"/>
                  <a:gd name="connsiteX1" fmla="*/ 14903 w 213456"/>
                  <a:gd name="connsiteY1" fmla="*/ 70461 h 70460"/>
                  <a:gd name="connsiteX2" fmla="*/ 0 w 213456"/>
                  <a:gd name="connsiteY2" fmla="*/ 55557 h 70460"/>
                  <a:gd name="connsiteX3" fmla="*/ 0 w 213456"/>
                  <a:gd name="connsiteY3" fmla="*/ 14903 h 70460"/>
                  <a:gd name="connsiteX4" fmla="*/ 14903 w 213456"/>
                  <a:gd name="connsiteY4" fmla="*/ 0 h 70460"/>
                  <a:gd name="connsiteX5" fmla="*/ 198553 w 213456"/>
                  <a:gd name="connsiteY5" fmla="*/ 0 h 70460"/>
                  <a:gd name="connsiteX6" fmla="*/ 213457 w 213456"/>
                  <a:gd name="connsiteY6" fmla="*/ 14903 h 70460"/>
                  <a:gd name="connsiteX7" fmla="*/ 213457 w 213456"/>
                  <a:gd name="connsiteY7" fmla="*/ 55557 h 70460"/>
                  <a:gd name="connsiteX8" fmla="*/ 198648 w 213456"/>
                  <a:gd name="connsiteY8" fmla="*/ 70461 h 70460"/>
                  <a:gd name="connsiteX9" fmla="*/ 14903 w 213456"/>
                  <a:gd name="connsiteY9" fmla="*/ 9432 h 70460"/>
                  <a:gd name="connsiteX10" fmla="*/ 9433 w 213456"/>
                  <a:gd name="connsiteY10" fmla="*/ 14903 h 70460"/>
                  <a:gd name="connsiteX11" fmla="*/ 9433 w 213456"/>
                  <a:gd name="connsiteY11" fmla="*/ 55557 h 70460"/>
                  <a:gd name="connsiteX12" fmla="*/ 14903 w 213456"/>
                  <a:gd name="connsiteY12" fmla="*/ 61028 h 70460"/>
                  <a:gd name="connsiteX13" fmla="*/ 198553 w 213456"/>
                  <a:gd name="connsiteY13" fmla="*/ 61028 h 70460"/>
                  <a:gd name="connsiteX14" fmla="*/ 204024 w 213456"/>
                  <a:gd name="connsiteY14" fmla="*/ 55557 h 70460"/>
                  <a:gd name="connsiteX15" fmla="*/ 204024 w 213456"/>
                  <a:gd name="connsiteY15" fmla="*/ 14903 h 70460"/>
                  <a:gd name="connsiteX16" fmla="*/ 198553 w 213456"/>
                  <a:gd name="connsiteY16" fmla="*/ 9432 h 7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3456" h="70460">
                    <a:moveTo>
                      <a:pt x="198648" y="70461"/>
                    </a:moveTo>
                    <a:lnTo>
                      <a:pt x="14903" y="70461"/>
                    </a:lnTo>
                    <a:cubicBezTo>
                      <a:pt x="6697" y="70461"/>
                      <a:pt x="0" y="63763"/>
                      <a:pt x="0" y="55557"/>
                    </a:cubicBezTo>
                    <a:lnTo>
                      <a:pt x="0" y="14903"/>
                    </a:lnTo>
                    <a:cubicBezTo>
                      <a:pt x="0" y="6697"/>
                      <a:pt x="6697" y="0"/>
                      <a:pt x="14903" y="0"/>
                    </a:cubicBezTo>
                    <a:lnTo>
                      <a:pt x="198553" y="0"/>
                    </a:lnTo>
                    <a:cubicBezTo>
                      <a:pt x="206760" y="0"/>
                      <a:pt x="213457" y="6697"/>
                      <a:pt x="213457" y="14903"/>
                    </a:cubicBezTo>
                    <a:lnTo>
                      <a:pt x="213457" y="55557"/>
                    </a:lnTo>
                    <a:cubicBezTo>
                      <a:pt x="213457" y="63763"/>
                      <a:pt x="206854" y="70461"/>
                      <a:pt x="198648" y="70461"/>
                    </a:cubicBezTo>
                    <a:close/>
                    <a:moveTo>
                      <a:pt x="14903" y="9432"/>
                    </a:moveTo>
                    <a:cubicBezTo>
                      <a:pt x="11885" y="9432"/>
                      <a:pt x="9433" y="11885"/>
                      <a:pt x="9433" y="14903"/>
                    </a:cubicBezTo>
                    <a:lnTo>
                      <a:pt x="9433" y="55557"/>
                    </a:lnTo>
                    <a:cubicBezTo>
                      <a:pt x="9433" y="58576"/>
                      <a:pt x="11885" y="61028"/>
                      <a:pt x="14903" y="61028"/>
                    </a:cubicBezTo>
                    <a:lnTo>
                      <a:pt x="198553" y="61028"/>
                    </a:lnTo>
                    <a:cubicBezTo>
                      <a:pt x="201572" y="61028"/>
                      <a:pt x="204024" y="58574"/>
                      <a:pt x="204024" y="55557"/>
                    </a:cubicBezTo>
                    <a:lnTo>
                      <a:pt x="204024" y="14903"/>
                    </a:lnTo>
                    <a:cubicBezTo>
                      <a:pt x="204024" y="11885"/>
                      <a:pt x="201572" y="9432"/>
                      <a:pt x="198553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02761ECA-880A-4904-9500-DF4D6E3D102D}"/>
                  </a:ext>
                </a:extLst>
              </p:cNvPr>
              <p:cNvSpPr/>
              <p:nvPr/>
            </p:nvSpPr>
            <p:spPr>
              <a:xfrm>
                <a:off x="2944881" y="6520598"/>
                <a:ext cx="95079" cy="251658"/>
              </a:xfrm>
              <a:custGeom>
                <a:avLst/>
                <a:gdLst>
                  <a:gd name="connsiteX0" fmla="*/ 47540 w 95079"/>
                  <a:gd name="connsiteY0" fmla="*/ 251658 h 251658"/>
                  <a:gd name="connsiteX1" fmla="*/ 12828 w 95079"/>
                  <a:gd name="connsiteY1" fmla="*/ 212985 h 251658"/>
                  <a:gd name="connsiteX2" fmla="*/ 0 w 95079"/>
                  <a:gd name="connsiteY2" fmla="*/ 125829 h 251658"/>
                  <a:gd name="connsiteX3" fmla="*/ 12828 w 95079"/>
                  <a:gd name="connsiteY3" fmla="*/ 38673 h 251658"/>
                  <a:gd name="connsiteX4" fmla="*/ 47540 w 95079"/>
                  <a:gd name="connsiteY4" fmla="*/ 0 h 251658"/>
                  <a:gd name="connsiteX5" fmla="*/ 82251 w 95079"/>
                  <a:gd name="connsiteY5" fmla="*/ 38673 h 251658"/>
                  <a:gd name="connsiteX6" fmla="*/ 95079 w 95079"/>
                  <a:gd name="connsiteY6" fmla="*/ 125829 h 251658"/>
                  <a:gd name="connsiteX7" fmla="*/ 82251 w 95079"/>
                  <a:gd name="connsiteY7" fmla="*/ 212985 h 251658"/>
                  <a:gd name="connsiteX8" fmla="*/ 47540 w 95079"/>
                  <a:gd name="connsiteY8" fmla="*/ 251658 h 251658"/>
                  <a:gd name="connsiteX9" fmla="*/ 47540 w 95079"/>
                  <a:gd name="connsiteY9" fmla="*/ 9432 h 251658"/>
                  <a:gd name="connsiteX10" fmla="*/ 9527 w 95079"/>
                  <a:gd name="connsiteY10" fmla="*/ 125829 h 251658"/>
                  <a:gd name="connsiteX11" fmla="*/ 47540 w 95079"/>
                  <a:gd name="connsiteY11" fmla="*/ 242226 h 251658"/>
                  <a:gd name="connsiteX12" fmla="*/ 85552 w 95079"/>
                  <a:gd name="connsiteY12" fmla="*/ 125829 h 251658"/>
                  <a:gd name="connsiteX13" fmla="*/ 47540 w 95079"/>
                  <a:gd name="connsiteY13" fmla="*/ 9432 h 251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079" h="251658">
                    <a:moveTo>
                      <a:pt x="47540" y="251658"/>
                    </a:moveTo>
                    <a:cubicBezTo>
                      <a:pt x="33957" y="251658"/>
                      <a:pt x="21695" y="237887"/>
                      <a:pt x="12828" y="212985"/>
                    </a:cubicBezTo>
                    <a:cubicBezTo>
                      <a:pt x="4528" y="189593"/>
                      <a:pt x="0" y="158654"/>
                      <a:pt x="0" y="125829"/>
                    </a:cubicBezTo>
                    <a:cubicBezTo>
                      <a:pt x="0" y="93004"/>
                      <a:pt x="4528" y="62066"/>
                      <a:pt x="12828" y="38673"/>
                    </a:cubicBezTo>
                    <a:cubicBezTo>
                      <a:pt x="21600" y="13771"/>
                      <a:pt x="33957" y="0"/>
                      <a:pt x="47540" y="0"/>
                    </a:cubicBezTo>
                    <a:cubicBezTo>
                      <a:pt x="61122" y="0"/>
                      <a:pt x="73385" y="13771"/>
                      <a:pt x="82251" y="38673"/>
                    </a:cubicBezTo>
                    <a:cubicBezTo>
                      <a:pt x="90552" y="62066"/>
                      <a:pt x="95079" y="93004"/>
                      <a:pt x="95079" y="125829"/>
                    </a:cubicBezTo>
                    <a:cubicBezTo>
                      <a:pt x="95079" y="158654"/>
                      <a:pt x="90552" y="189593"/>
                      <a:pt x="82251" y="212985"/>
                    </a:cubicBezTo>
                    <a:cubicBezTo>
                      <a:pt x="73385" y="237981"/>
                      <a:pt x="61028" y="251658"/>
                      <a:pt x="47540" y="251658"/>
                    </a:cubicBezTo>
                    <a:close/>
                    <a:moveTo>
                      <a:pt x="47540" y="9432"/>
                    </a:moveTo>
                    <a:cubicBezTo>
                      <a:pt x="29524" y="9432"/>
                      <a:pt x="9527" y="57255"/>
                      <a:pt x="9527" y="125829"/>
                    </a:cubicBezTo>
                    <a:cubicBezTo>
                      <a:pt x="9527" y="194403"/>
                      <a:pt x="29618" y="242226"/>
                      <a:pt x="47540" y="242226"/>
                    </a:cubicBezTo>
                    <a:cubicBezTo>
                      <a:pt x="65461" y="242226"/>
                      <a:pt x="85552" y="194403"/>
                      <a:pt x="85552" y="125829"/>
                    </a:cubicBezTo>
                    <a:cubicBezTo>
                      <a:pt x="85552" y="57255"/>
                      <a:pt x="65461" y="9432"/>
                      <a:pt x="47540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02BC779E-5D12-48C4-AC86-A5DD0D3BEDD7}"/>
                  </a:ext>
                </a:extLst>
              </p:cNvPr>
              <p:cNvSpPr/>
              <p:nvPr/>
            </p:nvSpPr>
            <p:spPr>
              <a:xfrm>
                <a:off x="2896838" y="6550899"/>
                <a:ext cx="191164" cy="191079"/>
              </a:xfrm>
              <a:custGeom>
                <a:avLst/>
                <a:gdLst>
                  <a:gd name="connsiteX0" fmla="*/ 24839 w 191164"/>
                  <a:gd name="connsiteY0" fmla="*/ 191080 h 191079"/>
                  <a:gd name="connsiteX1" fmla="*/ 6540 w 191164"/>
                  <a:gd name="connsiteY1" fmla="*/ 184571 h 191079"/>
                  <a:gd name="connsiteX2" fmla="*/ 9369 w 191164"/>
                  <a:gd name="connsiteY2" fmla="*/ 132693 h 191079"/>
                  <a:gd name="connsiteX3" fmla="*/ 62003 w 191164"/>
                  <a:gd name="connsiteY3" fmla="*/ 61949 h 191079"/>
                  <a:gd name="connsiteX4" fmla="*/ 132746 w 191164"/>
                  <a:gd name="connsiteY4" fmla="*/ 9316 h 191079"/>
                  <a:gd name="connsiteX5" fmla="*/ 184625 w 191164"/>
                  <a:gd name="connsiteY5" fmla="*/ 6580 h 191079"/>
                  <a:gd name="connsiteX6" fmla="*/ 181795 w 191164"/>
                  <a:gd name="connsiteY6" fmla="*/ 58365 h 191079"/>
                  <a:gd name="connsiteX7" fmla="*/ 129162 w 191164"/>
                  <a:gd name="connsiteY7" fmla="*/ 129108 h 191079"/>
                  <a:gd name="connsiteX8" fmla="*/ 58418 w 191164"/>
                  <a:gd name="connsiteY8" fmla="*/ 181741 h 191079"/>
                  <a:gd name="connsiteX9" fmla="*/ 24839 w 191164"/>
                  <a:gd name="connsiteY9" fmla="*/ 191080 h 191079"/>
                  <a:gd name="connsiteX10" fmla="*/ 166326 w 191164"/>
                  <a:gd name="connsiteY10" fmla="*/ 9505 h 191079"/>
                  <a:gd name="connsiteX11" fmla="*/ 68605 w 191164"/>
                  <a:gd name="connsiteY11" fmla="*/ 68646 h 191079"/>
                  <a:gd name="connsiteX12" fmla="*/ 13237 w 191164"/>
                  <a:gd name="connsiteY12" fmla="*/ 177874 h 191079"/>
                  <a:gd name="connsiteX13" fmla="*/ 122465 w 191164"/>
                  <a:gd name="connsiteY13" fmla="*/ 122505 h 191079"/>
                  <a:gd name="connsiteX14" fmla="*/ 177833 w 191164"/>
                  <a:gd name="connsiteY14" fmla="*/ 13278 h 191079"/>
                  <a:gd name="connsiteX15" fmla="*/ 166326 w 191164"/>
                  <a:gd name="connsiteY15" fmla="*/ 9505 h 19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1164" h="191079">
                    <a:moveTo>
                      <a:pt x="24839" y="191080"/>
                    </a:moveTo>
                    <a:cubicBezTo>
                      <a:pt x="17104" y="191080"/>
                      <a:pt x="10973" y="188910"/>
                      <a:pt x="6540" y="184571"/>
                    </a:cubicBezTo>
                    <a:cubicBezTo>
                      <a:pt x="-3081" y="174950"/>
                      <a:pt x="-2044" y="156557"/>
                      <a:pt x="9369" y="132693"/>
                    </a:cubicBezTo>
                    <a:cubicBezTo>
                      <a:pt x="20028" y="110338"/>
                      <a:pt x="38704" y="85247"/>
                      <a:pt x="62003" y="61949"/>
                    </a:cubicBezTo>
                    <a:cubicBezTo>
                      <a:pt x="85301" y="38651"/>
                      <a:pt x="110391" y="20069"/>
                      <a:pt x="132746" y="9316"/>
                    </a:cubicBezTo>
                    <a:cubicBezTo>
                      <a:pt x="156610" y="-2097"/>
                      <a:pt x="175004" y="-3041"/>
                      <a:pt x="184625" y="6580"/>
                    </a:cubicBezTo>
                    <a:cubicBezTo>
                      <a:pt x="194246" y="16202"/>
                      <a:pt x="193208" y="34595"/>
                      <a:pt x="181795" y="58365"/>
                    </a:cubicBezTo>
                    <a:cubicBezTo>
                      <a:pt x="171136" y="80720"/>
                      <a:pt x="152460" y="105810"/>
                      <a:pt x="129162" y="129108"/>
                    </a:cubicBezTo>
                    <a:cubicBezTo>
                      <a:pt x="105958" y="152312"/>
                      <a:pt x="80773" y="171083"/>
                      <a:pt x="58418" y="181741"/>
                    </a:cubicBezTo>
                    <a:cubicBezTo>
                      <a:pt x="45401" y="187967"/>
                      <a:pt x="34082" y="191080"/>
                      <a:pt x="24839" y="191080"/>
                    </a:cubicBezTo>
                    <a:close/>
                    <a:moveTo>
                      <a:pt x="166326" y="9505"/>
                    </a:moveTo>
                    <a:cubicBezTo>
                      <a:pt x="146046" y="9505"/>
                      <a:pt x="107467" y="29784"/>
                      <a:pt x="68605" y="68646"/>
                    </a:cubicBezTo>
                    <a:cubicBezTo>
                      <a:pt x="20122" y="117129"/>
                      <a:pt x="503" y="165140"/>
                      <a:pt x="13237" y="177874"/>
                    </a:cubicBezTo>
                    <a:cubicBezTo>
                      <a:pt x="25971" y="190608"/>
                      <a:pt x="73982" y="170988"/>
                      <a:pt x="122465" y="122505"/>
                    </a:cubicBezTo>
                    <a:cubicBezTo>
                      <a:pt x="170948" y="74023"/>
                      <a:pt x="190567" y="26011"/>
                      <a:pt x="177833" y="13278"/>
                    </a:cubicBezTo>
                    <a:cubicBezTo>
                      <a:pt x="175286" y="10731"/>
                      <a:pt x="171419" y="9505"/>
                      <a:pt x="166326" y="9505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E76808DB-3E93-4543-A2DB-16402860D387}"/>
                  </a:ext>
                </a:extLst>
              </p:cNvPr>
              <p:cNvSpPr/>
              <p:nvPr/>
            </p:nvSpPr>
            <p:spPr>
              <a:xfrm>
                <a:off x="2896782" y="6550931"/>
                <a:ext cx="191087" cy="191047"/>
              </a:xfrm>
              <a:custGeom>
                <a:avLst/>
                <a:gdLst>
                  <a:gd name="connsiteX0" fmla="*/ 166287 w 191087"/>
                  <a:gd name="connsiteY0" fmla="*/ 191048 h 191047"/>
                  <a:gd name="connsiteX1" fmla="*/ 132708 w 191087"/>
                  <a:gd name="connsiteY1" fmla="*/ 181709 h 191047"/>
                  <a:gd name="connsiteX2" fmla="*/ 61964 w 191087"/>
                  <a:gd name="connsiteY2" fmla="*/ 129076 h 191047"/>
                  <a:gd name="connsiteX3" fmla="*/ 9331 w 191087"/>
                  <a:gd name="connsiteY3" fmla="*/ 58333 h 191047"/>
                  <a:gd name="connsiteX4" fmla="*/ 6501 w 191087"/>
                  <a:gd name="connsiteY4" fmla="*/ 6549 h 191047"/>
                  <a:gd name="connsiteX5" fmla="*/ 58380 w 191087"/>
                  <a:gd name="connsiteY5" fmla="*/ 9284 h 191047"/>
                  <a:gd name="connsiteX6" fmla="*/ 129123 w 191087"/>
                  <a:gd name="connsiteY6" fmla="*/ 61917 h 191047"/>
                  <a:gd name="connsiteX7" fmla="*/ 181757 w 191087"/>
                  <a:gd name="connsiteY7" fmla="*/ 132661 h 191047"/>
                  <a:gd name="connsiteX8" fmla="*/ 184586 w 191087"/>
                  <a:gd name="connsiteY8" fmla="*/ 184539 h 191047"/>
                  <a:gd name="connsiteX9" fmla="*/ 166287 w 191087"/>
                  <a:gd name="connsiteY9" fmla="*/ 191048 h 191047"/>
                  <a:gd name="connsiteX10" fmla="*/ 24895 w 191087"/>
                  <a:gd name="connsiteY10" fmla="*/ 9473 h 191047"/>
                  <a:gd name="connsiteX11" fmla="*/ 13293 w 191087"/>
                  <a:gd name="connsiteY11" fmla="*/ 13246 h 191047"/>
                  <a:gd name="connsiteX12" fmla="*/ 68661 w 191087"/>
                  <a:gd name="connsiteY12" fmla="*/ 122474 h 191047"/>
                  <a:gd name="connsiteX13" fmla="*/ 177889 w 191087"/>
                  <a:gd name="connsiteY13" fmla="*/ 177842 h 191047"/>
                  <a:gd name="connsiteX14" fmla="*/ 122521 w 191087"/>
                  <a:gd name="connsiteY14" fmla="*/ 68614 h 191047"/>
                  <a:gd name="connsiteX15" fmla="*/ 54418 w 191087"/>
                  <a:gd name="connsiteY15" fmla="*/ 17868 h 191047"/>
                  <a:gd name="connsiteX16" fmla="*/ 24895 w 191087"/>
                  <a:gd name="connsiteY16" fmla="*/ 9473 h 19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1087" h="191047">
                    <a:moveTo>
                      <a:pt x="166287" y="191048"/>
                    </a:moveTo>
                    <a:cubicBezTo>
                      <a:pt x="157044" y="191048"/>
                      <a:pt x="145725" y="187935"/>
                      <a:pt x="132708" y="181709"/>
                    </a:cubicBezTo>
                    <a:cubicBezTo>
                      <a:pt x="110353" y="171051"/>
                      <a:pt x="85262" y="152375"/>
                      <a:pt x="61964" y="129076"/>
                    </a:cubicBezTo>
                    <a:cubicBezTo>
                      <a:pt x="38666" y="105778"/>
                      <a:pt x="19990" y="80688"/>
                      <a:pt x="9331" y="58333"/>
                    </a:cubicBezTo>
                    <a:cubicBezTo>
                      <a:pt x="-2082" y="34469"/>
                      <a:pt x="-3025" y="16075"/>
                      <a:pt x="6501" y="6549"/>
                    </a:cubicBezTo>
                    <a:cubicBezTo>
                      <a:pt x="16123" y="-3073"/>
                      <a:pt x="34516" y="-2035"/>
                      <a:pt x="58380" y="9284"/>
                    </a:cubicBezTo>
                    <a:cubicBezTo>
                      <a:pt x="80735" y="19943"/>
                      <a:pt x="105825" y="38619"/>
                      <a:pt x="129123" y="61917"/>
                    </a:cubicBezTo>
                    <a:cubicBezTo>
                      <a:pt x="152422" y="85215"/>
                      <a:pt x="171098" y="110306"/>
                      <a:pt x="181757" y="132661"/>
                    </a:cubicBezTo>
                    <a:cubicBezTo>
                      <a:pt x="193170" y="156525"/>
                      <a:pt x="194113" y="174918"/>
                      <a:pt x="184586" y="184539"/>
                    </a:cubicBezTo>
                    <a:cubicBezTo>
                      <a:pt x="180153" y="188878"/>
                      <a:pt x="174022" y="191048"/>
                      <a:pt x="166287" y="191048"/>
                    </a:cubicBezTo>
                    <a:close/>
                    <a:moveTo>
                      <a:pt x="24895" y="9473"/>
                    </a:moveTo>
                    <a:cubicBezTo>
                      <a:pt x="19801" y="9473"/>
                      <a:pt x="15840" y="10699"/>
                      <a:pt x="13293" y="13246"/>
                    </a:cubicBezTo>
                    <a:cubicBezTo>
                      <a:pt x="559" y="25979"/>
                      <a:pt x="20178" y="73991"/>
                      <a:pt x="68661" y="122474"/>
                    </a:cubicBezTo>
                    <a:cubicBezTo>
                      <a:pt x="117144" y="170956"/>
                      <a:pt x="165156" y="190576"/>
                      <a:pt x="177889" y="177842"/>
                    </a:cubicBezTo>
                    <a:cubicBezTo>
                      <a:pt x="190623" y="165108"/>
                      <a:pt x="171004" y="117097"/>
                      <a:pt x="122521" y="68614"/>
                    </a:cubicBezTo>
                    <a:cubicBezTo>
                      <a:pt x="99977" y="46071"/>
                      <a:pt x="75830" y="28055"/>
                      <a:pt x="54418" y="17868"/>
                    </a:cubicBezTo>
                    <a:cubicBezTo>
                      <a:pt x="42722" y="12302"/>
                      <a:pt x="32535" y="9473"/>
                      <a:pt x="24895" y="9473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DDB92C41-D08F-48E4-AC2F-284156C81875}"/>
                  </a:ext>
                </a:extLst>
              </p:cNvPr>
              <p:cNvSpPr/>
              <p:nvPr/>
            </p:nvSpPr>
            <p:spPr>
              <a:xfrm>
                <a:off x="2773021" y="6480039"/>
                <a:ext cx="224021" cy="55462"/>
              </a:xfrm>
              <a:custGeom>
                <a:avLst/>
                <a:gdLst>
                  <a:gd name="connsiteX0" fmla="*/ 4716 w 224021"/>
                  <a:gd name="connsiteY0" fmla="*/ 55463 h 55462"/>
                  <a:gd name="connsiteX1" fmla="*/ 0 w 224021"/>
                  <a:gd name="connsiteY1" fmla="*/ 50747 h 55462"/>
                  <a:gd name="connsiteX2" fmla="*/ 0 w 224021"/>
                  <a:gd name="connsiteY2" fmla="*/ 22449 h 55462"/>
                  <a:gd name="connsiteX3" fmla="*/ 22449 w 224021"/>
                  <a:gd name="connsiteY3" fmla="*/ 0 h 55462"/>
                  <a:gd name="connsiteX4" fmla="*/ 201572 w 224021"/>
                  <a:gd name="connsiteY4" fmla="*/ 0 h 55462"/>
                  <a:gd name="connsiteX5" fmla="*/ 224021 w 224021"/>
                  <a:gd name="connsiteY5" fmla="*/ 22449 h 55462"/>
                  <a:gd name="connsiteX6" fmla="*/ 224021 w 224021"/>
                  <a:gd name="connsiteY6" fmla="*/ 45370 h 55462"/>
                  <a:gd name="connsiteX7" fmla="*/ 219305 w 224021"/>
                  <a:gd name="connsiteY7" fmla="*/ 50086 h 55462"/>
                  <a:gd name="connsiteX8" fmla="*/ 214589 w 224021"/>
                  <a:gd name="connsiteY8" fmla="*/ 45370 h 55462"/>
                  <a:gd name="connsiteX9" fmla="*/ 214589 w 224021"/>
                  <a:gd name="connsiteY9" fmla="*/ 22449 h 55462"/>
                  <a:gd name="connsiteX10" fmla="*/ 201572 w 224021"/>
                  <a:gd name="connsiteY10" fmla="*/ 9432 h 55462"/>
                  <a:gd name="connsiteX11" fmla="*/ 22449 w 224021"/>
                  <a:gd name="connsiteY11" fmla="*/ 9432 h 55462"/>
                  <a:gd name="connsiteX12" fmla="*/ 9433 w 224021"/>
                  <a:gd name="connsiteY12" fmla="*/ 22449 h 55462"/>
                  <a:gd name="connsiteX13" fmla="*/ 9433 w 224021"/>
                  <a:gd name="connsiteY13" fmla="*/ 50746 h 55462"/>
                  <a:gd name="connsiteX14" fmla="*/ 4716 w 224021"/>
                  <a:gd name="connsiteY14" fmla="*/ 55463 h 5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4021" h="55462">
                    <a:moveTo>
                      <a:pt x="4716" y="55463"/>
                    </a:moveTo>
                    <a:cubicBezTo>
                      <a:pt x="2075" y="55463"/>
                      <a:pt x="0" y="53388"/>
                      <a:pt x="0" y="50747"/>
                    </a:cubicBezTo>
                    <a:lnTo>
                      <a:pt x="0" y="22449"/>
                    </a:lnTo>
                    <a:cubicBezTo>
                      <a:pt x="0" y="10093"/>
                      <a:pt x="10093" y="0"/>
                      <a:pt x="22449" y="0"/>
                    </a:cubicBezTo>
                    <a:lnTo>
                      <a:pt x="201572" y="0"/>
                    </a:lnTo>
                    <a:cubicBezTo>
                      <a:pt x="213928" y="0"/>
                      <a:pt x="224021" y="10093"/>
                      <a:pt x="224021" y="22449"/>
                    </a:cubicBezTo>
                    <a:lnTo>
                      <a:pt x="224021" y="45370"/>
                    </a:lnTo>
                    <a:cubicBezTo>
                      <a:pt x="224021" y="48011"/>
                      <a:pt x="221946" y="50086"/>
                      <a:pt x="219305" y="50086"/>
                    </a:cubicBezTo>
                    <a:cubicBezTo>
                      <a:pt x="216664" y="50086"/>
                      <a:pt x="214589" y="48011"/>
                      <a:pt x="214589" y="45370"/>
                    </a:cubicBezTo>
                    <a:lnTo>
                      <a:pt x="214589" y="22449"/>
                    </a:lnTo>
                    <a:cubicBezTo>
                      <a:pt x="214589" y="15280"/>
                      <a:pt x="208741" y="9432"/>
                      <a:pt x="201572" y="9432"/>
                    </a:cubicBezTo>
                    <a:lnTo>
                      <a:pt x="22449" y="9432"/>
                    </a:lnTo>
                    <a:cubicBezTo>
                      <a:pt x="15281" y="9432"/>
                      <a:pt x="9433" y="15280"/>
                      <a:pt x="9433" y="22449"/>
                    </a:cubicBezTo>
                    <a:lnTo>
                      <a:pt x="9433" y="50746"/>
                    </a:lnTo>
                    <a:cubicBezTo>
                      <a:pt x="9432" y="53388"/>
                      <a:pt x="7358" y="55463"/>
                      <a:pt x="4716" y="55463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99335B47-F954-4FF0-A29B-C75D80BD1CDC}"/>
                  </a:ext>
                </a:extLst>
              </p:cNvPr>
              <p:cNvSpPr/>
              <p:nvPr/>
            </p:nvSpPr>
            <p:spPr>
              <a:xfrm>
                <a:off x="2773021" y="6757447"/>
                <a:ext cx="224021" cy="55462"/>
              </a:xfrm>
              <a:custGeom>
                <a:avLst/>
                <a:gdLst>
                  <a:gd name="connsiteX0" fmla="*/ 201572 w 224021"/>
                  <a:gd name="connsiteY0" fmla="*/ 55463 h 55462"/>
                  <a:gd name="connsiteX1" fmla="*/ 22449 w 224021"/>
                  <a:gd name="connsiteY1" fmla="*/ 55463 h 55462"/>
                  <a:gd name="connsiteX2" fmla="*/ 0 w 224021"/>
                  <a:gd name="connsiteY2" fmla="*/ 33014 h 55462"/>
                  <a:gd name="connsiteX3" fmla="*/ 0 w 224021"/>
                  <a:gd name="connsiteY3" fmla="*/ 4716 h 55462"/>
                  <a:gd name="connsiteX4" fmla="*/ 4716 w 224021"/>
                  <a:gd name="connsiteY4" fmla="*/ 0 h 55462"/>
                  <a:gd name="connsiteX5" fmla="*/ 9432 w 224021"/>
                  <a:gd name="connsiteY5" fmla="*/ 4716 h 55462"/>
                  <a:gd name="connsiteX6" fmla="*/ 9432 w 224021"/>
                  <a:gd name="connsiteY6" fmla="*/ 33014 h 55462"/>
                  <a:gd name="connsiteX7" fmla="*/ 22449 w 224021"/>
                  <a:gd name="connsiteY7" fmla="*/ 46030 h 55462"/>
                  <a:gd name="connsiteX8" fmla="*/ 201572 w 224021"/>
                  <a:gd name="connsiteY8" fmla="*/ 46030 h 55462"/>
                  <a:gd name="connsiteX9" fmla="*/ 214589 w 224021"/>
                  <a:gd name="connsiteY9" fmla="*/ 33014 h 55462"/>
                  <a:gd name="connsiteX10" fmla="*/ 214589 w 224021"/>
                  <a:gd name="connsiteY10" fmla="*/ 10093 h 55462"/>
                  <a:gd name="connsiteX11" fmla="*/ 219305 w 224021"/>
                  <a:gd name="connsiteY11" fmla="*/ 5377 h 55462"/>
                  <a:gd name="connsiteX12" fmla="*/ 224021 w 224021"/>
                  <a:gd name="connsiteY12" fmla="*/ 10093 h 55462"/>
                  <a:gd name="connsiteX13" fmla="*/ 224021 w 224021"/>
                  <a:gd name="connsiteY13" fmla="*/ 33014 h 55462"/>
                  <a:gd name="connsiteX14" fmla="*/ 201572 w 224021"/>
                  <a:gd name="connsiteY14" fmla="*/ 55463 h 5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4021" h="55462">
                    <a:moveTo>
                      <a:pt x="201572" y="55463"/>
                    </a:moveTo>
                    <a:lnTo>
                      <a:pt x="22449" y="55463"/>
                    </a:lnTo>
                    <a:cubicBezTo>
                      <a:pt x="10093" y="55463"/>
                      <a:pt x="0" y="45370"/>
                      <a:pt x="0" y="33014"/>
                    </a:cubicBezTo>
                    <a:lnTo>
                      <a:pt x="0" y="4716"/>
                    </a:lnTo>
                    <a:cubicBezTo>
                      <a:pt x="0" y="2075"/>
                      <a:pt x="2075" y="0"/>
                      <a:pt x="4716" y="0"/>
                    </a:cubicBezTo>
                    <a:cubicBezTo>
                      <a:pt x="7357" y="0"/>
                      <a:pt x="9432" y="2075"/>
                      <a:pt x="9432" y="4716"/>
                    </a:cubicBezTo>
                    <a:lnTo>
                      <a:pt x="9432" y="33014"/>
                    </a:lnTo>
                    <a:cubicBezTo>
                      <a:pt x="9432" y="40182"/>
                      <a:pt x="15281" y="46030"/>
                      <a:pt x="22449" y="46030"/>
                    </a:cubicBezTo>
                    <a:lnTo>
                      <a:pt x="201572" y="46030"/>
                    </a:lnTo>
                    <a:cubicBezTo>
                      <a:pt x="208741" y="46030"/>
                      <a:pt x="214589" y="40182"/>
                      <a:pt x="214589" y="33014"/>
                    </a:cubicBezTo>
                    <a:lnTo>
                      <a:pt x="214589" y="10093"/>
                    </a:lnTo>
                    <a:cubicBezTo>
                      <a:pt x="214589" y="7452"/>
                      <a:pt x="216664" y="5377"/>
                      <a:pt x="219305" y="5377"/>
                    </a:cubicBezTo>
                    <a:cubicBezTo>
                      <a:pt x="221946" y="5377"/>
                      <a:pt x="224021" y="7452"/>
                      <a:pt x="224021" y="10093"/>
                    </a:cubicBezTo>
                    <a:lnTo>
                      <a:pt x="224021" y="33014"/>
                    </a:lnTo>
                    <a:cubicBezTo>
                      <a:pt x="224115" y="45370"/>
                      <a:pt x="214023" y="55463"/>
                      <a:pt x="201572" y="55463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EAC7F470-D650-4EF6-8B0E-FF1611AADEDC}"/>
                  </a:ext>
                </a:extLst>
              </p:cNvPr>
              <p:cNvSpPr/>
              <p:nvPr/>
            </p:nvSpPr>
            <p:spPr>
              <a:xfrm>
                <a:off x="2694732" y="6634071"/>
                <a:ext cx="24713" cy="24713"/>
              </a:xfrm>
              <a:custGeom>
                <a:avLst/>
                <a:gdLst>
                  <a:gd name="connsiteX0" fmla="*/ 12357 w 24713"/>
                  <a:gd name="connsiteY0" fmla="*/ 24713 h 24713"/>
                  <a:gd name="connsiteX1" fmla="*/ 0 w 24713"/>
                  <a:gd name="connsiteY1" fmla="*/ 12357 h 24713"/>
                  <a:gd name="connsiteX2" fmla="*/ 12357 w 24713"/>
                  <a:gd name="connsiteY2" fmla="*/ 0 h 24713"/>
                  <a:gd name="connsiteX3" fmla="*/ 24713 w 24713"/>
                  <a:gd name="connsiteY3" fmla="*/ 12357 h 24713"/>
                  <a:gd name="connsiteX4" fmla="*/ 12357 w 24713"/>
                  <a:gd name="connsiteY4" fmla="*/ 24713 h 24713"/>
                  <a:gd name="connsiteX5" fmla="*/ 12357 w 24713"/>
                  <a:gd name="connsiteY5" fmla="*/ 9527 h 24713"/>
                  <a:gd name="connsiteX6" fmla="*/ 9432 w 24713"/>
                  <a:gd name="connsiteY6" fmla="*/ 12451 h 24713"/>
                  <a:gd name="connsiteX7" fmla="*/ 12357 w 24713"/>
                  <a:gd name="connsiteY7" fmla="*/ 15375 h 24713"/>
                  <a:gd name="connsiteX8" fmla="*/ 15281 w 24713"/>
                  <a:gd name="connsiteY8" fmla="*/ 12451 h 24713"/>
                  <a:gd name="connsiteX9" fmla="*/ 12357 w 24713"/>
                  <a:gd name="connsiteY9" fmla="*/ 9527 h 2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713">
                    <a:moveTo>
                      <a:pt x="12357" y="24713"/>
                    </a:moveTo>
                    <a:cubicBezTo>
                      <a:pt x="5565" y="24713"/>
                      <a:pt x="0" y="19148"/>
                      <a:pt x="0" y="12357"/>
                    </a:cubicBezTo>
                    <a:cubicBezTo>
                      <a:pt x="0" y="5565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713"/>
                      <a:pt x="12357" y="24713"/>
                    </a:cubicBezTo>
                    <a:close/>
                    <a:moveTo>
                      <a:pt x="12357" y="9527"/>
                    </a:moveTo>
                    <a:cubicBezTo>
                      <a:pt x="10753" y="9527"/>
                      <a:pt x="9432" y="10847"/>
                      <a:pt x="9432" y="12451"/>
                    </a:cubicBezTo>
                    <a:cubicBezTo>
                      <a:pt x="9432" y="14054"/>
                      <a:pt x="10753" y="15375"/>
                      <a:pt x="12357" y="15375"/>
                    </a:cubicBezTo>
                    <a:cubicBezTo>
                      <a:pt x="13960" y="15375"/>
                      <a:pt x="15281" y="14054"/>
                      <a:pt x="15281" y="12451"/>
                    </a:cubicBezTo>
                    <a:cubicBezTo>
                      <a:pt x="15281" y="10753"/>
                      <a:pt x="13960" y="9527"/>
                      <a:pt x="12357" y="9527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6FE3A8D8-70C0-4C40-8D74-80A539FE63FE}"/>
                  </a:ext>
                </a:extLst>
              </p:cNvPr>
              <p:cNvSpPr/>
              <p:nvPr/>
            </p:nvSpPr>
            <p:spPr>
              <a:xfrm>
                <a:off x="2836030" y="6634071"/>
                <a:ext cx="24713" cy="24713"/>
              </a:xfrm>
              <a:custGeom>
                <a:avLst/>
                <a:gdLst>
                  <a:gd name="connsiteX0" fmla="*/ 12357 w 24713"/>
                  <a:gd name="connsiteY0" fmla="*/ 24713 h 24713"/>
                  <a:gd name="connsiteX1" fmla="*/ 0 w 24713"/>
                  <a:gd name="connsiteY1" fmla="*/ 12357 h 24713"/>
                  <a:gd name="connsiteX2" fmla="*/ 12357 w 24713"/>
                  <a:gd name="connsiteY2" fmla="*/ 0 h 24713"/>
                  <a:gd name="connsiteX3" fmla="*/ 24713 w 24713"/>
                  <a:gd name="connsiteY3" fmla="*/ 12357 h 24713"/>
                  <a:gd name="connsiteX4" fmla="*/ 12357 w 24713"/>
                  <a:gd name="connsiteY4" fmla="*/ 24713 h 24713"/>
                  <a:gd name="connsiteX5" fmla="*/ 12357 w 24713"/>
                  <a:gd name="connsiteY5" fmla="*/ 9527 h 24713"/>
                  <a:gd name="connsiteX6" fmla="*/ 9432 w 24713"/>
                  <a:gd name="connsiteY6" fmla="*/ 12451 h 24713"/>
                  <a:gd name="connsiteX7" fmla="*/ 12357 w 24713"/>
                  <a:gd name="connsiteY7" fmla="*/ 15375 h 24713"/>
                  <a:gd name="connsiteX8" fmla="*/ 15281 w 24713"/>
                  <a:gd name="connsiteY8" fmla="*/ 12451 h 24713"/>
                  <a:gd name="connsiteX9" fmla="*/ 12357 w 24713"/>
                  <a:gd name="connsiteY9" fmla="*/ 9527 h 2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713">
                    <a:moveTo>
                      <a:pt x="12357" y="24713"/>
                    </a:moveTo>
                    <a:cubicBezTo>
                      <a:pt x="5565" y="24713"/>
                      <a:pt x="0" y="19148"/>
                      <a:pt x="0" y="12357"/>
                    </a:cubicBezTo>
                    <a:cubicBezTo>
                      <a:pt x="0" y="5565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713"/>
                      <a:pt x="12357" y="24713"/>
                    </a:cubicBezTo>
                    <a:close/>
                    <a:moveTo>
                      <a:pt x="12357" y="9527"/>
                    </a:moveTo>
                    <a:cubicBezTo>
                      <a:pt x="10753" y="9527"/>
                      <a:pt x="9432" y="10847"/>
                      <a:pt x="9432" y="12451"/>
                    </a:cubicBezTo>
                    <a:cubicBezTo>
                      <a:pt x="9432" y="14054"/>
                      <a:pt x="10753" y="15375"/>
                      <a:pt x="12357" y="15375"/>
                    </a:cubicBezTo>
                    <a:cubicBezTo>
                      <a:pt x="13960" y="15375"/>
                      <a:pt x="15281" y="14054"/>
                      <a:pt x="15281" y="12451"/>
                    </a:cubicBezTo>
                    <a:cubicBezTo>
                      <a:pt x="15281" y="10753"/>
                      <a:pt x="13960" y="9527"/>
                      <a:pt x="12357" y="9527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DF84E38C-054A-4958-9BC7-2CEF17BB1EDA}"/>
                  </a:ext>
                </a:extLst>
              </p:cNvPr>
              <p:cNvSpPr/>
              <p:nvPr/>
            </p:nvSpPr>
            <p:spPr>
              <a:xfrm>
                <a:off x="2727085" y="6628034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7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73E13F14-CEE9-4404-A42F-8C6B57CBC0BF}"/>
                  </a:ext>
                </a:extLst>
              </p:cNvPr>
              <p:cNvSpPr/>
              <p:nvPr/>
            </p:nvSpPr>
            <p:spPr>
              <a:xfrm>
                <a:off x="2727085" y="6655388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7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2A903271-3832-4E3F-B9C1-6D41288D0018}"/>
                  </a:ext>
                </a:extLst>
              </p:cNvPr>
              <p:cNvSpPr/>
              <p:nvPr/>
            </p:nvSpPr>
            <p:spPr>
              <a:xfrm>
                <a:off x="2694732" y="6719340"/>
                <a:ext cx="24713" cy="24618"/>
              </a:xfrm>
              <a:custGeom>
                <a:avLst/>
                <a:gdLst>
                  <a:gd name="connsiteX0" fmla="*/ 12357 w 24713"/>
                  <a:gd name="connsiteY0" fmla="*/ 24619 h 24618"/>
                  <a:gd name="connsiteX1" fmla="*/ 0 w 24713"/>
                  <a:gd name="connsiteY1" fmla="*/ 12262 h 24618"/>
                  <a:gd name="connsiteX2" fmla="*/ 12357 w 24713"/>
                  <a:gd name="connsiteY2" fmla="*/ 0 h 24618"/>
                  <a:gd name="connsiteX3" fmla="*/ 24713 w 24713"/>
                  <a:gd name="connsiteY3" fmla="*/ 12357 h 24618"/>
                  <a:gd name="connsiteX4" fmla="*/ 12357 w 24713"/>
                  <a:gd name="connsiteY4" fmla="*/ 24619 h 24618"/>
                  <a:gd name="connsiteX5" fmla="*/ 12357 w 24713"/>
                  <a:gd name="connsiteY5" fmla="*/ 9432 h 24618"/>
                  <a:gd name="connsiteX6" fmla="*/ 9432 w 24713"/>
                  <a:gd name="connsiteY6" fmla="*/ 12357 h 24618"/>
                  <a:gd name="connsiteX7" fmla="*/ 12357 w 24713"/>
                  <a:gd name="connsiteY7" fmla="*/ 15281 h 24618"/>
                  <a:gd name="connsiteX8" fmla="*/ 15281 w 24713"/>
                  <a:gd name="connsiteY8" fmla="*/ 12357 h 24618"/>
                  <a:gd name="connsiteX9" fmla="*/ 12357 w 24713"/>
                  <a:gd name="connsiteY9" fmla="*/ 9432 h 2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618">
                    <a:moveTo>
                      <a:pt x="12357" y="24619"/>
                    </a:moveTo>
                    <a:cubicBezTo>
                      <a:pt x="5565" y="24619"/>
                      <a:pt x="0" y="19054"/>
                      <a:pt x="0" y="12262"/>
                    </a:cubicBezTo>
                    <a:cubicBezTo>
                      <a:pt x="0" y="5471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619"/>
                      <a:pt x="12357" y="24619"/>
                    </a:cubicBezTo>
                    <a:close/>
                    <a:moveTo>
                      <a:pt x="12357" y="9432"/>
                    </a:moveTo>
                    <a:cubicBezTo>
                      <a:pt x="10753" y="9432"/>
                      <a:pt x="9432" y="10753"/>
                      <a:pt x="9432" y="12357"/>
                    </a:cubicBezTo>
                    <a:cubicBezTo>
                      <a:pt x="9432" y="13960"/>
                      <a:pt x="10753" y="15281"/>
                      <a:pt x="12357" y="15281"/>
                    </a:cubicBezTo>
                    <a:cubicBezTo>
                      <a:pt x="13960" y="15281"/>
                      <a:pt x="15281" y="13960"/>
                      <a:pt x="15281" y="12357"/>
                    </a:cubicBezTo>
                    <a:cubicBezTo>
                      <a:pt x="15281" y="10753"/>
                      <a:pt x="13960" y="9432"/>
                      <a:pt x="12357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C0634C56-D183-4622-AEBC-46AD9D44FA25}"/>
                  </a:ext>
                </a:extLst>
              </p:cNvPr>
              <p:cNvSpPr/>
              <p:nvPr/>
            </p:nvSpPr>
            <p:spPr>
              <a:xfrm>
                <a:off x="2836030" y="6719246"/>
                <a:ext cx="24713" cy="24713"/>
              </a:xfrm>
              <a:custGeom>
                <a:avLst/>
                <a:gdLst>
                  <a:gd name="connsiteX0" fmla="*/ 12357 w 24713"/>
                  <a:gd name="connsiteY0" fmla="*/ 24713 h 24713"/>
                  <a:gd name="connsiteX1" fmla="*/ 0 w 24713"/>
                  <a:gd name="connsiteY1" fmla="*/ 12357 h 24713"/>
                  <a:gd name="connsiteX2" fmla="*/ 12357 w 24713"/>
                  <a:gd name="connsiteY2" fmla="*/ 0 h 24713"/>
                  <a:gd name="connsiteX3" fmla="*/ 24713 w 24713"/>
                  <a:gd name="connsiteY3" fmla="*/ 12357 h 24713"/>
                  <a:gd name="connsiteX4" fmla="*/ 12357 w 24713"/>
                  <a:gd name="connsiteY4" fmla="*/ 24713 h 24713"/>
                  <a:gd name="connsiteX5" fmla="*/ 12357 w 24713"/>
                  <a:gd name="connsiteY5" fmla="*/ 9527 h 24713"/>
                  <a:gd name="connsiteX6" fmla="*/ 9432 w 24713"/>
                  <a:gd name="connsiteY6" fmla="*/ 12451 h 24713"/>
                  <a:gd name="connsiteX7" fmla="*/ 12357 w 24713"/>
                  <a:gd name="connsiteY7" fmla="*/ 15375 h 24713"/>
                  <a:gd name="connsiteX8" fmla="*/ 15281 w 24713"/>
                  <a:gd name="connsiteY8" fmla="*/ 12451 h 24713"/>
                  <a:gd name="connsiteX9" fmla="*/ 12357 w 24713"/>
                  <a:gd name="connsiteY9" fmla="*/ 9527 h 2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13" h="24713">
                    <a:moveTo>
                      <a:pt x="12357" y="24713"/>
                    </a:moveTo>
                    <a:cubicBezTo>
                      <a:pt x="5565" y="24713"/>
                      <a:pt x="0" y="19148"/>
                      <a:pt x="0" y="12357"/>
                    </a:cubicBezTo>
                    <a:cubicBezTo>
                      <a:pt x="0" y="5565"/>
                      <a:pt x="5565" y="0"/>
                      <a:pt x="12357" y="0"/>
                    </a:cubicBezTo>
                    <a:cubicBezTo>
                      <a:pt x="19148" y="0"/>
                      <a:pt x="24713" y="5565"/>
                      <a:pt x="24713" y="12357"/>
                    </a:cubicBezTo>
                    <a:cubicBezTo>
                      <a:pt x="24713" y="19148"/>
                      <a:pt x="19148" y="24713"/>
                      <a:pt x="12357" y="24713"/>
                    </a:cubicBezTo>
                    <a:close/>
                    <a:moveTo>
                      <a:pt x="12357" y="9527"/>
                    </a:moveTo>
                    <a:cubicBezTo>
                      <a:pt x="10753" y="9527"/>
                      <a:pt x="9432" y="10847"/>
                      <a:pt x="9432" y="12451"/>
                    </a:cubicBezTo>
                    <a:cubicBezTo>
                      <a:pt x="9432" y="14054"/>
                      <a:pt x="10753" y="15375"/>
                      <a:pt x="12357" y="15375"/>
                    </a:cubicBezTo>
                    <a:cubicBezTo>
                      <a:pt x="13960" y="15375"/>
                      <a:pt x="15281" y="14054"/>
                      <a:pt x="15281" y="12451"/>
                    </a:cubicBezTo>
                    <a:cubicBezTo>
                      <a:pt x="15281" y="10847"/>
                      <a:pt x="13960" y="9527"/>
                      <a:pt x="12357" y="9527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108355C5-20A2-4BD2-BFEF-F3FFF9C72374}"/>
                  </a:ext>
                </a:extLst>
              </p:cNvPr>
              <p:cNvSpPr/>
              <p:nvPr/>
            </p:nvSpPr>
            <p:spPr>
              <a:xfrm>
                <a:off x="2727085" y="6713303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7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84354B2D-12C0-4A95-A782-916D1653DE45}"/>
                  </a:ext>
                </a:extLst>
              </p:cNvPr>
              <p:cNvSpPr/>
              <p:nvPr/>
            </p:nvSpPr>
            <p:spPr>
              <a:xfrm>
                <a:off x="2727085" y="6740658"/>
                <a:ext cx="101304" cy="9432"/>
              </a:xfrm>
              <a:custGeom>
                <a:avLst/>
                <a:gdLst>
                  <a:gd name="connsiteX0" fmla="*/ 96588 w 101304"/>
                  <a:gd name="connsiteY0" fmla="*/ 9432 h 9432"/>
                  <a:gd name="connsiteX1" fmla="*/ 4716 w 101304"/>
                  <a:gd name="connsiteY1" fmla="*/ 9432 h 9432"/>
                  <a:gd name="connsiteX2" fmla="*/ 0 w 101304"/>
                  <a:gd name="connsiteY2" fmla="*/ 4716 h 9432"/>
                  <a:gd name="connsiteX3" fmla="*/ 4716 w 101304"/>
                  <a:gd name="connsiteY3" fmla="*/ 0 h 9432"/>
                  <a:gd name="connsiteX4" fmla="*/ 96588 w 101304"/>
                  <a:gd name="connsiteY4" fmla="*/ 0 h 9432"/>
                  <a:gd name="connsiteX5" fmla="*/ 101305 w 101304"/>
                  <a:gd name="connsiteY5" fmla="*/ 4716 h 9432"/>
                  <a:gd name="connsiteX6" fmla="*/ 96588 w 101304"/>
                  <a:gd name="connsiteY6" fmla="*/ 9432 h 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304" h="9432">
                    <a:moveTo>
                      <a:pt x="96588" y="9432"/>
                    </a:moveTo>
                    <a:lnTo>
                      <a:pt x="4716" y="9432"/>
                    </a:lnTo>
                    <a:cubicBezTo>
                      <a:pt x="2075" y="9432"/>
                      <a:pt x="0" y="7357"/>
                      <a:pt x="0" y="4716"/>
                    </a:cubicBezTo>
                    <a:cubicBezTo>
                      <a:pt x="0" y="2075"/>
                      <a:pt x="2075" y="0"/>
                      <a:pt x="4716" y="0"/>
                    </a:cubicBezTo>
                    <a:lnTo>
                      <a:pt x="96588" y="0"/>
                    </a:lnTo>
                    <a:cubicBezTo>
                      <a:pt x="99230" y="0"/>
                      <a:pt x="101305" y="2075"/>
                      <a:pt x="101305" y="4716"/>
                    </a:cubicBezTo>
                    <a:cubicBezTo>
                      <a:pt x="101305" y="7357"/>
                      <a:pt x="99230" y="9432"/>
                      <a:pt x="96588" y="9432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EAC35241-3CEE-4C6D-9EAB-808F433C027B}"/>
                  </a:ext>
                </a:extLst>
              </p:cNvPr>
              <p:cNvSpPr/>
              <p:nvPr/>
            </p:nvSpPr>
            <p:spPr>
              <a:xfrm>
                <a:off x="2694072" y="6672272"/>
                <a:ext cx="167331" cy="33673"/>
              </a:xfrm>
              <a:custGeom>
                <a:avLst/>
                <a:gdLst>
                  <a:gd name="connsiteX0" fmla="*/ 162616 w 167331"/>
                  <a:gd name="connsiteY0" fmla="*/ 33674 h 33673"/>
                  <a:gd name="connsiteX1" fmla="*/ 157900 w 167331"/>
                  <a:gd name="connsiteY1" fmla="*/ 28958 h 33673"/>
                  <a:gd name="connsiteX2" fmla="*/ 157900 w 167331"/>
                  <a:gd name="connsiteY2" fmla="*/ 4716 h 33673"/>
                  <a:gd name="connsiteX3" fmla="*/ 162616 w 167331"/>
                  <a:gd name="connsiteY3" fmla="*/ 0 h 33673"/>
                  <a:gd name="connsiteX4" fmla="*/ 167332 w 167331"/>
                  <a:gd name="connsiteY4" fmla="*/ 4716 h 33673"/>
                  <a:gd name="connsiteX5" fmla="*/ 167332 w 167331"/>
                  <a:gd name="connsiteY5" fmla="*/ 28958 h 33673"/>
                  <a:gd name="connsiteX6" fmla="*/ 162616 w 167331"/>
                  <a:gd name="connsiteY6" fmla="*/ 33674 h 33673"/>
                  <a:gd name="connsiteX7" fmla="*/ 4716 w 167331"/>
                  <a:gd name="connsiteY7" fmla="*/ 33674 h 33673"/>
                  <a:gd name="connsiteX8" fmla="*/ 0 w 167331"/>
                  <a:gd name="connsiteY8" fmla="*/ 28958 h 33673"/>
                  <a:gd name="connsiteX9" fmla="*/ 0 w 167331"/>
                  <a:gd name="connsiteY9" fmla="*/ 4716 h 33673"/>
                  <a:gd name="connsiteX10" fmla="*/ 4716 w 167331"/>
                  <a:gd name="connsiteY10" fmla="*/ 0 h 33673"/>
                  <a:gd name="connsiteX11" fmla="*/ 9432 w 167331"/>
                  <a:gd name="connsiteY11" fmla="*/ 4716 h 33673"/>
                  <a:gd name="connsiteX12" fmla="*/ 9432 w 167331"/>
                  <a:gd name="connsiteY12" fmla="*/ 28958 h 33673"/>
                  <a:gd name="connsiteX13" fmla="*/ 4716 w 167331"/>
                  <a:gd name="connsiteY13" fmla="*/ 33674 h 33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7331" h="33673">
                    <a:moveTo>
                      <a:pt x="162616" y="33674"/>
                    </a:moveTo>
                    <a:cubicBezTo>
                      <a:pt x="159975" y="33674"/>
                      <a:pt x="157900" y="31599"/>
                      <a:pt x="157900" y="28958"/>
                    </a:cubicBezTo>
                    <a:lnTo>
                      <a:pt x="157900" y="4716"/>
                    </a:lnTo>
                    <a:cubicBezTo>
                      <a:pt x="157900" y="2075"/>
                      <a:pt x="159975" y="0"/>
                      <a:pt x="162616" y="0"/>
                    </a:cubicBezTo>
                    <a:cubicBezTo>
                      <a:pt x="165257" y="0"/>
                      <a:pt x="167332" y="2075"/>
                      <a:pt x="167332" y="4716"/>
                    </a:cubicBezTo>
                    <a:lnTo>
                      <a:pt x="167332" y="28958"/>
                    </a:lnTo>
                    <a:cubicBezTo>
                      <a:pt x="167332" y="31504"/>
                      <a:pt x="165257" y="33674"/>
                      <a:pt x="162616" y="33674"/>
                    </a:cubicBezTo>
                    <a:close/>
                    <a:moveTo>
                      <a:pt x="4716" y="33674"/>
                    </a:moveTo>
                    <a:cubicBezTo>
                      <a:pt x="2075" y="33674"/>
                      <a:pt x="0" y="31599"/>
                      <a:pt x="0" y="28958"/>
                    </a:cubicBezTo>
                    <a:lnTo>
                      <a:pt x="0" y="4716"/>
                    </a:lnTo>
                    <a:cubicBezTo>
                      <a:pt x="0" y="2075"/>
                      <a:pt x="2075" y="0"/>
                      <a:pt x="4716" y="0"/>
                    </a:cubicBezTo>
                    <a:cubicBezTo>
                      <a:pt x="7357" y="0"/>
                      <a:pt x="9432" y="2075"/>
                      <a:pt x="9432" y="4716"/>
                    </a:cubicBezTo>
                    <a:lnTo>
                      <a:pt x="9432" y="28958"/>
                    </a:lnTo>
                    <a:cubicBezTo>
                      <a:pt x="9432" y="31504"/>
                      <a:pt x="7357" y="33674"/>
                      <a:pt x="4716" y="33674"/>
                    </a:cubicBezTo>
                    <a:close/>
                  </a:path>
                </a:pathLst>
              </a:custGeom>
              <a:grpFill/>
              <a:ln w="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33484A89-BF9F-463D-A3C6-A9B0F93144F7}"/>
                </a:ext>
              </a:extLst>
            </p:cNvPr>
            <p:cNvSpPr txBox="1"/>
            <p:nvPr/>
          </p:nvSpPr>
          <p:spPr>
            <a:xfrm>
              <a:off x="8942788" y="2849403"/>
              <a:ext cx="88357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Data Science</a:t>
              </a:r>
            </a:p>
          </p:txBody>
        </p:sp>
        <p:grpSp>
          <p:nvGrpSpPr>
            <p:cNvPr id="336" name="Graphic 568">
              <a:extLst>
                <a:ext uri="{FF2B5EF4-FFF2-40B4-BE49-F238E27FC236}">
                  <a16:creationId xmlns:a16="http://schemas.microsoft.com/office/drawing/2014/main" id="{A312D5E8-BEEB-487F-BD4E-1724601F0BF8}"/>
                </a:ext>
              </a:extLst>
            </p:cNvPr>
            <p:cNvGrpSpPr/>
            <p:nvPr/>
          </p:nvGrpSpPr>
          <p:grpSpPr>
            <a:xfrm>
              <a:off x="9147287" y="3289080"/>
              <a:ext cx="582538" cy="582537"/>
              <a:chOff x="9147287" y="3182544"/>
              <a:chExt cx="582538" cy="582537"/>
            </a:xfrm>
            <a:solidFill>
              <a:schemeClr val="accent2"/>
            </a:solidFill>
          </p:grpSpPr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12472076-F0CC-42EA-A0F0-28C4CA70C21A}"/>
                  </a:ext>
                </a:extLst>
              </p:cNvPr>
              <p:cNvSpPr/>
              <p:nvPr/>
            </p:nvSpPr>
            <p:spPr>
              <a:xfrm>
                <a:off x="9438554" y="3344615"/>
                <a:ext cx="108202" cy="57606"/>
              </a:xfrm>
              <a:custGeom>
                <a:avLst/>
                <a:gdLst>
                  <a:gd name="connsiteX0" fmla="*/ 43179 w 108202"/>
                  <a:gd name="connsiteY0" fmla="*/ 39399 h 57606"/>
                  <a:gd name="connsiteX1" fmla="*/ 48858 w 108202"/>
                  <a:gd name="connsiteY1" fmla="*/ 42280 h 57606"/>
                  <a:gd name="connsiteX2" fmla="*/ 62659 w 108202"/>
                  <a:gd name="connsiteY2" fmla="*/ 42280 h 57606"/>
                  <a:gd name="connsiteX3" fmla="*/ 78430 w 108202"/>
                  <a:gd name="connsiteY3" fmla="*/ 56755 h 57606"/>
                  <a:gd name="connsiteX4" fmla="*/ 99398 w 108202"/>
                  <a:gd name="connsiteY4" fmla="*/ 52443 h 57606"/>
                  <a:gd name="connsiteX5" fmla="*/ 108172 w 108202"/>
                  <a:gd name="connsiteY5" fmla="*/ 32916 h 57606"/>
                  <a:gd name="connsiteX6" fmla="*/ 97474 w 108202"/>
                  <a:gd name="connsiteY6" fmla="*/ 14373 h 57606"/>
                  <a:gd name="connsiteX7" fmla="*/ 76178 w 108202"/>
                  <a:gd name="connsiteY7" fmla="*/ 12194 h 57606"/>
                  <a:gd name="connsiteX8" fmla="*/ 61947 w 108202"/>
                  <a:gd name="connsiteY8" fmla="*/ 28187 h 57606"/>
                  <a:gd name="connsiteX9" fmla="*/ 52429 w 108202"/>
                  <a:gd name="connsiteY9" fmla="*/ 28187 h 57606"/>
                  <a:gd name="connsiteX10" fmla="*/ 33868 w 108202"/>
                  <a:gd name="connsiteY10" fmla="*/ 2881 h 57606"/>
                  <a:gd name="connsiteX11" fmla="*/ 28187 w 108202"/>
                  <a:gd name="connsiteY11" fmla="*/ 0 h 57606"/>
                  <a:gd name="connsiteX12" fmla="*/ 0 w 108202"/>
                  <a:gd name="connsiteY12" fmla="*/ 0 h 57606"/>
                  <a:gd name="connsiteX13" fmla="*/ 0 w 108202"/>
                  <a:gd name="connsiteY13" fmla="*/ 14093 h 57606"/>
                  <a:gd name="connsiteX14" fmla="*/ 24618 w 108202"/>
                  <a:gd name="connsiteY14" fmla="*/ 14093 h 5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8202" h="57606">
                    <a:moveTo>
                      <a:pt x="43179" y="39399"/>
                    </a:moveTo>
                    <a:cubicBezTo>
                      <a:pt x="44503" y="41209"/>
                      <a:pt x="46615" y="42280"/>
                      <a:pt x="48858" y="42280"/>
                    </a:cubicBezTo>
                    <a:lnTo>
                      <a:pt x="62659" y="42280"/>
                    </a:lnTo>
                    <a:cubicBezTo>
                      <a:pt x="65286" y="49359"/>
                      <a:pt x="71152" y="54744"/>
                      <a:pt x="78430" y="56755"/>
                    </a:cubicBezTo>
                    <a:cubicBezTo>
                      <a:pt x="85706" y="58768"/>
                      <a:pt x="93507" y="57165"/>
                      <a:pt x="99398" y="52443"/>
                    </a:cubicBezTo>
                    <a:cubicBezTo>
                      <a:pt x="105288" y="47720"/>
                      <a:pt x="108553" y="40454"/>
                      <a:pt x="108172" y="32916"/>
                    </a:cubicBezTo>
                    <a:cubicBezTo>
                      <a:pt x="107790" y="25376"/>
                      <a:pt x="103811" y="18478"/>
                      <a:pt x="97474" y="14373"/>
                    </a:cubicBezTo>
                    <a:cubicBezTo>
                      <a:pt x="91136" y="10269"/>
                      <a:pt x="83214" y="9458"/>
                      <a:pt x="76178" y="12194"/>
                    </a:cubicBezTo>
                    <a:cubicBezTo>
                      <a:pt x="69141" y="14930"/>
                      <a:pt x="63848" y="20879"/>
                      <a:pt x="61947" y="28187"/>
                    </a:cubicBezTo>
                    <a:lnTo>
                      <a:pt x="52429" y="28187"/>
                    </a:lnTo>
                    <a:lnTo>
                      <a:pt x="33868" y="2881"/>
                    </a:lnTo>
                    <a:cubicBezTo>
                      <a:pt x="32542" y="1069"/>
                      <a:pt x="30432" y="-2"/>
                      <a:pt x="28187" y="0"/>
                    </a:cubicBezTo>
                    <a:lnTo>
                      <a:pt x="0" y="0"/>
                    </a:lnTo>
                    <a:lnTo>
                      <a:pt x="0" y="14093"/>
                    </a:lnTo>
                    <a:lnTo>
                      <a:pt x="24618" y="14093"/>
                    </a:ln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2EA9F778-974D-41F6-A6BD-A59FA57ACD7E}"/>
                  </a:ext>
                </a:extLst>
              </p:cNvPr>
              <p:cNvSpPr/>
              <p:nvPr/>
            </p:nvSpPr>
            <p:spPr>
              <a:xfrm>
                <a:off x="9440433" y="3410399"/>
                <a:ext cx="143646" cy="56337"/>
              </a:xfrm>
              <a:custGeom>
                <a:avLst/>
                <a:gdLst>
                  <a:gd name="connsiteX0" fmla="*/ 120157 w 143646"/>
                  <a:gd name="connsiteY0" fmla="*/ 9377 h 56337"/>
                  <a:gd name="connsiteX1" fmla="*/ 105294 w 143646"/>
                  <a:gd name="connsiteY1" fmla="*/ 14679 h 56337"/>
                  <a:gd name="connsiteX2" fmla="*/ 97138 w 143646"/>
                  <a:gd name="connsiteY2" fmla="*/ 28187 h 56337"/>
                  <a:gd name="connsiteX3" fmla="*/ 63515 w 143646"/>
                  <a:gd name="connsiteY3" fmla="*/ 28187 h 56337"/>
                  <a:gd name="connsiteX4" fmla="*/ 43090 w 143646"/>
                  <a:gd name="connsiteY4" fmla="*/ 2643 h 56337"/>
                  <a:gd name="connsiteX5" fmla="*/ 37583 w 143646"/>
                  <a:gd name="connsiteY5" fmla="*/ 0 h 56337"/>
                  <a:gd name="connsiteX6" fmla="*/ 0 w 143646"/>
                  <a:gd name="connsiteY6" fmla="*/ 0 h 56337"/>
                  <a:gd name="connsiteX7" fmla="*/ 0 w 143646"/>
                  <a:gd name="connsiteY7" fmla="*/ 14093 h 56337"/>
                  <a:gd name="connsiteX8" fmla="*/ 34197 w 143646"/>
                  <a:gd name="connsiteY8" fmla="*/ 14093 h 56337"/>
                  <a:gd name="connsiteX9" fmla="*/ 54622 w 143646"/>
                  <a:gd name="connsiteY9" fmla="*/ 39638 h 56337"/>
                  <a:gd name="connsiteX10" fmla="*/ 60128 w 143646"/>
                  <a:gd name="connsiteY10" fmla="*/ 42280 h 56337"/>
                  <a:gd name="connsiteX11" fmla="*/ 98660 w 143646"/>
                  <a:gd name="connsiteY11" fmla="*/ 42280 h 56337"/>
                  <a:gd name="connsiteX12" fmla="*/ 110140 w 143646"/>
                  <a:gd name="connsiteY12" fmla="*/ 54090 h 56337"/>
                  <a:gd name="connsiteX13" fmla="*/ 126553 w 143646"/>
                  <a:gd name="connsiteY13" fmla="*/ 55453 h 56337"/>
                  <a:gd name="connsiteX14" fmla="*/ 139822 w 143646"/>
                  <a:gd name="connsiteY14" fmla="*/ 45699 h 56337"/>
                  <a:gd name="connsiteX15" fmla="*/ 143424 w 143646"/>
                  <a:gd name="connsiteY15" fmla="*/ 29629 h 56337"/>
                  <a:gd name="connsiteX16" fmla="*/ 135581 w 143646"/>
                  <a:gd name="connsiteY16" fmla="*/ 15147 h 56337"/>
                  <a:gd name="connsiteX17" fmla="*/ 120157 w 143646"/>
                  <a:gd name="connsiteY17" fmla="*/ 9377 h 56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646" h="56337">
                    <a:moveTo>
                      <a:pt x="120157" y="9377"/>
                    </a:moveTo>
                    <a:cubicBezTo>
                      <a:pt x="114740" y="9377"/>
                      <a:pt x="109490" y="11252"/>
                      <a:pt x="105294" y="14679"/>
                    </a:cubicBezTo>
                    <a:cubicBezTo>
                      <a:pt x="101100" y="18107"/>
                      <a:pt x="98219" y="22879"/>
                      <a:pt x="97138" y="28187"/>
                    </a:cubicBezTo>
                    <a:lnTo>
                      <a:pt x="63515" y="28187"/>
                    </a:lnTo>
                    <a:lnTo>
                      <a:pt x="43090" y="2643"/>
                    </a:lnTo>
                    <a:cubicBezTo>
                      <a:pt x="41749" y="972"/>
                      <a:pt x="39724" y="0"/>
                      <a:pt x="37583" y="0"/>
                    </a:cubicBezTo>
                    <a:lnTo>
                      <a:pt x="0" y="0"/>
                    </a:lnTo>
                    <a:lnTo>
                      <a:pt x="0" y="14093"/>
                    </a:lnTo>
                    <a:lnTo>
                      <a:pt x="34197" y="14093"/>
                    </a:lnTo>
                    <a:lnTo>
                      <a:pt x="54622" y="39638"/>
                    </a:lnTo>
                    <a:cubicBezTo>
                      <a:pt x="55962" y="41308"/>
                      <a:pt x="57988" y="42280"/>
                      <a:pt x="60128" y="42280"/>
                    </a:cubicBezTo>
                    <a:lnTo>
                      <a:pt x="98660" y="42280"/>
                    </a:lnTo>
                    <a:cubicBezTo>
                      <a:pt x="100935" y="47473"/>
                      <a:pt x="105014" y="51668"/>
                      <a:pt x="110140" y="54090"/>
                    </a:cubicBezTo>
                    <a:cubicBezTo>
                      <a:pt x="115266" y="56510"/>
                      <a:pt x="121096" y="56994"/>
                      <a:pt x="126553" y="55453"/>
                    </a:cubicBezTo>
                    <a:cubicBezTo>
                      <a:pt x="132008" y="53909"/>
                      <a:pt x="136721" y="50445"/>
                      <a:pt x="139822" y="45699"/>
                    </a:cubicBezTo>
                    <a:cubicBezTo>
                      <a:pt x="142923" y="40952"/>
                      <a:pt x="144202" y="35245"/>
                      <a:pt x="143424" y="29629"/>
                    </a:cubicBezTo>
                    <a:cubicBezTo>
                      <a:pt x="142644" y="24013"/>
                      <a:pt x="139857" y="18868"/>
                      <a:pt x="135581" y="15147"/>
                    </a:cubicBezTo>
                    <a:cubicBezTo>
                      <a:pt x="131305" y="11424"/>
                      <a:pt x="125826" y="9374"/>
                      <a:pt x="120157" y="9377"/>
                    </a:cubicBez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B0421620-E63B-402F-ADA3-68CEF4C6F191}"/>
                  </a:ext>
                </a:extLst>
              </p:cNvPr>
              <p:cNvSpPr/>
              <p:nvPr/>
            </p:nvSpPr>
            <p:spPr>
              <a:xfrm>
                <a:off x="9438551" y="3545420"/>
                <a:ext cx="110100" cy="57575"/>
              </a:xfrm>
              <a:custGeom>
                <a:avLst/>
                <a:gdLst>
                  <a:gd name="connsiteX0" fmla="*/ 86611 w 110100"/>
                  <a:gd name="connsiteY0" fmla="*/ 0 h 57575"/>
                  <a:gd name="connsiteX1" fmla="*/ 73245 w 110100"/>
                  <a:gd name="connsiteY1" fmla="*/ 4211 h 57575"/>
                  <a:gd name="connsiteX2" fmla="*/ 64673 w 110100"/>
                  <a:gd name="connsiteY2" fmla="*/ 15296 h 57575"/>
                  <a:gd name="connsiteX3" fmla="*/ 48858 w 110100"/>
                  <a:gd name="connsiteY3" fmla="*/ 15296 h 57575"/>
                  <a:gd name="connsiteX4" fmla="*/ 43179 w 110100"/>
                  <a:gd name="connsiteY4" fmla="*/ 18177 h 57575"/>
                  <a:gd name="connsiteX5" fmla="*/ 24618 w 110100"/>
                  <a:gd name="connsiteY5" fmla="*/ 43483 h 57575"/>
                  <a:gd name="connsiteX6" fmla="*/ 0 w 110100"/>
                  <a:gd name="connsiteY6" fmla="*/ 43483 h 57575"/>
                  <a:gd name="connsiteX7" fmla="*/ 0 w 110100"/>
                  <a:gd name="connsiteY7" fmla="*/ 57576 h 57575"/>
                  <a:gd name="connsiteX8" fmla="*/ 28187 w 110100"/>
                  <a:gd name="connsiteY8" fmla="*/ 57576 h 57575"/>
                  <a:gd name="connsiteX9" fmla="*/ 33867 w 110100"/>
                  <a:gd name="connsiteY9" fmla="*/ 54694 h 57575"/>
                  <a:gd name="connsiteX10" fmla="*/ 52428 w 110100"/>
                  <a:gd name="connsiteY10" fmla="*/ 29388 h 57575"/>
                  <a:gd name="connsiteX11" fmla="*/ 63961 w 110100"/>
                  <a:gd name="connsiteY11" fmla="*/ 29388 h 57575"/>
                  <a:gd name="connsiteX12" fmla="*/ 73958 w 110100"/>
                  <a:gd name="connsiteY12" fmla="*/ 43172 h 57575"/>
                  <a:gd name="connsiteX13" fmla="*/ 90644 w 110100"/>
                  <a:gd name="connsiteY13" fmla="*/ 46561 h 57575"/>
                  <a:gd name="connsiteX14" fmla="*/ 105224 w 110100"/>
                  <a:gd name="connsiteY14" fmla="*/ 37767 h 57575"/>
                  <a:gd name="connsiteX15" fmla="*/ 110013 w 110100"/>
                  <a:gd name="connsiteY15" fmla="*/ 21429 h 57575"/>
                  <a:gd name="connsiteX16" fmla="*/ 102487 w 110100"/>
                  <a:gd name="connsiteY16" fmla="*/ 6155 h 57575"/>
                  <a:gd name="connsiteX17" fmla="*/ 86611 w 110100"/>
                  <a:gd name="connsiteY17" fmla="*/ 0 h 5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0100" h="57575">
                    <a:moveTo>
                      <a:pt x="86611" y="0"/>
                    </a:moveTo>
                    <a:cubicBezTo>
                      <a:pt x="81831" y="7"/>
                      <a:pt x="77167" y="1477"/>
                      <a:pt x="73245" y="4211"/>
                    </a:cubicBezTo>
                    <a:cubicBezTo>
                      <a:pt x="69325" y="6944"/>
                      <a:pt x="66333" y="10812"/>
                      <a:pt x="64673" y="15296"/>
                    </a:cubicBezTo>
                    <a:lnTo>
                      <a:pt x="48858" y="15296"/>
                    </a:lnTo>
                    <a:cubicBezTo>
                      <a:pt x="46613" y="15294"/>
                      <a:pt x="44503" y="16365"/>
                      <a:pt x="43179" y="18177"/>
                    </a:cubicBezTo>
                    <a:lnTo>
                      <a:pt x="24618" y="43483"/>
                    </a:lnTo>
                    <a:lnTo>
                      <a:pt x="0" y="43483"/>
                    </a:lnTo>
                    <a:lnTo>
                      <a:pt x="0" y="57576"/>
                    </a:lnTo>
                    <a:lnTo>
                      <a:pt x="28187" y="57576"/>
                    </a:lnTo>
                    <a:cubicBezTo>
                      <a:pt x="30431" y="57577"/>
                      <a:pt x="32540" y="56505"/>
                      <a:pt x="33867" y="54694"/>
                    </a:cubicBezTo>
                    <a:lnTo>
                      <a:pt x="52428" y="29388"/>
                    </a:lnTo>
                    <a:lnTo>
                      <a:pt x="63961" y="29388"/>
                    </a:lnTo>
                    <a:cubicBezTo>
                      <a:pt x="65450" y="35073"/>
                      <a:pt x="69016" y="39992"/>
                      <a:pt x="73958" y="43172"/>
                    </a:cubicBezTo>
                    <a:cubicBezTo>
                      <a:pt x="78899" y="46352"/>
                      <a:pt x="84854" y="47562"/>
                      <a:pt x="90644" y="46561"/>
                    </a:cubicBezTo>
                    <a:cubicBezTo>
                      <a:pt x="96433" y="45559"/>
                      <a:pt x="101638" y="42422"/>
                      <a:pt x="105224" y="37767"/>
                    </a:cubicBezTo>
                    <a:cubicBezTo>
                      <a:pt x="108812" y="33113"/>
                      <a:pt x="110521" y="27282"/>
                      <a:pt x="110013" y="21429"/>
                    </a:cubicBezTo>
                    <a:cubicBezTo>
                      <a:pt x="109507" y="15574"/>
                      <a:pt x="106821" y="10124"/>
                      <a:pt x="102487" y="6155"/>
                    </a:cubicBezTo>
                    <a:cubicBezTo>
                      <a:pt x="98154" y="2187"/>
                      <a:pt x="92488" y="-10"/>
                      <a:pt x="86611" y="0"/>
                    </a:cubicBez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3D53F634-A63C-4801-8DA7-85624BD1DA2C}"/>
                  </a:ext>
                </a:extLst>
              </p:cNvPr>
              <p:cNvSpPr/>
              <p:nvPr/>
            </p:nvSpPr>
            <p:spPr>
              <a:xfrm>
                <a:off x="9438559" y="3478506"/>
                <a:ext cx="142464" cy="58723"/>
              </a:xfrm>
              <a:custGeom>
                <a:avLst/>
                <a:gdLst>
                  <a:gd name="connsiteX0" fmla="*/ 118975 w 142464"/>
                  <a:gd name="connsiteY0" fmla="*/ 0 h 58723"/>
                  <a:gd name="connsiteX1" fmla="*/ 105136 w 142464"/>
                  <a:gd name="connsiteY1" fmla="*/ 4568 h 58723"/>
                  <a:gd name="connsiteX2" fmla="*/ 96680 w 142464"/>
                  <a:gd name="connsiteY2" fmla="*/ 16443 h 58723"/>
                  <a:gd name="connsiteX3" fmla="*/ 60136 w 142464"/>
                  <a:gd name="connsiteY3" fmla="*/ 16443 h 58723"/>
                  <a:gd name="connsiteX4" fmla="*/ 54631 w 142464"/>
                  <a:gd name="connsiteY4" fmla="*/ 19086 h 58723"/>
                  <a:gd name="connsiteX5" fmla="*/ 34197 w 142464"/>
                  <a:gd name="connsiteY5" fmla="*/ 44630 h 58723"/>
                  <a:gd name="connsiteX6" fmla="*/ 0 w 142464"/>
                  <a:gd name="connsiteY6" fmla="*/ 44630 h 58723"/>
                  <a:gd name="connsiteX7" fmla="*/ 0 w 142464"/>
                  <a:gd name="connsiteY7" fmla="*/ 58723 h 58723"/>
                  <a:gd name="connsiteX8" fmla="*/ 37583 w 142464"/>
                  <a:gd name="connsiteY8" fmla="*/ 58723 h 58723"/>
                  <a:gd name="connsiteX9" fmla="*/ 43089 w 142464"/>
                  <a:gd name="connsiteY9" fmla="*/ 56081 h 58723"/>
                  <a:gd name="connsiteX10" fmla="*/ 63522 w 142464"/>
                  <a:gd name="connsiteY10" fmla="*/ 30536 h 58723"/>
                  <a:gd name="connsiteX11" fmla="*/ 96680 w 142464"/>
                  <a:gd name="connsiteY11" fmla="*/ 30536 h 58723"/>
                  <a:gd name="connsiteX12" fmla="*/ 107195 w 142464"/>
                  <a:gd name="connsiteY12" fmla="*/ 43682 h 58723"/>
                  <a:gd name="connsiteX13" fmla="*/ 123810 w 142464"/>
                  <a:gd name="connsiteY13" fmla="*/ 46389 h 58723"/>
                  <a:gd name="connsiteX14" fmla="*/ 137955 w 142464"/>
                  <a:gd name="connsiteY14" fmla="*/ 37264 h 58723"/>
                  <a:gd name="connsiteX15" fmla="*/ 142338 w 142464"/>
                  <a:gd name="connsiteY15" fmla="*/ 21011 h 58723"/>
                  <a:gd name="connsiteX16" fmla="*/ 134698 w 142464"/>
                  <a:gd name="connsiteY16" fmla="*/ 6012 h 58723"/>
                  <a:gd name="connsiteX17" fmla="*/ 118975 w 142464"/>
                  <a:gd name="connsiteY17" fmla="*/ 0 h 58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464" h="58723">
                    <a:moveTo>
                      <a:pt x="118975" y="0"/>
                    </a:moveTo>
                    <a:cubicBezTo>
                      <a:pt x="113994" y="12"/>
                      <a:pt x="109145" y="1612"/>
                      <a:pt x="105136" y="4568"/>
                    </a:cubicBezTo>
                    <a:cubicBezTo>
                      <a:pt x="101125" y="7527"/>
                      <a:pt x="98164" y="11686"/>
                      <a:pt x="96680" y="16443"/>
                    </a:cubicBezTo>
                    <a:lnTo>
                      <a:pt x="60136" y="16443"/>
                    </a:lnTo>
                    <a:cubicBezTo>
                      <a:pt x="57997" y="16443"/>
                      <a:pt x="55970" y="17415"/>
                      <a:pt x="54631" y="19086"/>
                    </a:cubicBezTo>
                    <a:lnTo>
                      <a:pt x="34197" y="44630"/>
                    </a:lnTo>
                    <a:lnTo>
                      <a:pt x="0" y="44630"/>
                    </a:lnTo>
                    <a:lnTo>
                      <a:pt x="0" y="58723"/>
                    </a:lnTo>
                    <a:lnTo>
                      <a:pt x="37583" y="58723"/>
                    </a:lnTo>
                    <a:cubicBezTo>
                      <a:pt x="39724" y="58721"/>
                      <a:pt x="41749" y="57751"/>
                      <a:pt x="43089" y="56081"/>
                    </a:cubicBezTo>
                    <a:lnTo>
                      <a:pt x="63522" y="30536"/>
                    </a:lnTo>
                    <a:lnTo>
                      <a:pt x="96680" y="30536"/>
                    </a:lnTo>
                    <a:cubicBezTo>
                      <a:pt x="98438" y="36068"/>
                      <a:pt x="102184" y="40752"/>
                      <a:pt x="107195" y="43682"/>
                    </a:cubicBezTo>
                    <a:cubicBezTo>
                      <a:pt x="112208" y="46610"/>
                      <a:pt x="118128" y="47575"/>
                      <a:pt x="123810" y="46389"/>
                    </a:cubicBezTo>
                    <a:cubicBezTo>
                      <a:pt x="129493" y="45203"/>
                      <a:pt x="134532" y="41953"/>
                      <a:pt x="137955" y="37264"/>
                    </a:cubicBezTo>
                    <a:cubicBezTo>
                      <a:pt x="141379" y="32575"/>
                      <a:pt x="142939" y="26784"/>
                      <a:pt x="142338" y="21011"/>
                    </a:cubicBezTo>
                    <a:cubicBezTo>
                      <a:pt x="141737" y="15239"/>
                      <a:pt x="139014" y="9894"/>
                      <a:pt x="134698" y="6012"/>
                    </a:cubicBezTo>
                    <a:cubicBezTo>
                      <a:pt x="130382" y="2130"/>
                      <a:pt x="124779" y="-12"/>
                      <a:pt x="118975" y="0"/>
                    </a:cubicBez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C1B8C86E-3F31-425E-84A6-E73628709594}"/>
                  </a:ext>
                </a:extLst>
              </p:cNvPr>
              <p:cNvSpPr/>
              <p:nvPr/>
            </p:nvSpPr>
            <p:spPr>
              <a:xfrm>
                <a:off x="9147287" y="3182544"/>
                <a:ext cx="582538" cy="582537"/>
              </a:xfrm>
              <a:custGeom>
                <a:avLst/>
                <a:gdLst>
                  <a:gd name="connsiteX0" fmla="*/ 558107 w 582538"/>
                  <a:gd name="connsiteY0" fmla="*/ 235195 h 582537"/>
                  <a:gd name="connsiteX1" fmla="*/ 541534 w 582538"/>
                  <a:gd name="connsiteY1" fmla="*/ 229428 h 582537"/>
                  <a:gd name="connsiteX2" fmla="*/ 531622 w 582538"/>
                  <a:gd name="connsiteY2" fmla="*/ 214950 h 582537"/>
                  <a:gd name="connsiteX3" fmla="*/ 515175 w 582538"/>
                  <a:gd name="connsiteY3" fmla="*/ 175356 h 582537"/>
                  <a:gd name="connsiteX4" fmla="*/ 511926 w 582538"/>
                  <a:gd name="connsiteY4" fmla="*/ 158081 h 582537"/>
                  <a:gd name="connsiteX5" fmla="*/ 519580 w 582538"/>
                  <a:gd name="connsiteY5" fmla="*/ 142256 h 582537"/>
                  <a:gd name="connsiteX6" fmla="*/ 533030 w 582538"/>
                  <a:gd name="connsiteY6" fmla="*/ 128806 h 582537"/>
                  <a:gd name="connsiteX7" fmla="*/ 453733 w 582538"/>
                  <a:gd name="connsiteY7" fmla="*/ 49508 h 582537"/>
                  <a:gd name="connsiteX8" fmla="*/ 440281 w 582538"/>
                  <a:gd name="connsiteY8" fmla="*/ 62958 h 582537"/>
                  <a:gd name="connsiteX9" fmla="*/ 424457 w 582538"/>
                  <a:gd name="connsiteY9" fmla="*/ 70610 h 582537"/>
                  <a:gd name="connsiteX10" fmla="*/ 407182 w 582538"/>
                  <a:gd name="connsiteY10" fmla="*/ 67363 h 582537"/>
                  <a:gd name="connsiteX11" fmla="*/ 367586 w 582538"/>
                  <a:gd name="connsiteY11" fmla="*/ 50915 h 582537"/>
                  <a:gd name="connsiteX12" fmla="*/ 353107 w 582538"/>
                  <a:gd name="connsiteY12" fmla="*/ 41002 h 582537"/>
                  <a:gd name="connsiteX13" fmla="*/ 347341 w 582538"/>
                  <a:gd name="connsiteY13" fmla="*/ 24430 h 582537"/>
                  <a:gd name="connsiteX14" fmla="*/ 347341 w 582538"/>
                  <a:gd name="connsiteY14" fmla="*/ 5516 h 582537"/>
                  <a:gd name="connsiteX15" fmla="*/ 235197 w 582538"/>
                  <a:gd name="connsiteY15" fmla="*/ 5516 h 582537"/>
                  <a:gd name="connsiteX16" fmla="*/ 235197 w 582538"/>
                  <a:gd name="connsiteY16" fmla="*/ 24430 h 582537"/>
                  <a:gd name="connsiteX17" fmla="*/ 229430 w 582538"/>
                  <a:gd name="connsiteY17" fmla="*/ 41003 h 582537"/>
                  <a:gd name="connsiteX18" fmla="*/ 214950 w 582538"/>
                  <a:gd name="connsiteY18" fmla="*/ 50915 h 582537"/>
                  <a:gd name="connsiteX19" fmla="*/ 175354 w 582538"/>
                  <a:gd name="connsiteY19" fmla="*/ 67363 h 582537"/>
                  <a:gd name="connsiteX20" fmla="*/ 158079 w 582538"/>
                  <a:gd name="connsiteY20" fmla="*/ 70610 h 582537"/>
                  <a:gd name="connsiteX21" fmla="*/ 142256 w 582538"/>
                  <a:gd name="connsiteY21" fmla="*/ 62958 h 582537"/>
                  <a:gd name="connsiteX22" fmla="*/ 128805 w 582538"/>
                  <a:gd name="connsiteY22" fmla="*/ 49508 h 582537"/>
                  <a:gd name="connsiteX23" fmla="*/ 49508 w 582538"/>
                  <a:gd name="connsiteY23" fmla="*/ 128806 h 582537"/>
                  <a:gd name="connsiteX24" fmla="*/ 62957 w 582538"/>
                  <a:gd name="connsiteY24" fmla="*/ 142256 h 582537"/>
                  <a:gd name="connsiteX25" fmla="*/ 70611 w 582538"/>
                  <a:gd name="connsiteY25" fmla="*/ 158081 h 582537"/>
                  <a:gd name="connsiteX26" fmla="*/ 67362 w 582538"/>
                  <a:gd name="connsiteY26" fmla="*/ 175356 h 582537"/>
                  <a:gd name="connsiteX27" fmla="*/ 50916 w 582538"/>
                  <a:gd name="connsiteY27" fmla="*/ 214950 h 582537"/>
                  <a:gd name="connsiteX28" fmla="*/ 41003 w 582538"/>
                  <a:gd name="connsiteY28" fmla="*/ 229428 h 582537"/>
                  <a:gd name="connsiteX29" fmla="*/ 24431 w 582538"/>
                  <a:gd name="connsiteY29" fmla="*/ 235195 h 582537"/>
                  <a:gd name="connsiteX30" fmla="*/ 5516 w 582538"/>
                  <a:gd name="connsiteY30" fmla="*/ 235195 h 582537"/>
                  <a:gd name="connsiteX31" fmla="*/ 5516 w 582538"/>
                  <a:gd name="connsiteY31" fmla="*/ 347339 h 582537"/>
                  <a:gd name="connsiteX32" fmla="*/ 24431 w 582538"/>
                  <a:gd name="connsiteY32" fmla="*/ 347339 h 582537"/>
                  <a:gd name="connsiteX33" fmla="*/ 41004 w 582538"/>
                  <a:gd name="connsiteY33" fmla="*/ 353105 h 582537"/>
                  <a:gd name="connsiteX34" fmla="*/ 50916 w 582538"/>
                  <a:gd name="connsiteY34" fmla="*/ 367584 h 582537"/>
                  <a:gd name="connsiteX35" fmla="*/ 67364 w 582538"/>
                  <a:gd name="connsiteY35" fmla="*/ 407178 h 582537"/>
                  <a:gd name="connsiteX36" fmla="*/ 70612 w 582538"/>
                  <a:gd name="connsiteY36" fmla="*/ 424453 h 582537"/>
                  <a:gd name="connsiteX37" fmla="*/ 62959 w 582538"/>
                  <a:gd name="connsiteY37" fmla="*/ 440278 h 582537"/>
                  <a:gd name="connsiteX38" fmla="*/ 49508 w 582538"/>
                  <a:gd name="connsiteY38" fmla="*/ 453728 h 582537"/>
                  <a:gd name="connsiteX39" fmla="*/ 128805 w 582538"/>
                  <a:gd name="connsiteY39" fmla="*/ 533028 h 582537"/>
                  <a:gd name="connsiteX40" fmla="*/ 142257 w 582538"/>
                  <a:gd name="connsiteY40" fmla="*/ 519576 h 582537"/>
                  <a:gd name="connsiteX41" fmla="*/ 158081 w 582538"/>
                  <a:gd name="connsiteY41" fmla="*/ 511926 h 582537"/>
                  <a:gd name="connsiteX42" fmla="*/ 175356 w 582538"/>
                  <a:gd name="connsiteY42" fmla="*/ 515173 h 582537"/>
                  <a:gd name="connsiteX43" fmla="*/ 214952 w 582538"/>
                  <a:gd name="connsiteY43" fmla="*/ 531620 h 582537"/>
                  <a:gd name="connsiteX44" fmla="*/ 229430 w 582538"/>
                  <a:gd name="connsiteY44" fmla="*/ 541533 h 582537"/>
                  <a:gd name="connsiteX45" fmla="*/ 235197 w 582538"/>
                  <a:gd name="connsiteY45" fmla="*/ 558107 h 582537"/>
                  <a:gd name="connsiteX46" fmla="*/ 235197 w 582538"/>
                  <a:gd name="connsiteY46" fmla="*/ 577020 h 582537"/>
                  <a:gd name="connsiteX47" fmla="*/ 347341 w 582538"/>
                  <a:gd name="connsiteY47" fmla="*/ 577020 h 582537"/>
                  <a:gd name="connsiteX48" fmla="*/ 347341 w 582538"/>
                  <a:gd name="connsiteY48" fmla="*/ 558107 h 582537"/>
                  <a:gd name="connsiteX49" fmla="*/ 353107 w 582538"/>
                  <a:gd name="connsiteY49" fmla="*/ 541533 h 582537"/>
                  <a:gd name="connsiteX50" fmla="*/ 367587 w 582538"/>
                  <a:gd name="connsiteY50" fmla="*/ 531620 h 582537"/>
                  <a:gd name="connsiteX51" fmla="*/ 407183 w 582538"/>
                  <a:gd name="connsiteY51" fmla="*/ 515173 h 582537"/>
                  <a:gd name="connsiteX52" fmla="*/ 424458 w 582538"/>
                  <a:gd name="connsiteY52" fmla="*/ 511926 h 582537"/>
                  <a:gd name="connsiteX53" fmla="*/ 440281 w 582538"/>
                  <a:gd name="connsiteY53" fmla="*/ 519576 h 582537"/>
                  <a:gd name="connsiteX54" fmla="*/ 453733 w 582538"/>
                  <a:gd name="connsiteY54" fmla="*/ 533028 h 582537"/>
                  <a:gd name="connsiteX55" fmla="*/ 533030 w 582538"/>
                  <a:gd name="connsiteY55" fmla="*/ 453728 h 582537"/>
                  <a:gd name="connsiteX56" fmla="*/ 519580 w 582538"/>
                  <a:gd name="connsiteY56" fmla="*/ 440278 h 582537"/>
                  <a:gd name="connsiteX57" fmla="*/ 511926 w 582538"/>
                  <a:gd name="connsiteY57" fmla="*/ 424453 h 582537"/>
                  <a:gd name="connsiteX58" fmla="*/ 515175 w 582538"/>
                  <a:gd name="connsiteY58" fmla="*/ 407178 h 582537"/>
                  <a:gd name="connsiteX59" fmla="*/ 531623 w 582538"/>
                  <a:gd name="connsiteY59" fmla="*/ 367584 h 582537"/>
                  <a:gd name="connsiteX60" fmla="*/ 541535 w 582538"/>
                  <a:gd name="connsiteY60" fmla="*/ 353105 h 582537"/>
                  <a:gd name="connsiteX61" fmla="*/ 558107 w 582538"/>
                  <a:gd name="connsiteY61" fmla="*/ 347339 h 582537"/>
                  <a:gd name="connsiteX62" fmla="*/ 577024 w 582538"/>
                  <a:gd name="connsiteY62" fmla="*/ 347339 h 582537"/>
                  <a:gd name="connsiteX63" fmla="*/ 577024 w 582538"/>
                  <a:gd name="connsiteY63" fmla="*/ 235195 h 582537"/>
                  <a:gd name="connsiteX64" fmla="*/ 291267 w 582538"/>
                  <a:gd name="connsiteY64" fmla="*/ 495152 h 582537"/>
                  <a:gd name="connsiteX65" fmla="*/ 177993 w 582538"/>
                  <a:gd name="connsiteY65" fmla="*/ 460791 h 582537"/>
                  <a:gd name="connsiteX66" fmla="*/ 102899 w 582538"/>
                  <a:gd name="connsiteY66" fmla="*/ 369289 h 582537"/>
                  <a:gd name="connsiteX67" fmla="*/ 91297 w 582538"/>
                  <a:gd name="connsiteY67" fmla="*/ 251487 h 582537"/>
                  <a:gd name="connsiteX68" fmla="*/ 147097 w 582538"/>
                  <a:gd name="connsiteY68" fmla="*/ 147093 h 582537"/>
                  <a:gd name="connsiteX69" fmla="*/ 251491 w 582538"/>
                  <a:gd name="connsiteY69" fmla="*/ 91293 h 582537"/>
                  <a:gd name="connsiteX70" fmla="*/ 369293 w 582538"/>
                  <a:gd name="connsiteY70" fmla="*/ 102896 h 582537"/>
                  <a:gd name="connsiteX71" fmla="*/ 460795 w 582538"/>
                  <a:gd name="connsiteY71" fmla="*/ 177990 h 582537"/>
                  <a:gd name="connsiteX72" fmla="*/ 495156 w 582538"/>
                  <a:gd name="connsiteY72" fmla="*/ 291263 h 582537"/>
                  <a:gd name="connsiteX73" fmla="*/ 467841 w 582538"/>
                  <a:gd name="connsiteY73" fmla="*/ 393207 h 582537"/>
                  <a:gd name="connsiteX74" fmla="*/ 393212 w 582538"/>
                  <a:gd name="connsiteY74" fmla="*/ 467835 h 582537"/>
                  <a:gd name="connsiteX75" fmla="*/ 291269 w 582538"/>
                  <a:gd name="connsiteY75" fmla="*/ 495151 h 582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82538" h="582537">
                    <a:moveTo>
                      <a:pt x="558107" y="235195"/>
                    </a:moveTo>
                    <a:cubicBezTo>
                      <a:pt x="552109" y="235093"/>
                      <a:pt x="546301" y="233071"/>
                      <a:pt x="541534" y="229428"/>
                    </a:cubicBezTo>
                    <a:cubicBezTo>
                      <a:pt x="536768" y="225785"/>
                      <a:pt x="533294" y="220711"/>
                      <a:pt x="531622" y="214950"/>
                    </a:cubicBezTo>
                    <a:cubicBezTo>
                      <a:pt x="527282" y="201306"/>
                      <a:pt x="521778" y="188059"/>
                      <a:pt x="515175" y="175356"/>
                    </a:cubicBezTo>
                    <a:cubicBezTo>
                      <a:pt x="512272" y="170092"/>
                      <a:pt x="511133" y="164037"/>
                      <a:pt x="511926" y="158081"/>
                    </a:cubicBezTo>
                    <a:cubicBezTo>
                      <a:pt x="512720" y="152123"/>
                      <a:pt x="515402" y="146577"/>
                      <a:pt x="519580" y="142256"/>
                    </a:cubicBezTo>
                    <a:lnTo>
                      <a:pt x="533030" y="128806"/>
                    </a:lnTo>
                    <a:cubicBezTo>
                      <a:pt x="511953" y="97511"/>
                      <a:pt x="485027" y="70584"/>
                      <a:pt x="453733" y="49508"/>
                    </a:cubicBezTo>
                    <a:lnTo>
                      <a:pt x="440281" y="62958"/>
                    </a:lnTo>
                    <a:cubicBezTo>
                      <a:pt x="435960" y="67135"/>
                      <a:pt x="430415" y="69818"/>
                      <a:pt x="424457" y="70610"/>
                    </a:cubicBezTo>
                    <a:cubicBezTo>
                      <a:pt x="418500" y="71403"/>
                      <a:pt x="412445" y="70265"/>
                      <a:pt x="407182" y="67363"/>
                    </a:cubicBezTo>
                    <a:cubicBezTo>
                      <a:pt x="394479" y="60758"/>
                      <a:pt x="381231" y="55255"/>
                      <a:pt x="367586" y="50915"/>
                    </a:cubicBezTo>
                    <a:cubicBezTo>
                      <a:pt x="361825" y="49242"/>
                      <a:pt x="356750" y="45769"/>
                      <a:pt x="353107" y="41002"/>
                    </a:cubicBezTo>
                    <a:cubicBezTo>
                      <a:pt x="349464" y="36236"/>
                      <a:pt x="347443" y="30428"/>
                      <a:pt x="347341" y="24430"/>
                    </a:cubicBezTo>
                    <a:lnTo>
                      <a:pt x="347341" y="5516"/>
                    </a:lnTo>
                    <a:cubicBezTo>
                      <a:pt x="310321" y="-1839"/>
                      <a:pt x="272217" y="-1839"/>
                      <a:pt x="235197" y="5516"/>
                    </a:cubicBezTo>
                    <a:lnTo>
                      <a:pt x="235197" y="24430"/>
                    </a:lnTo>
                    <a:cubicBezTo>
                      <a:pt x="235095" y="30428"/>
                      <a:pt x="233073" y="36236"/>
                      <a:pt x="229430" y="41003"/>
                    </a:cubicBezTo>
                    <a:cubicBezTo>
                      <a:pt x="225787" y="45768"/>
                      <a:pt x="220713" y="49242"/>
                      <a:pt x="214950" y="50915"/>
                    </a:cubicBezTo>
                    <a:cubicBezTo>
                      <a:pt x="201307" y="55255"/>
                      <a:pt x="188059" y="60757"/>
                      <a:pt x="175354" y="67363"/>
                    </a:cubicBezTo>
                    <a:cubicBezTo>
                      <a:pt x="170093" y="70265"/>
                      <a:pt x="164038" y="71403"/>
                      <a:pt x="158079" y="70610"/>
                    </a:cubicBezTo>
                    <a:cubicBezTo>
                      <a:pt x="152122" y="69817"/>
                      <a:pt x="146576" y="67135"/>
                      <a:pt x="142256" y="62958"/>
                    </a:cubicBezTo>
                    <a:lnTo>
                      <a:pt x="128805" y="49508"/>
                    </a:lnTo>
                    <a:cubicBezTo>
                      <a:pt x="97509" y="70584"/>
                      <a:pt x="70584" y="97512"/>
                      <a:pt x="49508" y="128806"/>
                    </a:cubicBezTo>
                    <a:lnTo>
                      <a:pt x="62957" y="142256"/>
                    </a:lnTo>
                    <a:cubicBezTo>
                      <a:pt x="67135" y="146577"/>
                      <a:pt x="69818" y="152123"/>
                      <a:pt x="70611" y="158081"/>
                    </a:cubicBezTo>
                    <a:cubicBezTo>
                      <a:pt x="71404" y="164037"/>
                      <a:pt x="70265" y="170092"/>
                      <a:pt x="67362" y="175356"/>
                    </a:cubicBezTo>
                    <a:cubicBezTo>
                      <a:pt x="60758" y="188059"/>
                      <a:pt x="55255" y="201306"/>
                      <a:pt x="50916" y="214950"/>
                    </a:cubicBezTo>
                    <a:cubicBezTo>
                      <a:pt x="49243" y="220711"/>
                      <a:pt x="45770" y="225785"/>
                      <a:pt x="41003" y="229428"/>
                    </a:cubicBezTo>
                    <a:cubicBezTo>
                      <a:pt x="36237" y="233071"/>
                      <a:pt x="30429" y="235093"/>
                      <a:pt x="24431" y="235195"/>
                    </a:cubicBezTo>
                    <a:lnTo>
                      <a:pt x="5516" y="235195"/>
                    </a:lnTo>
                    <a:cubicBezTo>
                      <a:pt x="-1839" y="272215"/>
                      <a:pt x="-1839" y="310319"/>
                      <a:pt x="5516" y="347339"/>
                    </a:cubicBezTo>
                    <a:lnTo>
                      <a:pt x="24431" y="347339"/>
                    </a:lnTo>
                    <a:cubicBezTo>
                      <a:pt x="30430" y="347441"/>
                      <a:pt x="36237" y="349462"/>
                      <a:pt x="41004" y="353105"/>
                    </a:cubicBezTo>
                    <a:cubicBezTo>
                      <a:pt x="45770" y="356748"/>
                      <a:pt x="49244" y="361823"/>
                      <a:pt x="50916" y="367584"/>
                    </a:cubicBezTo>
                    <a:cubicBezTo>
                      <a:pt x="55257" y="381229"/>
                      <a:pt x="60759" y="394475"/>
                      <a:pt x="67364" y="407178"/>
                    </a:cubicBezTo>
                    <a:cubicBezTo>
                      <a:pt x="70266" y="412441"/>
                      <a:pt x="71404" y="418496"/>
                      <a:pt x="70612" y="424453"/>
                    </a:cubicBezTo>
                    <a:cubicBezTo>
                      <a:pt x="69819" y="430411"/>
                      <a:pt x="67136" y="435958"/>
                      <a:pt x="62959" y="440278"/>
                    </a:cubicBezTo>
                    <a:lnTo>
                      <a:pt x="49508" y="453728"/>
                    </a:lnTo>
                    <a:cubicBezTo>
                      <a:pt x="70585" y="485023"/>
                      <a:pt x="97511" y="511950"/>
                      <a:pt x="128805" y="533028"/>
                    </a:cubicBezTo>
                    <a:lnTo>
                      <a:pt x="142257" y="519576"/>
                    </a:lnTo>
                    <a:cubicBezTo>
                      <a:pt x="146578" y="515400"/>
                      <a:pt x="152124" y="512718"/>
                      <a:pt x="158081" y="511926"/>
                    </a:cubicBezTo>
                    <a:cubicBezTo>
                      <a:pt x="164038" y="511133"/>
                      <a:pt x="170093" y="512270"/>
                      <a:pt x="175356" y="515173"/>
                    </a:cubicBezTo>
                    <a:cubicBezTo>
                      <a:pt x="188059" y="521778"/>
                      <a:pt x="201307" y="527280"/>
                      <a:pt x="214952" y="531620"/>
                    </a:cubicBezTo>
                    <a:cubicBezTo>
                      <a:pt x="220713" y="533293"/>
                      <a:pt x="225787" y="536766"/>
                      <a:pt x="229430" y="541533"/>
                    </a:cubicBezTo>
                    <a:cubicBezTo>
                      <a:pt x="233073" y="546299"/>
                      <a:pt x="235095" y="552107"/>
                      <a:pt x="235197" y="558107"/>
                    </a:cubicBezTo>
                    <a:lnTo>
                      <a:pt x="235197" y="577020"/>
                    </a:lnTo>
                    <a:cubicBezTo>
                      <a:pt x="272217" y="584376"/>
                      <a:pt x="310321" y="584376"/>
                      <a:pt x="347341" y="577020"/>
                    </a:cubicBezTo>
                    <a:lnTo>
                      <a:pt x="347341" y="558107"/>
                    </a:lnTo>
                    <a:cubicBezTo>
                      <a:pt x="347443" y="552107"/>
                      <a:pt x="349464" y="546299"/>
                      <a:pt x="353107" y="541533"/>
                    </a:cubicBezTo>
                    <a:cubicBezTo>
                      <a:pt x="356750" y="536768"/>
                      <a:pt x="361825" y="533293"/>
                      <a:pt x="367587" y="531620"/>
                    </a:cubicBezTo>
                    <a:cubicBezTo>
                      <a:pt x="381231" y="527280"/>
                      <a:pt x="394479" y="521778"/>
                      <a:pt x="407183" y="515173"/>
                    </a:cubicBezTo>
                    <a:cubicBezTo>
                      <a:pt x="412445" y="512270"/>
                      <a:pt x="418500" y="511133"/>
                      <a:pt x="424458" y="511926"/>
                    </a:cubicBezTo>
                    <a:cubicBezTo>
                      <a:pt x="430415" y="512718"/>
                      <a:pt x="435960" y="515400"/>
                      <a:pt x="440281" y="519576"/>
                    </a:cubicBezTo>
                    <a:lnTo>
                      <a:pt x="453733" y="533028"/>
                    </a:lnTo>
                    <a:cubicBezTo>
                      <a:pt x="485027" y="511951"/>
                      <a:pt x="511953" y="485023"/>
                      <a:pt x="533030" y="453728"/>
                    </a:cubicBezTo>
                    <a:lnTo>
                      <a:pt x="519580" y="440278"/>
                    </a:lnTo>
                    <a:cubicBezTo>
                      <a:pt x="515402" y="435958"/>
                      <a:pt x="512720" y="430411"/>
                      <a:pt x="511926" y="424453"/>
                    </a:cubicBezTo>
                    <a:cubicBezTo>
                      <a:pt x="511135" y="418496"/>
                      <a:pt x="512272" y="412441"/>
                      <a:pt x="515175" y="407178"/>
                    </a:cubicBezTo>
                    <a:cubicBezTo>
                      <a:pt x="521780" y="394475"/>
                      <a:pt x="527282" y="381227"/>
                      <a:pt x="531623" y="367584"/>
                    </a:cubicBezTo>
                    <a:cubicBezTo>
                      <a:pt x="533295" y="361823"/>
                      <a:pt x="536768" y="356748"/>
                      <a:pt x="541535" y="353105"/>
                    </a:cubicBezTo>
                    <a:cubicBezTo>
                      <a:pt x="546301" y="349462"/>
                      <a:pt x="552109" y="347441"/>
                      <a:pt x="558107" y="347339"/>
                    </a:cubicBezTo>
                    <a:lnTo>
                      <a:pt x="577024" y="347339"/>
                    </a:lnTo>
                    <a:cubicBezTo>
                      <a:pt x="584377" y="310319"/>
                      <a:pt x="584377" y="272215"/>
                      <a:pt x="577024" y="235195"/>
                    </a:cubicBezTo>
                    <a:close/>
                    <a:moveTo>
                      <a:pt x="291267" y="495152"/>
                    </a:moveTo>
                    <a:cubicBezTo>
                      <a:pt x="250941" y="495152"/>
                      <a:pt x="211523" y="483194"/>
                      <a:pt x="177993" y="460791"/>
                    </a:cubicBezTo>
                    <a:cubicBezTo>
                      <a:pt x="144464" y="438389"/>
                      <a:pt x="118332" y="406545"/>
                      <a:pt x="102899" y="369289"/>
                    </a:cubicBezTo>
                    <a:cubicBezTo>
                      <a:pt x="87467" y="332034"/>
                      <a:pt x="83429" y="291038"/>
                      <a:pt x="91297" y="251487"/>
                    </a:cubicBezTo>
                    <a:cubicBezTo>
                      <a:pt x="99164" y="211936"/>
                      <a:pt x="118582" y="175608"/>
                      <a:pt x="147097" y="147093"/>
                    </a:cubicBezTo>
                    <a:cubicBezTo>
                      <a:pt x="175611" y="118578"/>
                      <a:pt x="211940" y="99161"/>
                      <a:pt x="251491" y="91293"/>
                    </a:cubicBezTo>
                    <a:cubicBezTo>
                      <a:pt x="291042" y="83426"/>
                      <a:pt x="332037" y="87464"/>
                      <a:pt x="369293" y="102896"/>
                    </a:cubicBezTo>
                    <a:cubicBezTo>
                      <a:pt x="406549" y="118328"/>
                      <a:pt x="438392" y="144461"/>
                      <a:pt x="460795" y="177990"/>
                    </a:cubicBezTo>
                    <a:cubicBezTo>
                      <a:pt x="483198" y="211519"/>
                      <a:pt x="495156" y="250939"/>
                      <a:pt x="495156" y="291263"/>
                    </a:cubicBezTo>
                    <a:cubicBezTo>
                      <a:pt x="495156" y="327054"/>
                      <a:pt x="485735" y="362212"/>
                      <a:pt x="467841" y="393207"/>
                    </a:cubicBezTo>
                    <a:cubicBezTo>
                      <a:pt x="449946" y="424202"/>
                      <a:pt x="424208" y="449941"/>
                      <a:pt x="393212" y="467835"/>
                    </a:cubicBezTo>
                    <a:cubicBezTo>
                      <a:pt x="362217" y="485730"/>
                      <a:pt x="327058" y="495151"/>
                      <a:pt x="291269" y="495151"/>
                    </a:cubicBez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3FF5EF0A-54C8-476C-8B5A-3EE20162DC83}"/>
                  </a:ext>
                </a:extLst>
              </p:cNvPr>
              <p:cNvSpPr/>
              <p:nvPr/>
            </p:nvSpPr>
            <p:spPr>
              <a:xfrm>
                <a:off x="9439673" y="3443261"/>
                <a:ext cx="18791" cy="18791"/>
              </a:xfrm>
              <a:custGeom>
                <a:avLst/>
                <a:gdLst>
                  <a:gd name="connsiteX0" fmla="*/ 0 w 18791"/>
                  <a:gd name="connsiteY0" fmla="*/ 0 h 18791"/>
                  <a:gd name="connsiteX1" fmla="*/ 18792 w 18791"/>
                  <a:gd name="connsiteY1" fmla="*/ 0 h 18791"/>
                  <a:gd name="connsiteX2" fmla="*/ 18792 w 18791"/>
                  <a:gd name="connsiteY2" fmla="*/ 18792 h 18791"/>
                  <a:gd name="connsiteX3" fmla="*/ 0 w 18791"/>
                  <a:gd name="connsiteY3" fmla="*/ 18792 h 1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91" h="18791">
                    <a:moveTo>
                      <a:pt x="0" y="0"/>
                    </a:moveTo>
                    <a:lnTo>
                      <a:pt x="18792" y="0"/>
                    </a:lnTo>
                    <a:lnTo>
                      <a:pt x="18792" y="18792"/>
                    </a:lnTo>
                    <a:lnTo>
                      <a:pt x="0" y="18792"/>
                    </a:ln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EC11593D-58BC-4372-B664-81B1B4C87A34}"/>
                  </a:ext>
                </a:extLst>
              </p:cNvPr>
              <p:cNvSpPr/>
              <p:nvPr/>
            </p:nvSpPr>
            <p:spPr>
              <a:xfrm>
                <a:off x="9457128" y="3479809"/>
                <a:ext cx="18791" cy="18791"/>
              </a:xfrm>
              <a:custGeom>
                <a:avLst/>
                <a:gdLst>
                  <a:gd name="connsiteX0" fmla="*/ 0 w 18791"/>
                  <a:gd name="connsiteY0" fmla="*/ 0 h 18791"/>
                  <a:gd name="connsiteX1" fmla="*/ 18792 w 18791"/>
                  <a:gd name="connsiteY1" fmla="*/ 0 h 18791"/>
                  <a:gd name="connsiteX2" fmla="*/ 18792 w 18791"/>
                  <a:gd name="connsiteY2" fmla="*/ 18792 h 18791"/>
                  <a:gd name="connsiteX3" fmla="*/ 0 w 18791"/>
                  <a:gd name="connsiteY3" fmla="*/ 18792 h 1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791" h="18791">
                    <a:moveTo>
                      <a:pt x="0" y="0"/>
                    </a:moveTo>
                    <a:lnTo>
                      <a:pt x="18792" y="0"/>
                    </a:lnTo>
                    <a:lnTo>
                      <a:pt x="18792" y="18792"/>
                    </a:lnTo>
                    <a:lnTo>
                      <a:pt x="0" y="18792"/>
                    </a:ln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88316259-BE08-4019-B426-3C6AAD620453}"/>
                  </a:ext>
                </a:extLst>
              </p:cNvPr>
              <p:cNvSpPr/>
              <p:nvPr/>
            </p:nvSpPr>
            <p:spPr>
              <a:xfrm>
                <a:off x="9288223" y="3342267"/>
                <a:ext cx="131541" cy="263094"/>
              </a:xfrm>
              <a:custGeom>
                <a:avLst/>
                <a:gdLst>
                  <a:gd name="connsiteX0" fmla="*/ 87693 w 131541"/>
                  <a:gd name="connsiteY0" fmla="*/ 4 h 263094"/>
                  <a:gd name="connsiteX1" fmla="*/ 32885 w 131541"/>
                  <a:gd name="connsiteY1" fmla="*/ 46983 h 263094"/>
                  <a:gd name="connsiteX2" fmla="*/ 33174 w 131541"/>
                  <a:gd name="connsiteY2" fmla="*/ 49918 h 263094"/>
                  <a:gd name="connsiteX3" fmla="*/ 50616 w 131541"/>
                  <a:gd name="connsiteY3" fmla="*/ 63857 h 263094"/>
                  <a:gd name="connsiteX4" fmla="*/ 54887 w 131541"/>
                  <a:gd name="connsiteY4" fmla="*/ 85772 h 263094"/>
                  <a:gd name="connsiteX5" fmla="*/ 44113 w 131541"/>
                  <a:gd name="connsiteY5" fmla="*/ 83756 h 263094"/>
                  <a:gd name="connsiteX6" fmla="*/ 41691 w 131541"/>
                  <a:gd name="connsiteY6" fmla="*/ 70274 h 263094"/>
                  <a:gd name="connsiteX7" fmla="*/ 31522 w 131541"/>
                  <a:gd name="connsiteY7" fmla="*/ 61097 h 263094"/>
                  <a:gd name="connsiteX8" fmla="*/ 9263 w 131541"/>
                  <a:gd name="connsiteY8" fmla="*/ 77380 h 263094"/>
                  <a:gd name="connsiteX9" fmla="*/ 0 w 131541"/>
                  <a:gd name="connsiteY9" fmla="*/ 103357 h 263094"/>
                  <a:gd name="connsiteX10" fmla="*/ 4269 w 131541"/>
                  <a:gd name="connsiteY10" fmla="*/ 121521 h 263094"/>
                  <a:gd name="connsiteX11" fmla="*/ 15732 w 131541"/>
                  <a:gd name="connsiteY11" fmla="*/ 136243 h 263094"/>
                  <a:gd name="connsiteX12" fmla="*/ 4269 w 131541"/>
                  <a:gd name="connsiteY12" fmla="*/ 150966 h 263094"/>
                  <a:gd name="connsiteX13" fmla="*/ 0 w 131541"/>
                  <a:gd name="connsiteY13" fmla="*/ 169129 h 263094"/>
                  <a:gd name="connsiteX14" fmla="*/ 8486 w 131541"/>
                  <a:gd name="connsiteY14" fmla="*/ 194165 h 263094"/>
                  <a:gd name="connsiteX15" fmla="*/ 29235 w 131541"/>
                  <a:gd name="connsiteY15" fmla="*/ 210541 h 263094"/>
                  <a:gd name="connsiteX16" fmla="*/ 39055 w 131541"/>
                  <a:gd name="connsiteY16" fmla="*/ 200079 h 263094"/>
                  <a:gd name="connsiteX17" fmla="*/ 40036 w 131541"/>
                  <a:gd name="connsiteY17" fmla="*/ 185764 h 263094"/>
                  <a:gd name="connsiteX18" fmla="*/ 50477 w 131541"/>
                  <a:gd name="connsiteY18" fmla="*/ 182427 h 263094"/>
                  <a:gd name="connsiteX19" fmla="*/ 48901 w 131541"/>
                  <a:gd name="connsiteY19" fmla="*/ 204802 h 263094"/>
                  <a:gd name="connsiteX20" fmla="*/ 33161 w 131541"/>
                  <a:gd name="connsiteY20" fmla="*/ 220780 h 263094"/>
                  <a:gd name="connsiteX21" fmla="*/ 87695 w 131541"/>
                  <a:gd name="connsiteY21" fmla="*/ 263087 h 263094"/>
                  <a:gd name="connsiteX22" fmla="*/ 111676 w 131541"/>
                  <a:gd name="connsiteY22" fmla="*/ 258298 h 263094"/>
                  <a:gd name="connsiteX23" fmla="*/ 131542 w 131541"/>
                  <a:gd name="connsiteY23" fmla="*/ 244038 h 263094"/>
                  <a:gd name="connsiteX24" fmla="*/ 131542 w 131541"/>
                  <a:gd name="connsiteY24" fmla="*/ 123933 h 263094"/>
                  <a:gd name="connsiteX25" fmla="*/ 113398 w 131541"/>
                  <a:gd name="connsiteY25" fmla="*/ 129779 h 263094"/>
                  <a:gd name="connsiteX26" fmla="*/ 102113 w 131541"/>
                  <a:gd name="connsiteY26" fmla="*/ 145141 h 263094"/>
                  <a:gd name="connsiteX27" fmla="*/ 101667 w 131541"/>
                  <a:gd name="connsiteY27" fmla="*/ 146491 h 263094"/>
                  <a:gd name="connsiteX28" fmla="*/ 91263 w 131541"/>
                  <a:gd name="connsiteY28" fmla="*/ 143037 h 263094"/>
                  <a:gd name="connsiteX29" fmla="*/ 91712 w 131541"/>
                  <a:gd name="connsiteY29" fmla="*/ 141680 h 263094"/>
                  <a:gd name="connsiteX30" fmla="*/ 91712 w 131541"/>
                  <a:gd name="connsiteY30" fmla="*/ 141680 h 263094"/>
                  <a:gd name="connsiteX31" fmla="*/ 106984 w 131541"/>
                  <a:gd name="connsiteY31" fmla="*/ 120886 h 263094"/>
                  <a:gd name="connsiteX32" fmla="*/ 131540 w 131541"/>
                  <a:gd name="connsiteY32" fmla="*/ 112970 h 263094"/>
                  <a:gd name="connsiteX33" fmla="*/ 131540 w 131541"/>
                  <a:gd name="connsiteY33" fmla="*/ 19056 h 263094"/>
                  <a:gd name="connsiteX34" fmla="*/ 111674 w 131541"/>
                  <a:gd name="connsiteY34" fmla="*/ 4796 h 263094"/>
                  <a:gd name="connsiteX35" fmla="*/ 87693 w 131541"/>
                  <a:gd name="connsiteY35" fmla="*/ 7 h 26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1541" h="263094">
                    <a:moveTo>
                      <a:pt x="87693" y="4"/>
                    </a:moveTo>
                    <a:cubicBezTo>
                      <a:pt x="57423" y="4"/>
                      <a:pt x="32885" y="21037"/>
                      <a:pt x="32885" y="46983"/>
                    </a:cubicBezTo>
                    <a:cubicBezTo>
                      <a:pt x="32885" y="47985"/>
                      <a:pt x="33082" y="48939"/>
                      <a:pt x="33174" y="49918"/>
                    </a:cubicBezTo>
                    <a:cubicBezTo>
                      <a:pt x="40457" y="52350"/>
                      <a:pt x="46639" y="57290"/>
                      <a:pt x="50616" y="63857"/>
                    </a:cubicBezTo>
                    <a:cubicBezTo>
                      <a:pt x="54593" y="70425"/>
                      <a:pt x="56107" y="78192"/>
                      <a:pt x="54887" y="85772"/>
                    </a:cubicBezTo>
                    <a:lnTo>
                      <a:pt x="44113" y="83756"/>
                    </a:lnTo>
                    <a:cubicBezTo>
                      <a:pt x="44823" y="79117"/>
                      <a:pt x="43971" y="74375"/>
                      <a:pt x="41691" y="70274"/>
                    </a:cubicBezTo>
                    <a:cubicBezTo>
                      <a:pt x="39413" y="66172"/>
                      <a:pt x="35835" y="62945"/>
                      <a:pt x="31522" y="61097"/>
                    </a:cubicBezTo>
                    <a:cubicBezTo>
                      <a:pt x="22639" y="64172"/>
                      <a:pt x="14884" y="69845"/>
                      <a:pt x="9263" y="77380"/>
                    </a:cubicBezTo>
                    <a:cubicBezTo>
                      <a:pt x="3642" y="84915"/>
                      <a:pt x="415" y="93965"/>
                      <a:pt x="0" y="103357"/>
                    </a:cubicBezTo>
                    <a:cubicBezTo>
                      <a:pt x="97" y="109650"/>
                      <a:pt x="1553" y="115845"/>
                      <a:pt x="4269" y="121521"/>
                    </a:cubicBezTo>
                    <a:cubicBezTo>
                      <a:pt x="6985" y="127197"/>
                      <a:pt x="10895" y="132219"/>
                      <a:pt x="15732" y="136243"/>
                    </a:cubicBezTo>
                    <a:cubicBezTo>
                      <a:pt x="10895" y="140267"/>
                      <a:pt x="6985" y="145288"/>
                      <a:pt x="4269" y="150966"/>
                    </a:cubicBezTo>
                    <a:cubicBezTo>
                      <a:pt x="1554" y="156640"/>
                      <a:pt x="98" y="162837"/>
                      <a:pt x="0" y="169129"/>
                    </a:cubicBezTo>
                    <a:cubicBezTo>
                      <a:pt x="350" y="178118"/>
                      <a:pt x="3298" y="186815"/>
                      <a:pt x="8486" y="194165"/>
                    </a:cubicBezTo>
                    <a:cubicBezTo>
                      <a:pt x="13675" y="201513"/>
                      <a:pt x="20882" y="207202"/>
                      <a:pt x="29235" y="210541"/>
                    </a:cubicBezTo>
                    <a:cubicBezTo>
                      <a:pt x="33617" y="208291"/>
                      <a:pt x="37088" y="204594"/>
                      <a:pt x="39055" y="200079"/>
                    </a:cubicBezTo>
                    <a:cubicBezTo>
                      <a:pt x="41025" y="195563"/>
                      <a:pt x="41371" y="190507"/>
                      <a:pt x="40036" y="185764"/>
                    </a:cubicBezTo>
                    <a:lnTo>
                      <a:pt x="50477" y="182427"/>
                    </a:lnTo>
                    <a:cubicBezTo>
                      <a:pt x="52635" y="189835"/>
                      <a:pt x="52074" y="197769"/>
                      <a:pt x="48901" y="204802"/>
                    </a:cubicBezTo>
                    <a:cubicBezTo>
                      <a:pt x="45725" y="211832"/>
                      <a:pt x="40143" y="217500"/>
                      <a:pt x="33161" y="220780"/>
                    </a:cubicBezTo>
                    <a:cubicBezTo>
                      <a:pt x="35897" y="244533"/>
                      <a:pt x="59265" y="263087"/>
                      <a:pt x="87695" y="263087"/>
                    </a:cubicBezTo>
                    <a:cubicBezTo>
                      <a:pt x="95938" y="263217"/>
                      <a:pt x="104113" y="261584"/>
                      <a:pt x="111676" y="258298"/>
                    </a:cubicBezTo>
                    <a:cubicBezTo>
                      <a:pt x="119238" y="255014"/>
                      <a:pt x="126011" y="250152"/>
                      <a:pt x="131542" y="244038"/>
                    </a:cubicBezTo>
                    <a:lnTo>
                      <a:pt x="131542" y="123933"/>
                    </a:lnTo>
                    <a:cubicBezTo>
                      <a:pt x="125029" y="123926"/>
                      <a:pt x="118680" y="125972"/>
                      <a:pt x="113398" y="129779"/>
                    </a:cubicBezTo>
                    <a:cubicBezTo>
                      <a:pt x="108115" y="133586"/>
                      <a:pt x="104166" y="138963"/>
                      <a:pt x="102113" y="145141"/>
                    </a:cubicBezTo>
                    <a:lnTo>
                      <a:pt x="101667" y="146491"/>
                    </a:lnTo>
                    <a:lnTo>
                      <a:pt x="91263" y="143037"/>
                    </a:lnTo>
                    <a:lnTo>
                      <a:pt x="91712" y="141680"/>
                    </a:lnTo>
                    <a:lnTo>
                      <a:pt x="91712" y="141680"/>
                    </a:lnTo>
                    <a:cubicBezTo>
                      <a:pt x="94490" y="133317"/>
                      <a:pt x="99835" y="126039"/>
                      <a:pt x="106984" y="120886"/>
                    </a:cubicBezTo>
                    <a:cubicBezTo>
                      <a:pt x="114135" y="115733"/>
                      <a:pt x="122727" y="112962"/>
                      <a:pt x="131540" y="112970"/>
                    </a:cubicBezTo>
                    <a:lnTo>
                      <a:pt x="131540" y="19056"/>
                    </a:lnTo>
                    <a:cubicBezTo>
                      <a:pt x="126009" y="12942"/>
                      <a:pt x="119236" y="8080"/>
                      <a:pt x="111674" y="4796"/>
                    </a:cubicBezTo>
                    <a:cubicBezTo>
                      <a:pt x="104113" y="1511"/>
                      <a:pt x="95938" y="-123"/>
                      <a:pt x="87693" y="7"/>
                    </a:cubicBezTo>
                    <a:close/>
                  </a:path>
                </a:pathLst>
              </a:custGeom>
              <a:grpFill/>
              <a:ln w="1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56C9EF66-1AD2-4507-9408-2FED2D5B9BA7}"/>
                </a:ext>
              </a:extLst>
            </p:cNvPr>
            <p:cNvSpPr txBox="1"/>
            <p:nvPr/>
          </p:nvSpPr>
          <p:spPr>
            <a:xfrm>
              <a:off x="9168020" y="3951662"/>
              <a:ext cx="5052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AU" sz="1000">
                  <a:solidFill>
                    <a:schemeClr val="accent2"/>
                  </a:solidFill>
                  <a:latin typeface="Abadi" panose="020B0604020104020204" pitchFamily="34" charset="0"/>
                </a:rPr>
                <a:t>AI/ML</a:t>
              </a:r>
            </a:p>
          </p:txBody>
        </p:sp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0618D4FD-24CD-43DA-987E-DD40C8C84069}"/>
                </a:ext>
              </a:extLst>
            </p:cNvPr>
            <p:cNvSpPr txBox="1"/>
            <p:nvPr/>
          </p:nvSpPr>
          <p:spPr>
            <a:xfrm>
              <a:off x="8190035" y="5547554"/>
              <a:ext cx="9797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r>
                <a:rPr lang="en-AU" b="0">
                  <a:solidFill>
                    <a:schemeClr val="accent2"/>
                  </a:solidFill>
                </a:rPr>
                <a:t>Administration</a:t>
              </a:r>
            </a:p>
          </p:txBody>
        </p:sp>
        <p:grpSp>
          <p:nvGrpSpPr>
            <p:cNvPr id="347" name="Graphic 163">
              <a:extLst>
                <a:ext uri="{FF2B5EF4-FFF2-40B4-BE49-F238E27FC236}">
                  <a16:creationId xmlns:a16="http://schemas.microsoft.com/office/drawing/2014/main" id="{0C8BDAB1-E508-4FCD-B45F-AFA337532717}"/>
                </a:ext>
              </a:extLst>
            </p:cNvPr>
            <p:cNvGrpSpPr/>
            <p:nvPr/>
          </p:nvGrpSpPr>
          <p:grpSpPr>
            <a:xfrm>
              <a:off x="8335286" y="4974652"/>
              <a:ext cx="565366" cy="552352"/>
              <a:chOff x="2678902" y="6287235"/>
              <a:chExt cx="565366" cy="552352"/>
            </a:xfrm>
            <a:solidFill>
              <a:schemeClr val="accent2"/>
            </a:solidFill>
          </p:grpSpPr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A7A3A25E-8996-43B2-B0E5-A272B88F8289}"/>
                  </a:ext>
                </a:extLst>
              </p:cNvPr>
              <p:cNvSpPr/>
              <p:nvPr/>
            </p:nvSpPr>
            <p:spPr>
              <a:xfrm>
                <a:off x="2805085" y="6406911"/>
                <a:ext cx="312999" cy="312999"/>
              </a:xfrm>
              <a:custGeom>
                <a:avLst/>
                <a:gdLst>
                  <a:gd name="connsiteX0" fmla="*/ 274566 w 312999"/>
                  <a:gd name="connsiteY0" fmla="*/ 222488 h 312999"/>
                  <a:gd name="connsiteX1" fmla="*/ 272882 w 312999"/>
                  <a:gd name="connsiteY1" fmla="*/ 211920 h 312999"/>
                  <a:gd name="connsiteX2" fmla="*/ 277926 w 312999"/>
                  <a:gd name="connsiteY2" fmla="*/ 199639 h 312999"/>
                  <a:gd name="connsiteX3" fmla="*/ 286606 w 312999"/>
                  <a:gd name="connsiteY3" fmla="*/ 193323 h 312999"/>
                  <a:gd name="connsiteX4" fmla="*/ 313000 w 312999"/>
                  <a:gd name="connsiteY4" fmla="*/ 193323 h 312999"/>
                  <a:gd name="connsiteX5" fmla="*/ 313000 w 312999"/>
                  <a:gd name="connsiteY5" fmla="*/ 119677 h 312999"/>
                  <a:gd name="connsiteX6" fmla="*/ 286606 w 312999"/>
                  <a:gd name="connsiteY6" fmla="*/ 119677 h 312999"/>
                  <a:gd name="connsiteX7" fmla="*/ 277926 w 312999"/>
                  <a:gd name="connsiteY7" fmla="*/ 113363 h 312999"/>
                  <a:gd name="connsiteX8" fmla="*/ 272882 w 312999"/>
                  <a:gd name="connsiteY8" fmla="*/ 101081 h 312999"/>
                  <a:gd name="connsiteX9" fmla="*/ 274566 w 312999"/>
                  <a:gd name="connsiteY9" fmla="*/ 90512 h 312999"/>
                  <a:gd name="connsiteX10" fmla="*/ 293208 w 312999"/>
                  <a:gd name="connsiteY10" fmla="*/ 71870 h 312999"/>
                  <a:gd name="connsiteX11" fmla="*/ 241130 w 312999"/>
                  <a:gd name="connsiteY11" fmla="*/ 19792 h 312999"/>
                  <a:gd name="connsiteX12" fmla="*/ 222488 w 312999"/>
                  <a:gd name="connsiteY12" fmla="*/ 38434 h 312999"/>
                  <a:gd name="connsiteX13" fmla="*/ 211920 w 312999"/>
                  <a:gd name="connsiteY13" fmla="*/ 40120 h 312999"/>
                  <a:gd name="connsiteX14" fmla="*/ 199639 w 312999"/>
                  <a:gd name="connsiteY14" fmla="*/ 35074 h 312999"/>
                  <a:gd name="connsiteX15" fmla="*/ 193323 w 312999"/>
                  <a:gd name="connsiteY15" fmla="*/ 26394 h 312999"/>
                  <a:gd name="connsiteX16" fmla="*/ 193323 w 312999"/>
                  <a:gd name="connsiteY16" fmla="*/ 0 h 312999"/>
                  <a:gd name="connsiteX17" fmla="*/ 119677 w 312999"/>
                  <a:gd name="connsiteY17" fmla="*/ 0 h 312999"/>
                  <a:gd name="connsiteX18" fmla="*/ 119677 w 312999"/>
                  <a:gd name="connsiteY18" fmla="*/ 26394 h 312999"/>
                  <a:gd name="connsiteX19" fmla="*/ 113363 w 312999"/>
                  <a:gd name="connsiteY19" fmla="*/ 35074 h 312999"/>
                  <a:gd name="connsiteX20" fmla="*/ 101081 w 312999"/>
                  <a:gd name="connsiteY20" fmla="*/ 40120 h 312999"/>
                  <a:gd name="connsiteX21" fmla="*/ 90512 w 312999"/>
                  <a:gd name="connsiteY21" fmla="*/ 38434 h 312999"/>
                  <a:gd name="connsiteX22" fmla="*/ 71870 w 312999"/>
                  <a:gd name="connsiteY22" fmla="*/ 19792 h 312999"/>
                  <a:gd name="connsiteX23" fmla="*/ 19792 w 312999"/>
                  <a:gd name="connsiteY23" fmla="*/ 71870 h 312999"/>
                  <a:gd name="connsiteX24" fmla="*/ 38434 w 312999"/>
                  <a:gd name="connsiteY24" fmla="*/ 90512 h 312999"/>
                  <a:gd name="connsiteX25" fmla="*/ 40120 w 312999"/>
                  <a:gd name="connsiteY25" fmla="*/ 101081 h 312999"/>
                  <a:gd name="connsiteX26" fmla="*/ 35074 w 312999"/>
                  <a:gd name="connsiteY26" fmla="*/ 113363 h 312999"/>
                  <a:gd name="connsiteX27" fmla="*/ 26394 w 312999"/>
                  <a:gd name="connsiteY27" fmla="*/ 119677 h 312999"/>
                  <a:gd name="connsiteX28" fmla="*/ 0 w 312999"/>
                  <a:gd name="connsiteY28" fmla="*/ 119677 h 312999"/>
                  <a:gd name="connsiteX29" fmla="*/ 0 w 312999"/>
                  <a:gd name="connsiteY29" fmla="*/ 193323 h 312999"/>
                  <a:gd name="connsiteX30" fmla="*/ 26394 w 312999"/>
                  <a:gd name="connsiteY30" fmla="*/ 193323 h 312999"/>
                  <a:gd name="connsiteX31" fmla="*/ 35074 w 312999"/>
                  <a:gd name="connsiteY31" fmla="*/ 199639 h 312999"/>
                  <a:gd name="connsiteX32" fmla="*/ 40120 w 312999"/>
                  <a:gd name="connsiteY32" fmla="*/ 211920 h 312999"/>
                  <a:gd name="connsiteX33" fmla="*/ 38434 w 312999"/>
                  <a:gd name="connsiteY33" fmla="*/ 222488 h 312999"/>
                  <a:gd name="connsiteX34" fmla="*/ 19792 w 312999"/>
                  <a:gd name="connsiteY34" fmla="*/ 241130 h 312999"/>
                  <a:gd name="connsiteX35" fmla="*/ 71870 w 312999"/>
                  <a:gd name="connsiteY35" fmla="*/ 293208 h 312999"/>
                  <a:gd name="connsiteX36" fmla="*/ 90512 w 312999"/>
                  <a:gd name="connsiteY36" fmla="*/ 274566 h 312999"/>
                  <a:gd name="connsiteX37" fmla="*/ 101081 w 312999"/>
                  <a:gd name="connsiteY37" fmla="*/ 272882 h 312999"/>
                  <a:gd name="connsiteX38" fmla="*/ 113363 w 312999"/>
                  <a:gd name="connsiteY38" fmla="*/ 277926 h 312999"/>
                  <a:gd name="connsiteX39" fmla="*/ 119677 w 312999"/>
                  <a:gd name="connsiteY39" fmla="*/ 286606 h 312999"/>
                  <a:gd name="connsiteX40" fmla="*/ 119677 w 312999"/>
                  <a:gd name="connsiteY40" fmla="*/ 313000 h 312999"/>
                  <a:gd name="connsiteX41" fmla="*/ 193323 w 312999"/>
                  <a:gd name="connsiteY41" fmla="*/ 313000 h 312999"/>
                  <a:gd name="connsiteX42" fmla="*/ 193323 w 312999"/>
                  <a:gd name="connsiteY42" fmla="*/ 286606 h 312999"/>
                  <a:gd name="connsiteX43" fmla="*/ 199639 w 312999"/>
                  <a:gd name="connsiteY43" fmla="*/ 277926 h 312999"/>
                  <a:gd name="connsiteX44" fmla="*/ 211920 w 312999"/>
                  <a:gd name="connsiteY44" fmla="*/ 272882 h 312999"/>
                  <a:gd name="connsiteX45" fmla="*/ 222488 w 312999"/>
                  <a:gd name="connsiteY45" fmla="*/ 274566 h 312999"/>
                  <a:gd name="connsiteX46" fmla="*/ 241130 w 312999"/>
                  <a:gd name="connsiteY46" fmla="*/ 293208 h 312999"/>
                  <a:gd name="connsiteX47" fmla="*/ 293208 w 312999"/>
                  <a:gd name="connsiteY47" fmla="*/ 241130 h 312999"/>
                  <a:gd name="connsiteX48" fmla="*/ 156500 w 312999"/>
                  <a:gd name="connsiteY48" fmla="*/ 248559 h 312999"/>
                  <a:gd name="connsiteX49" fmla="*/ 64441 w 312999"/>
                  <a:gd name="connsiteY49" fmla="*/ 156500 h 312999"/>
                  <a:gd name="connsiteX50" fmla="*/ 156500 w 312999"/>
                  <a:gd name="connsiteY50" fmla="*/ 64441 h 312999"/>
                  <a:gd name="connsiteX51" fmla="*/ 248559 w 312999"/>
                  <a:gd name="connsiteY51" fmla="*/ 156500 h 312999"/>
                  <a:gd name="connsiteX52" fmla="*/ 156500 w 312999"/>
                  <a:gd name="connsiteY52" fmla="*/ 248559 h 312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12999" h="312999">
                    <a:moveTo>
                      <a:pt x="274566" y="222488"/>
                    </a:moveTo>
                    <a:cubicBezTo>
                      <a:pt x="271767" y="219689"/>
                      <a:pt x="271186" y="215491"/>
                      <a:pt x="272882" y="211920"/>
                    </a:cubicBezTo>
                    <a:cubicBezTo>
                      <a:pt x="274769" y="207933"/>
                      <a:pt x="276453" y="203837"/>
                      <a:pt x="277926" y="199639"/>
                    </a:cubicBezTo>
                    <a:cubicBezTo>
                      <a:pt x="279241" y="195901"/>
                      <a:pt x="282649" y="193323"/>
                      <a:pt x="286606" y="193323"/>
                    </a:cubicBezTo>
                    <a:lnTo>
                      <a:pt x="313000" y="193323"/>
                    </a:lnTo>
                    <a:lnTo>
                      <a:pt x="313000" y="119677"/>
                    </a:lnTo>
                    <a:lnTo>
                      <a:pt x="286606" y="119677"/>
                    </a:lnTo>
                    <a:cubicBezTo>
                      <a:pt x="282649" y="119677"/>
                      <a:pt x="279241" y="117099"/>
                      <a:pt x="277926" y="113363"/>
                    </a:cubicBezTo>
                    <a:cubicBezTo>
                      <a:pt x="276445" y="109165"/>
                      <a:pt x="274769" y="105067"/>
                      <a:pt x="272882" y="101081"/>
                    </a:cubicBezTo>
                    <a:cubicBezTo>
                      <a:pt x="271186" y="97509"/>
                      <a:pt x="271777" y="93301"/>
                      <a:pt x="274566" y="90512"/>
                    </a:cubicBezTo>
                    <a:lnTo>
                      <a:pt x="293208" y="71870"/>
                    </a:lnTo>
                    <a:lnTo>
                      <a:pt x="241130" y="19792"/>
                    </a:lnTo>
                    <a:lnTo>
                      <a:pt x="222488" y="38434"/>
                    </a:lnTo>
                    <a:cubicBezTo>
                      <a:pt x="219689" y="41233"/>
                      <a:pt x="215491" y="41814"/>
                      <a:pt x="211920" y="40120"/>
                    </a:cubicBezTo>
                    <a:cubicBezTo>
                      <a:pt x="207933" y="38231"/>
                      <a:pt x="203837" y="36547"/>
                      <a:pt x="199639" y="35074"/>
                    </a:cubicBezTo>
                    <a:cubicBezTo>
                      <a:pt x="195901" y="33758"/>
                      <a:pt x="193323" y="30353"/>
                      <a:pt x="193323" y="26394"/>
                    </a:cubicBezTo>
                    <a:lnTo>
                      <a:pt x="193323" y="0"/>
                    </a:lnTo>
                    <a:lnTo>
                      <a:pt x="119677" y="0"/>
                    </a:lnTo>
                    <a:lnTo>
                      <a:pt x="119677" y="26394"/>
                    </a:lnTo>
                    <a:cubicBezTo>
                      <a:pt x="119677" y="30353"/>
                      <a:pt x="117099" y="33758"/>
                      <a:pt x="113363" y="35074"/>
                    </a:cubicBezTo>
                    <a:cubicBezTo>
                      <a:pt x="109165" y="36557"/>
                      <a:pt x="105067" y="38231"/>
                      <a:pt x="101081" y="40120"/>
                    </a:cubicBezTo>
                    <a:cubicBezTo>
                      <a:pt x="97509" y="41814"/>
                      <a:pt x="93301" y="41225"/>
                      <a:pt x="90512" y="38434"/>
                    </a:cubicBezTo>
                    <a:lnTo>
                      <a:pt x="71870" y="19792"/>
                    </a:lnTo>
                    <a:lnTo>
                      <a:pt x="19792" y="71870"/>
                    </a:lnTo>
                    <a:lnTo>
                      <a:pt x="38434" y="90512"/>
                    </a:lnTo>
                    <a:cubicBezTo>
                      <a:pt x="41233" y="93311"/>
                      <a:pt x="41814" y="97509"/>
                      <a:pt x="40120" y="101081"/>
                    </a:cubicBezTo>
                    <a:cubicBezTo>
                      <a:pt x="38231" y="105067"/>
                      <a:pt x="36547" y="109163"/>
                      <a:pt x="35074" y="113363"/>
                    </a:cubicBezTo>
                    <a:cubicBezTo>
                      <a:pt x="33758" y="117099"/>
                      <a:pt x="30353" y="119677"/>
                      <a:pt x="26394" y="119677"/>
                    </a:cubicBezTo>
                    <a:lnTo>
                      <a:pt x="0" y="119677"/>
                    </a:lnTo>
                    <a:lnTo>
                      <a:pt x="0" y="193323"/>
                    </a:lnTo>
                    <a:lnTo>
                      <a:pt x="26394" y="193323"/>
                    </a:lnTo>
                    <a:cubicBezTo>
                      <a:pt x="30353" y="193323"/>
                      <a:pt x="33758" y="195901"/>
                      <a:pt x="35074" y="199639"/>
                    </a:cubicBezTo>
                    <a:cubicBezTo>
                      <a:pt x="36557" y="203837"/>
                      <a:pt x="38231" y="207933"/>
                      <a:pt x="40120" y="211920"/>
                    </a:cubicBezTo>
                    <a:cubicBezTo>
                      <a:pt x="41814" y="215491"/>
                      <a:pt x="41223" y="219699"/>
                      <a:pt x="38434" y="222488"/>
                    </a:cubicBezTo>
                    <a:lnTo>
                      <a:pt x="19792" y="241130"/>
                    </a:lnTo>
                    <a:lnTo>
                      <a:pt x="71870" y="293208"/>
                    </a:lnTo>
                    <a:lnTo>
                      <a:pt x="90512" y="274566"/>
                    </a:lnTo>
                    <a:cubicBezTo>
                      <a:pt x="93311" y="271767"/>
                      <a:pt x="97509" y="271186"/>
                      <a:pt x="101081" y="272882"/>
                    </a:cubicBezTo>
                    <a:cubicBezTo>
                      <a:pt x="105067" y="274769"/>
                      <a:pt x="109163" y="276453"/>
                      <a:pt x="113363" y="277926"/>
                    </a:cubicBezTo>
                    <a:cubicBezTo>
                      <a:pt x="117099" y="279241"/>
                      <a:pt x="119677" y="282649"/>
                      <a:pt x="119677" y="286606"/>
                    </a:cubicBezTo>
                    <a:lnTo>
                      <a:pt x="119677" y="313000"/>
                    </a:lnTo>
                    <a:lnTo>
                      <a:pt x="193323" y="313000"/>
                    </a:lnTo>
                    <a:lnTo>
                      <a:pt x="193323" y="286606"/>
                    </a:lnTo>
                    <a:cubicBezTo>
                      <a:pt x="193323" y="282649"/>
                      <a:pt x="195901" y="279241"/>
                      <a:pt x="199639" y="277926"/>
                    </a:cubicBezTo>
                    <a:cubicBezTo>
                      <a:pt x="203837" y="276445"/>
                      <a:pt x="207933" y="274769"/>
                      <a:pt x="211920" y="272882"/>
                    </a:cubicBezTo>
                    <a:cubicBezTo>
                      <a:pt x="215491" y="271186"/>
                      <a:pt x="219699" y="271777"/>
                      <a:pt x="222488" y="274566"/>
                    </a:cubicBezTo>
                    <a:lnTo>
                      <a:pt x="241130" y="293208"/>
                    </a:lnTo>
                    <a:lnTo>
                      <a:pt x="293208" y="241130"/>
                    </a:lnTo>
                    <a:close/>
                    <a:moveTo>
                      <a:pt x="156500" y="248559"/>
                    </a:moveTo>
                    <a:cubicBezTo>
                      <a:pt x="105656" y="248559"/>
                      <a:pt x="64441" y="207344"/>
                      <a:pt x="64441" y="156500"/>
                    </a:cubicBezTo>
                    <a:cubicBezTo>
                      <a:pt x="64441" y="105656"/>
                      <a:pt x="105656" y="64441"/>
                      <a:pt x="156500" y="64441"/>
                    </a:cubicBezTo>
                    <a:cubicBezTo>
                      <a:pt x="207344" y="64441"/>
                      <a:pt x="248559" y="105656"/>
                      <a:pt x="248559" y="156500"/>
                    </a:cubicBezTo>
                    <a:cubicBezTo>
                      <a:pt x="248559" y="207344"/>
                      <a:pt x="207344" y="248559"/>
                      <a:pt x="156500" y="248559"/>
                    </a:cubicBez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B62BB93A-5A86-4900-84D7-A688216A10C1}"/>
                  </a:ext>
                </a:extLst>
              </p:cNvPr>
              <p:cNvSpPr/>
              <p:nvPr/>
            </p:nvSpPr>
            <p:spPr>
              <a:xfrm>
                <a:off x="2933978" y="6489772"/>
                <a:ext cx="55235" cy="55235"/>
              </a:xfrm>
              <a:custGeom>
                <a:avLst/>
                <a:gdLst>
                  <a:gd name="connsiteX0" fmla="*/ 55235 w 55235"/>
                  <a:gd name="connsiteY0" fmla="*/ 27618 h 55235"/>
                  <a:gd name="connsiteX1" fmla="*/ 27618 w 55235"/>
                  <a:gd name="connsiteY1" fmla="*/ 55235 h 55235"/>
                  <a:gd name="connsiteX2" fmla="*/ 0 w 55235"/>
                  <a:gd name="connsiteY2" fmla="*/ 27618 h 55235"/>
                  <a:gd name="connsiteX3" fmla="*/ 27618 w 55235"/>
                  <a:gd name="connsiteY3" fmla="*/ 0 h 55235"/>
                  <a:gd name="connsiteX4" fmla="*/ 55235 w 55235"/>
                  <a:gd name="connsiteY4" fmla="*/ 27618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35" h="55235">
                    <a:moveTo>
                      <a:pt x="55235" y="27618"/>
                    </a:moveTo>
                    <a:cubicBezTo>
                      <a:pt x="55235" y="42871"/>
                      <a:pt x="42871" y="55235"/>
                      <a:pt x="27618" y="55235"/>
                    </a:cubicBezTo>
                    <a:cubicBezTo>
                      <a:pt x="12364" y="55235"/>
                      <a:pt x="0" y="42871"/>
                      <a:pt x="0" y="27618"/>
                    </a:cubicBezTo>
                    <a:cubicBezTo>
                      <a:pt x="0" y="12364"/>
                      <a:pt x="12364" y="0"/>
                      <a:pt x="27618" y="0"/>
                    </a:cubicBezTo>
                    <a:cubicBezTo>
                      <a:pt x="42871" y="0"/>
                      <a:pt x="55235" y="12364"/>
                      <a:pt x="55235" y="27618"/>
                    </a:cubicBezTo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4BF6AD7D-0B11-4120-985D-F77C1F0A2075}"/>
                  </a:ext>
                </a:extLst>
              </p:cNvPr>
              <p:cNvSpPr/>
              <p:nvPr/>
            </p:nvSpPr>
            <p:spPr>
              <a:xfrm>
                <a:off x="2915550" y="6544999"/>
                <a:ext cx="92058" cy="73646"/>
              </a:xfrm>
              <a:custGeom>
                <a:avLst/>
                <a:gdLst>
                  <a:gd name="connsiteX0" fmla="*/ 55235 w 92058"/>
                  <a:gd name="connsiteY0" fmla="*/ 0 h 73646"/>
                  <a:gd name="connsiteX1" fmla="*/ 36823 w 92058"/>
                  <a:gd name="connsiteY1" fmla="*/ 0 h 73646"/>
                  <a:gd name="connsiteX2" fmla="*/ 0 w 92058"/>
                  <a:gd name="connsiteY2" fmla="*/ 36823 h 73646"/>
                  <a:gd name="connsiteX3" fmla="*/ 0 w 92058"/>
                  <a:gd name="connsiteY3" fmla="*/ 73647 h 73646"/>
                  <a:gd name="connsiteX4" fmla="*/ 92059 w 92058"/>
                  <a:gd name="connsiteY4" fmla="*/ 73647 h 73646"/>
                  <a:gd name="connsiteX5" fmla="*/ 92059 w 92058"/>
                  <a:gd name="connsiteY5" fmla="*/ 36823 h 73646"/>
                  <a:gd name="connsiteX6" fmla="*/ 55235 w 92058"/>
                  <a:gd name="connsiteY6" fmla="*/ 0 h 73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8" h="73646">
                    <a:moveTo>
                      <a:pt x="55235" y="0"/>
                    </a:moveTo>
                    <a:lnTo>
                      <a:pt x="36823" y="0"/>
                    </a:lnTo>
                    <a:cubicBezTo>
                      <a:pt x="16487" y="0"/>
                      <a:pt x="0" y="16487"/>
                      <a:pt x="0" y="36823"/>
                    </a:cubicBezTo>
                    <a:lnTo>
                      <a:pt x="0" y="73647"/>
                    </a:lnTo>
                    <a:lnTo>
                      <a:pt x="92059" y="73647"/>
                    </a:lnTo>
                    <a:lnTo>
                      <a:pt x="92059" y="36823"/>
                    </a:lnTo>
                    <a:cubicBezTo>
                      <a:pt x="92059" y="16487"/>
                      <a:pt x="75572" y="0"/>
                      <a:pt x="55235" y="0"/>
                    </a:cubicBez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31AA76A7-5FDC-4175-9519-50F4DBF6130C}"/>
                  </a:ext>
                </a:extLst>
              </p:cNvPr>
              <p:cNvSpPr/>
              <p:nvPr/>
            </p:nvSpPr>
            <p:spPr>
              <a:xfrm>
                <a:off x="2703823" y="6287235"/>
                <a:ext cx="55235" cy="55235"/>
              </a:xfrm>
              <a:custGeom>
                <a:avLst/>
                <a:gdLst>
                  <a:gd name="connsiteX0" fmla="*/ 55235 w 55235"/>
                  <a:gd name="connsiteY0" fmla="*/ 27618 h 55235"/>
                  <a:gd name="connsiteX1" fmla="*/ 27618 w 55235"/>
                  <a:gd name="connsiteY1" fmla="*/ 55235 h 55235"/>
                  <a:gd name="connsiteX2" fmla="*/ 0 w 55235"/>
                  <a:gd name="connsiteY2" fmla="*/ 27618 h 55235"/>
                  <a:gd name="connsiteX3" fmla="*/ 27618 w 55235"/>
                  <a:gd name="connsiteY3" fmla="*/ 0 h 55235"/>
                  <a:gd name="connsiteX4" fmla="*/ 55235 w 55235"/>
                  <a:gd name="connsiteY4" fmla="*/ 27618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35" h="55235">
                    <a:moveTo>
                      <a:pt x="55235" y="27618"/>
                    </a:moveTo>
                    <a:cubicBezTo>
                      <a:pt x="55235" y="42871"/>
                      <a:pt x="42871" y="55235"/>
                      <a:pt x="27618" y="55235"/>
                    </a:cubicBezTo>
                    <a:cubicBezTo>
                      <a:pt x="12365" y="55235"/>
                      <a:pt x="0" y="42871"/>
                      <a:pt x="0" y="27618"/>
                    </a:cubicBezTo>
                    <a:cubicBezTo>
                      <a:pt x="0" y="12365"/>
                      <a:pt x="12365" y="0"/>
                      <a:pt x="27618" y="0"/>
                    </a:cubicBezTo>
                    <a:cubicBezTo>
                      <a:pt x="42871" y="0"/>
                      <a:pt x="55235" y="12365"/>
                      <a:pt x="55235" y="27618"/>
                    </a:cubicBezTo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756ADFB4-0BF2-40B0-A8CC-E16E370A6C4D}"/>
                  </a:ext>
                </a:extLst>
              </p:cNvPr>
              <p:cNvSpPr/>
              <p:nvPr/>
            </p:nvSpPr>
            <p:spPr>
              <a:xfrm>
                <a:off x="2685411" y="6342470"/>
                <a:ext cx="92058" cy="55235"/>
              </a:xfrm>
              <a:custGeom>
                <a:avLst/>
                <a:gdLst>
                  <a:gd name="connsiteX0" fmla="*/ 92059 w 92058"/>
                  <a:gd name="connsiteY0" fmla="*/ 36823 h 55235"/>
                  <a:gd name="connsiteX1" fmla="*/ 55235 w 92058"/>
                  <a:gd name="connsiteY1" fmla="*/ 0 h 55235"/>
                  <a:gd name="connsiteX2" fmla="*/ 36823 w 92058"/>
                  <a:gd name="connsiteY2" fmla="*/ 0 h 55235"/>
                  <a:gd name="connsiteX3" fmla="*/ 0 w 92058"/>
                  <a:gd name="connsiteY3" fmla="*/ 36823 h 55235"/>
                  <a:gd name="connsiteX4" fmla="*/ 0 w 92058"/>
                  <a:gd name="connsiteY4" fmla="*/ 55235 h 55235"/>
                  <a:gd name="connsiteX5" fmla="*/ 92059 w 92058"/>
                  <a:gd name="connsiteY5" fmla="*/ 55235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58" h="55235">
                    <a:moveTo>
                      <a:pt x="92059" y="36823"/>
                    </a:moveTo>
                    <a:cubicBezTo>
                      <a:pt x="92059" y="16487"/>
                      <a:pt x="75572" y="0"/>
                      <a:pt x="55235" y="0"/>
                    </a:cubicBezTo>
                    <a:lnTo>
                      <a:pt x="36823" y="0"/>
                    </a:lnTo>
                    <a:cubicBezTo>
                      <a:pt x="16487" y="0"/>
                      <a:pt x="0" y="16487"/>
                      <a:pt x="0" y="36823"/>
                    </a:cubicBezTo>
                    <a:lnTo>
                      <a:pt x="0" y="55235"/>
                    </a:lnTo>
                    <a:lnTo>
                      <a:pt x="92059" y="55235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43BD9C36-4182-4F91-8295-30EE5256D271}"/>
                  </a:ext>
                </a:extLst>
              </p:cNvPr>
              <p:cNvSpPr/>
              <p:nvPr/>
            </p:nvSpPr>
            <p:spPr>
              <a:xfrm>
                <a:off x="3164116" y="6287235"/>
                <a:ext cx="55235" cy="55235"/>
              </a:xfrm>
              <a:custGeom>
                <a:avLst/>
                <a:gdLst>
                  <a:gd name="connsiteX0" fmla="*/ 55235 w 55235"/>
                  <a:gd name="connsiteY0" fmla="*/ 27618 h 55235"/>
                  <a:gd name="connsiteX1" fmla="*/ 27618 w 55235"/>
                  <a:gd name="connsiteY1" fmla="*/ 55235 h 55235"/>
                  <a:gd name="connsiteX2" fmla="*/ 0 w 55235"/>
                  <a:gd name="connsiteY2" fmla="*/ 27618 h 55235"/>
                  <a:gd name="connsiteX3" fmla="*/ 27618 w 55235"/>
                  <a:gd name="connsiteY3" fmla="*/ 0 h 55235"/>
                  <a:gd name="connsiteX4" fmla="*/ 55235 w 55235"/>
                  <a:gd name="connsiteY4" fmla="*/ 27618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35" h="55235">
                    <a:moveTo>
                      <a:pt x="55235" y="27618"/>
                    </a:moveTo>
                    <a:cubicBezTo>
                      <a:pt x="55235" y="42871"/>
                      <a:pt x="42871" y="55235"/>
                      <a:pt x="27618" y="55235"/>
                    </a:cubicBezTo>
                    <a:cubicBezTo>
                      <a:pt x="12365" y="55235"/>
                      <a:pt x="0" y="42871"/>
                      <a:pt x="0" y="27618"/>
                    </a:cubicBezTo>
                    <a:cubicBezTo>
                      <a:pt x="0" y="12365"/>
                      <a:pt x="12365" y="0"/>
                      <a:pt x="27618" y="0"/>
                    </a:cubicBezTo>
                    <a:cubicBezTo>
                      <a:pt x="42871" y="0"/>
                      <a:pt x="55235" y="12365"/>
                      <a:pt x="55235" y="27618"/>
                    </a:cubicBezTo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2E7E39DF-A595-4318-A303-1B3722E9CAF7}"/>
                  </a:ext>
                </a:extLst>
              </p:cNvPr>
              <p:cNvSpPr/>
              <p:nvPr/>
            </p:nvSpPr>
            <p:spPr>
              <a:xfrm>
                <a:off x="3145704" y="6342470"/>
                <a:ext cx="92058" cy="55235"/>
              </a:xfrm>
              <a:custGeom>
                <a:avLst/>
                <a:gdLst>
                  <a:gd name="connsiteX0" fmla="*/ 0 w 92058"/>
                  <a:gd name="connsiteY0" fmla="*/ 36823 h 55235"/>
                  <a:gd name="connsiteX1" fmla="*/ 0 w 92058"/>
                  <a:gd name="connsiteY1" fmla="*/ 55235 h 55235"/>
                  <a:gd name="connsiteX2" fmla="*/ 92059 w 92058"/>
                  <a:gd name="connsiteY2" fmla="*/ 55235 h 55235"/>
                  <a:gd name="connsiteX3" fmla="*/ 92059 w 92058"/>
                  <a:gd name="connsiteY3" fmla="*/ 36823 h 55235"/>
                  <a:gd name="connsiteX4" fmla="*/ 55235 w 92058"/>
                  <a:gd name="connsiteY4" fmla="*/ 0 h 55235"/>
                  <a:gd name="connsiteX5" fmla="*/ 36823 w 92058"/>
                  <a:gd name="connsiteY5" fmla="*/ 0 h 55235"/>
                  <a:gd name="connsiteX6" fmla="*/ 0 w 92058"/>
                  <a:gd name="connsiteY6" fmla="*/ 36823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8" h="55235">
                    <a:moveTo>
                      <a:pt x="0" y="36823"/>
                    </a:moveTo>
                    <a:lnTo>
                      <a:pt x="0" y="55235"/>
                    </a:lnTo>
                    <a:lnTo>
                      <a:pt x="92059" y="55235"/>
                    </a:lnTo>
                    <a:lnTo>
                      <a:pt x="92059" y="36823"/>
                    </a:lnTo>
                    <a:cubicBezTo>
                      <a:pt x="92059" y="16487"/>
                      <a:pt x="75572" y="0"/>
                      <a:pt x="55235" y="0"/>
                    </a:cubicBezTo>
                    <a:lnTo>
                      <a:pt x="36823" y="0"/>
                    </a:lnTo>
                    <a:cubicBezTo>
                      <a:pt x="16487" y="0"/>
                      <a:pt x="0" y="16487"/>
                      <a:pt x="0" y="36823"/>
                    </a:cubicBez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5" name="Freeform: Shape 354">
                <a:extLst>
                  <a:ext uri="{FF2B5EF4-FFF2-40B4-BE49-F238E27FC236}">
                    <a16:creationId xmlns:a16="http://schemas.microsoft.com/office/drawing/2014/main" id="{42D17024-CCD5-4725-A2FC-42469FD285B4}"/>
                  </a:ext>
                </a:extLst>
              </p:cNvPr>
              <p:cNvSpPr/>
              <p:nvPr/>
            </p:nvSpPr>
            <p:spPr>
              <a:xfrm>
                <a:off x="2703823" y="6729108"/>
                <a:ext cx="55235" cy="55235"/>
              </a:xfrm>
              <a:custGeom>
                <a:avLst/>
                <a:gdLst>
                  <a:gd name="connsiteX0" fmla="*/ 55235 w 55235"/>
                  <a:gd name="connsiteY0" fmla="*/ 27618 h 55235"/>
                  <a:gd name="connsiteX1" fmla="*/ 27618 w 55235"/>
                  <a:gd name="connsiteY1" fmla="*/ 55235 h 55235"/>
                  <a:gd name="connsiteX2" fmla="*/ 0 w 55235"/>
                  <a:gd name="connsiteY2" fmla="*/ 27618 h 55235"/>
                  <a:gd name="connsiteX3" fmla="*/ 27618 w 55235"/>
                  <a:gd name="connsiteY3" fmla="*/ 0 h 55235"/>
                  <a:gd name="connsiteX4" fmla="*/ 55235 w 55235"/>
                  <a:gd name="connsiteY4" fmla="*/ 27618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35" h="55235">
                    <a:moveTo>
                      <a:pt x="55235" y="27618"/>
                    </a:moveTo>
                    <a:cubicBezTo>
                      <a:pt x="55235" y="42871"/>
                      <a:pt x="42871" y="55235"/>
                      <a:pt x="27618" y="55235"/>
                    </a:cubicBezTo>
                    <a:cubicBezTo>
                      <a:pt x="12365" y="55235"/>
                      <a:pt x="0" y="42871"/>
                      <a:pt x="0" y="27618"/>
                    </a:cubicBezTo>
                    <a:cubicBezTo>
                      <a:pt x="0" y="12365"/>
                      <a:pt x="12365" y="0"/>
                      <a:pt x="27618" y="0"/>
                    </a:cubicBezTo>
                    <a:cubicBezTo>
                      <a:pt x="42871" y="0"/>
                      <a:pt x="55235" y="12365"/>
                      <a:pt x="55235" y="27618"/>
                    </a:cubicBezTo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578301C7-E807-4824-A6A4-A30EE73CBD18}"/>
                  </a:ext>
                </a:extLst>
              </p:cNvPr>
              <p:cNvSpPr/>
              <p:nvPr/>
            </p:nvSpPr>
            <p:spPr>
              <a:xfrm>
                <a:off x="2685411" y="6784352"/>
                <a:ext cx="92058" cy="55235"/>
              </a:xfrm>
              <a:custGeom>
                <a:avLst/>
                <a:gdLst>
                  <a:gd name="connsiteX0" fmla="*/ 92059 w 92058"/>
                  <a:gd name="connsiteY0" fmla="*/ 36823 h 55235"/>
                  <a:gd name="connsiteX1" fmla="*/ 55235 w 92058"/>
                  <a:gd name="connsiteY1" fmla="*/ 0 h 55235"/>
                  <a:gd name="connsiteX2" fmla="*/ 36823 w 92058"/>
                  <a:gd name="connsiteY2" fmla="*/ 0 h 55235"/>
                  <a:gd name="connsiteX3" fmla="*/ 0 w 92058"/>
                  <a:gd name="connsiteY3" fmla="*/ 36823 h 55235"/>
                  <a:gd name="connsiteX4" fmla="*/ 0 w 92058"/>
                  <a:gd name="connsiteY4" fmla="*/ 55235 h 55235"/>
                  <a:gd name="connsiteX5" fmla="*/ 92059 w 92058"/>
                  <a:gd name="connsiteY5" fmla="*/ 55235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58" h="55235">
                    <a:moveTo>
                      <a:pt x="92059" y="36823"/>
                    </a:moveTo>
                    <a:cubicBezTo>
                      <a:pt x="92059" y="16487"/>
                      <a:pt x="75572" y="0"/>
                      <a:pt x="55235" y="0"/>
                    </a:cubicBezTo>
                    <a:lnTo>
                      <a:pt x="36823" y="0"/>
                    </a:lnTo>
                    <a:cubicBezTo>
                      <a:pt x="16487" y="0"/>
                      <a:pt x="0" y="16487"/>
                      <a:pt x="0" y="36823"/>
                    </a:cubicBezTo>
                    <a:lnTo>
                      <a:pt x="0" y="55235"/>
                    </a:lnTo>
                    <a:lnTo>
                      <a:pt x="92059" y="55235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7AB68A99-6B96-404A-A571-003C92B3FB78}"/>
                  </a:ext>
                </a:extLst>
              </p:cNvPr>
              <p:cNvSpPr/>
              <p:nvPr/>
            </p:nvSpPr>
            <p:spPr>
              <a:xfrm>
                <a:off x="3164116" y="6729108"/>
                <a:ext cx="55235" cy="55235"/>
              </a:xfrm>
              <a:custGeom>
                <a:avLst/>
                <a:gdLst>
                  <a:gd name="connsiteX0" fmla="*/ 55235 w 55235"/>
                  <a:gd name="connsiteY0" fmla="*/ 27618 h 55235"/>
                  <a:gd name="connsiteX1" fmla="*/ 27618 w 55235"/>
                  <a:gd name="connsiteY1" fmla="*/ 55235 h 55235"/>
                  <a:gd name="connsiteX2" fmla="*/ 0 w 55235"/>
                  <a:gd name="connsiteY2" fmla="*/ 27618 h 55235"/>
                  <a:gd name="connsiteX3" fmla="*/ 27618 w 55235"/>
                  <a:gd name="connsiteY3" fmla="*/ 0 h 55235"/>
                  <a:gd name="connsiteX4" fmla="*/ 55235 w 55235"/>
                  <a:gd name="connsiteY4" fmla="*/ 27618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35" h="55235">
                    <a:moveTo>
                      <a:pt x="55235" y="27618"/>
                    </a:moveTo>
                    <a:cubicBezTo>
                      <a:pt x="55235" y="42871"/>
                      <a:pt x="42871" y="55235"/>
                      <a:pt x="27618" y="55235"/>
                    </a:cubicBezTo>
                    <a:cubicBezTo>
                      <a:pt x="12365" y="55235"/>
                      <a:pt x="0" y="42871"/>
                      <a:pt x="0" y="27618"/>
                    </a:cubicBezTo>
                    <a:cubicBezTo>
                      <a:pt x="0" y="12365"/>
                      <a:pt x="12365" y="0"/>
                      <a:pt x="27618" y="0"/>
                    </a:cubicBezTo>
                    <a:cubicBezTo>
                      <a:pt x="42871" y="0"/>
                      <a:pt x="55235" y="12365"/>
                      <a:pt x="55235" y="27618"/>
                    </a:cubicBezTo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3D98DE5B-4F27-4E05-842A-ACFD65D71DBC}"/>
                  </a:ext>
                </a:extLst>
              </p:cNvPr>
              <p:cNvSpPr/>
              <p:nvPr/>
            </p:nvSpPr>
            <p:spPr>
              <a:xfrm>
                <a:off x="3145704" y="6784352"/>
                <a:ext cx="92058" cy="55235"/>
              </a:xfrm>
              <a:custGeom>
                <a:avLst/>
                <a:gdLst>
                  <a:gd name="connsiteX0" fmla="*/ 92059 w 92058"/>
                  <a:gd name="connsiteY0" fmla="*/ 36823 h 55235"/>
                  <a:gd name="connsiteX1" fmla="*/ 55235 w 92058"/>
                  <a:gd name="connsiteY1" fmla="*/ 0 h 55235"/>
                  <a:gd name="connsiteX2" fmla="*/ 36823 w 92058"/>
                  <a:gd name="connsiteY2" fmla="*/ 0 h 55235"/>
                  <a:gd name="connsiteX3" fmla="*/ 0 w 92058"/>
                  <a:gd name="connsiteY3" fmla="*/ 36823 h 55235"/>
                  <a:gd name="connsiteX4" fmla="*/ 0 w 92058"/>
                  <a:gd name="connsiteY4" fmla="*/ 55235 h 55235"/>
                  <a:gd name="connsiteX5" fmla="*/ 92059 w 92058"/>
                  <a:gd name="connsiteY5" fmla="*/ 55235 h 55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058" h="55235">
                    <a:moveTo>
                      <a:pt x="92059" y="36823"/>
                    </a:moveTo>
                    <a:cubicBezTo>
                      <a:pt x="92059" y="16487"/>
                      <a:pt x="75572" y="0"/>
                      <a:pt x="55235" y="0"/>
                    </a:cubicBezTo>
                    <a:lnTo>
                      <a:pt x="36823" y="0"/>
                    </a:lnTo>
                    <a:cubicBezTo>
                      <a:pt x="16487" y="0"/>
                      <a:pt x="0" y="16487"/>
                      <a:pt x="0" y="36823"/>
                    </a:cubicBezTo>
                    <a:lnTo>
                      <a:pt x="0" y="55235"/>
                    </a:lnTo>
                    <a:lnTo>
                      <a:pt x="92059" y="55235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DF257A93-E28B-427F-9632-1DA5EC57BBD9}"/>
                  </a:ext>
                </a:extLst>
              </p:cNvPr>
              <p:cNvSpPr/>
              <p:nvPr/>
            </p:nvSpPr>
            <p:spPr>
              <a:xfrm>
                <a:off x="2678903" y="6581823"/>
                <a:ext cx="98567" cy="110470"/>
              </a:xfrm>
              <a:custGeom>
                <a:avLst/>
                <a:gdLst>
                  <a:gd name="connsiteX0" fmla="*/ 34126 w 98567"/>
                  <a:gd name="connsiteY0" fmla="*/ 110470 h 110470"/>
                  <a:gd name="connsiteX1" fmla="*/ 40635 w 98567"/>
                  <a:gd name="connsiteY1" fmla="*/ 107773 h 110470"/>
                  <a:gd name="connsiteX2" fmla="*/ 68252 w 98567"/>
                  <a:gd name="connsiteY2" fmla="*/ 80156 h 110470"/>
                  <a:gd name="connsiteX3" fmla="*/ 55235 w 98567"/>
                  <a:gd name="connsiteY3" fmla="*/ 67138 h 110470"/>
                  <a:gd name="connsiteX4" fmla="*/ 43332 w 98567"/>
                  <a:gd name="connsiteY4" fmla="*/ 79041 h 110470"/>
                  <a:gd name="connsiteX5" fmla="*/ 43332 w 98567"/>
                  <a:gd name="connsiteY5" fmla="*/ 18412 h 110470"/>
                  <a:gd name="connsiteX6" fmla="*/ 98567 w 98567"/>
                  <a:gd name="connsiteY6" fmla="*/ 18412 h 110470"/>
                  <a:gd name="connsiteX7" fmla="*/ 98567 w 98567"/>
                  <a:gd name="connsiteY7" fmla="*/ 0 h 110470"/>
                  <a:gd name="connsiteX8" fmla="*/ 34126 w 98567"/>
                  <a:gd name="connsiteY8" fmla="*/ 0 h 110470"/>
                  <a:gd name="connsiteX9" fmla="*/ 24920 w 98567"/>
                  <a:gd name="connsiteY9" fmla="*/ 9206 h 110470"/>
                  <a:gd name="connsiteX10" fmla="*/ 24920 w 98567"/>
                  <a:gd name="connsiteY10" fmla="*/ 79041 h 110470"/>
                  <a:gd name="connsiteX11" fmla="*/ 13017 w 98567"/>
                  <a:gd name="connsiteY11" fmla="*/ 67138 h 110470"/>
                  <a:gd name="connsiteX12" fmla="*/ 0 w 98567"/>
                  <a:gd name="connsiteY12" fmla="*/ 80156 h 110470"/>
                  <a:gd name="connsiteX13" fmla="*/ 27618 w 98567"/>
                  <a:gd name="connsiteY13" fmla="*/ 107773 h 110470"/>
                  <a:gd name="connsiteX14" fmla="*/ 34126 w 98567"/>
                  <a:gd name="connsiteY14" fmla="*/ 110470 h 110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567" h="110470">
                    <a:moveTo>
                      <a:pt x="34126" y="110470"/>
                    </a:moveTo>
                    <a:cubicBezTo>
                      <a:pt x="36482" y="110470"/>
                      <a:pt x="38840" y="109569"/>
                      <a:pt x="40635" y="107773"/>
                    </a:cubicBezTo>
                    <a:lnTo>
                      <a:pt x="68252" y="80156"/>
                    </a:lnTo>
                    <a:lnTo>
                      <a:pt x="55235" y="67138"/>
                    </a:lnTo>
                    <a:lnTo>
                      <a:pt x="43332" y="79041"/>
                    </a:lnTo>
                    <a:lnTo>
                      <a:pt x="43332" y="18412"/>
                    </a:lnTo>
                    <a:lnTo>
                      <a:pt x="98567" y="18412"/>
                    </a:lnTo>
                    <a:lnTo>
                      <a:pt x="98567" y="0"/>
                    </a:lnTo>
                    <a:lnTo>
                      <a:pt x="34126" y="0"/>
                    </a:lnTo>
                    <a:cubicBezTo>
                      <a:pt x="29036" y="0"/>
                      <a:pt x="24920" y="4116"/>
                      <a:pt x="24920" y="9206"/>
                    </a:cubicBezTo>
                    <a:lnTo>
                      <a:pt x="24920" y="79041"/>
                    </a:lnTo>
                    <a:lnTo>
                      <a:pt x="13017" y="67138"/>
                    </a:lnTo>
                    <a:lnTo>
                      <a:pt x="0" y="80156"/>
                    </a:lnTo>
                    <a:lnTo>
                      <a:pt x="27618" y="107773"/>
                    </a:lnTo>
                    <a:cubicBezTo>
                      <a:pt x="29413" y="109569"/>
                      <a:pt x="31770" y="110470"/>
                      <a:pt x="34126" y="110470"/>
                    </a:cubicBez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D9F52798-4C81-4297-B09B-7DF45785F646}"/>
                  </a:ext>
                </a:extLst>
              </p:cNvPr>
              <p:cNvSpPr/>
              <p:nvPr/>
            </p:nvSpPr>
            <p:spPr>
              <a:xfrm>
                <a:off x="3145699" y="6581818"/>
                <a:ext cx="98567" cy="110470"/>
              </a:xfrm>
              <a:custGeom>
                <a:avLst/>
                <a:gdLst>
                  <a:gd name="connsiteX0" fmla="*/ 85550 w 98567"/>
                  <a:gd name="connsiteY0" fmla="*/ 67138 h 110470"/>
                  <a:gd name="connsiteX1" fmla="*/ 73647 w 98567"/>
                  <a:gd name="connsiteY1" fmla="*/ 79041 h 110470"/>
                  <a:gd name="connsiteX2" fmla="*/ 73647 w 98567"/>
                  <a:gd name="connsiteY2" fmla="*/ 9206 h 110470"/>
                  <a:gd name="connsiteX3" fmla="*/ 64441 w 98567"/>
                  <a:gd name="connsiteY3" fmla="*/ 0 h 110470"/>
                  <a:gd name="connsiteX4" fmla="*/ 0 w 98567"/>
                  <a:gd name="connsiteY4" fmla="*/ 0 h 110470"/>
                  <a:gd name="connsiteX5" fmla="*/ 0 w 98567"/>
                  <a:gd name="connsiteY5" fmla="*/ 18412 h 110470"/>
                  <a:gd name="connsiteX6" fmla="*/ 55235 w 98567"/>
                  <a:gd name="connsiteY6" fmla="*/ 18412 h 110470"/>
                  <a:gd name="connsiteX7" fmla="*/ 55235 w 98567"/>
                  <a:gd name="connsiteY7" fmla="*/ 79041 h 110470"/>
                  <a:gd name="connsiteX8" fmla="*/ 43332 w 98567"/>
                  <a:gd name="connsiteY8" fmla="*/ 67138 h 110470"/>
                  <a:gd name="connsiteX9" fmla="*/ 30315 w 98567"/>
                  <a:gd name="connsiteY9" fmla="*/ 80156 h 110470"/>
                  <a:gd name="connsiteX10" fmla="*/ 57932 w 98567"/>
                  <a:gd name="connsiteY10" fmla="*/ 107773 h 110470"/>
                  <a:gd name="connsiteX11" fmla="*/ 64441 w 98567"/>
                  <a:gd name="connsiteY11" fmla="*/ 110470 h 110470"/>
                  <a:gd name="connsiteX12" fmla="*/ 70950 w 98567"/>
                  <a:gd name="connsiteY12" fmla="*/ 107773 h 110470"/>
                  <a:gd name="connsiteX13" fmla="*/ 98567 w 98567"/>
                  <a:gd name="connsiteY13" fmla="*/ 80156 h 110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567" h="110470">
                    <a:moveTo>
                      <a:pt x="85550" y="67138"/>
                    </a:moveTo>
                    <a:lnTo>
                      <a:pt x="73647" y="79041"/>
                    </a:lnTo>
                    <a:lnTo>
                      <a:pt x="73647" y="9206"/>
                    </a:lnTo>
                    <a:cubicBezTo>
                      <a:pt x="73647" y="4114"/>
                      <a:pt x="69531" y="0"/>
                      <a:pt x="64441" y="0"/>
                    </a:cubicBezTo>
                    <a:lnTo>
                      <a:pt x="0" y="0"/>
                    </a:lnTo>
                    <a:lnTo>
                      <a:pt x="0" y="18412"/>
                    </a:lnTo>
                    <a:lnTo>
                      <a:pt x="55235" y="18412"/>
                    </a:lnTo>
                    <a:lnTo>
                      <a:pt x="55235" y="79041"/>
                    </a:lnTo>
                    <a:lnTo>
                      <a:pt x="43332" y="67138"/>
                    </a:lnTo>
                    <a:lnTo>
                      <a:pt x="30315" y="80156"/>
                    </a:lnTo>
                    <a:lnTo>
                      <a:pt x="57932" y="107773"/>
                    </a:lnTo>
                    <a:cubicBezTo>
                      <a:pt x="59728" y="109569"/>
                      <a:pt x="62084" y="110470"/>
                      <a:pt x="64441" y="110470"/>
                    </a:cubicBezTo>
                    <a:cubicBezTo>
                      <a:pt x="66798" y="110470"/>
                      <a:pt x="69154" y="109569"/>
                      <a:pt x="70950" y="107773"/>
                    </a:cubicBezTo>
                    <a:lnTo>
                      <a:pt x="98567" y="80156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716347D1-4606-4D47-9146-F6F2D5F01C25}"/>
                  </a:ext>
                </a:extLst>
              </p:cNvPr>
              <p:cNvSpPr/>
              <p:nvPr/>
            </p:nvSpPr>
            <p:spPr>
              <a:xfrm>
                <a:off x="3145701" y="6434530"/>
                <a:ext cx="98567" cy="110472"/>
              </a:xfrm>
              <a:custGeom>
                <a:avLst/>
                <a:gdLst>
                  <a:gd name="connsiteX0" fmla="*/ 70950 w 98567"/>
                  <a:gd name="connsiteY0" fmla="*/ 2699 h 110472"/>
                  <a:gd name="connsiteX1" fmla="*/ 57932 w 98567"/>
                  <a:gd name="connsiteY1" fmla="*/ 2699 h 110472"/>
                  <a:gd name="connsiteX2" fmla="*/ 30315 w 98567"/>
                  <a:gd name="connsiteY2" fmla="*/ 30317 h 110472"/>
                  <a:gd name="connsiteX3" fmla="*/ 43332 w 98567"/>
                  <a:gd name="connsiteY3" fmla="*/ 43334 h 110472"/>
                  <a:gd name="connsiteX4" fmla="*/ 55235 w 98567"/>
                  <a:gd name="connsiteY4" fmla="*/ 31431 h 110472"/>
                  <a:gd name="connsiteX5" fmla="*/ 55235 w 98567"/>
                  <a:gd name="connsiteY5" fmla="*/ 92061 h 110472"/>
                  <a:gd name="connsiteX6" fmla="*/ 0 w 98567"/>
                  <a:gd name="connsiteY6" fmla="*/ 92061 h 110472"/>
                  <a:gd name="connsiteX7" fmla="*/ 0 w 98567"/>
                  <a:gd name="connsiteY7" fmla="*/ 110472 h 110472"/>
                  <a:gd name="connsiteX8" fmla="*/ 64441 w 98567"/>
                  <a:gd name="connsiteY8" fmla="*/ 110472 h 110472"/>
                  <a:gd name="connsiteX9" fmla="*/ 73647 w 98567"/>
                  <a:gd name="connsiteY9" fmla="*/ 101267 h 110472"/>
                  <a:gd name="connsiteX10" fmla="*/ 73647 w 98567"/>
                  <a:gd name="connsiteY10" fmla="*/ 31431 h 110472"/>
                  <a:gd name="connsiteX11" fmla="*/ 85550 w 98567"/>
                  <a:gd name="connsiteY11" fmla="*/ 43334 h 110472"/>
                  <a:gd name="connsiteX12" fmla="*/ 98567 w 98567"/>
                  <a:gd name="connsiteY12" fmla="*/ 30317 h 11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567" h="110472">
                    <a:moveTo>
                      <a:pt x="70950" y="2699"/>
                    </a:moveTo>
                    <a:cubicBezTo>
                      <a:pt x="67351" y="-900"/>
                      <a:pt x="61533" y="-900"/>
                      <a:pt x="57932" y="2699"/>
                    </a:cubicBezTo>
                    <a:lnTo>
                      <a:pt x="30315" y="30317"/>
                    </a:lnTo>
                    <a:lnTo>
                      <a:pt x="43332" y="43334"/>
                    </a:lnTo>
                    <a:lnTo>
                      <a:pt x="55235" y="31431"/>
                    </a:lnTo>
                    <a:lnTo>
                      <a:pt x="55235" y="92061"/>
                    </a:lnTo>
                    <a:lnTo>
                      <a:pt x="0" y="92061"/>
                    </a:lnTo>
                    <a:lnTo>
                      <a:pt x="0" y="110472"/>
                    </a:lnTo>
                    <a:lnTo>
                      <a:pt x="64441" y="110472"/>
                    </a:lnTo>
                    <a:cubicBezTo>
                      <a:pt x="69531" y="110472"/>
                      <a:pt x="73647" y="106356"/>
                      <a:pt x="73647" y="101267"/>
                    </a:cubicBezTo>
                    <a:lnTo>
                      <a:pt x="73647" y="31431"/>
                    </a:lnTo>
                    <a:lnTo>
                      <a:pt x="85550" y="43334"/>
                    </a:lnTo>
                    <a:lnTo>
                      <a:pt x="98567" y="30317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6E1D9CAF-A3E3-4DD5-856F-310E6C330DA4}"/>
                  </a:ext>
                </a:extLst>
              </p:cNvPr>
              <p:cNvSpPr/>
              <p:nvPr/>
            </p:nvSpPr>
            <p:spPr>
              <a:xfrm>
                <a:off x="2678902" y="6434520"/>
                <a:ext cx="98567" cy="110472"/>
              </a:xfrm>
              <a:custGeom>
                <a:avLst/>
                <a:gdLst>
                  <a:gd name="connsiteX0" fmla="*/ 24920 w 98567"/>
                  <a:gd name="connsiteY0" fmla="*/ 31431 h 110472"/>
                  <a:gd name="connsiteX1" fmla="*/ 24920 w 98567"/>
                  <a:gd name="connsiteY1" fmla="*/ 101266 h 110472"/>
                  <a:gd name="connsiteX2" fmla="*/ 34126 w 98567"/>
                  <a:gd name="connsiteY2" fmla="*/ 110472 h 110472"/>
                  <a:gd name="connsiteX3" fmla="*/ 98567 w 98567"/>
                  <a:gd name="connsiteY3" fmla="*/ 110472 h 110472"/>
                  <a:gd name="connsiteX4" fmla="*/ 98567 w 98567"/>
                  <a:gd name="connsiteY4" fmla="*/ 92061 h 110472"/>
                  <a:gd name="connsiteX5" fmla="*/ 43332 w 98567"/>
                  <a:gd name="connsiteY5" fmla="*/ 92061 h 110472"/>
                  <a:gd name="connsiteX6" fmla="*/ 43332 w 98567"/>
                  <a:gd name="connsiteY6" fmla="*/ 31431 h 110472"/>
                  <a:gd name="connsiteX7" fmla="*/ 55235 w 98567"/>
                  <a:gd name="connsiteY7" fmla="*/ 43334 h 110472"/>
                  <a:gd name="connsiteX8" fmla="*/ 68252 w 98567"/>
                  <a:gd name="connsiteY8" fmla="*/ 30317 h 110472"/>
                  <a:gd name="connsiteX9" fmla="*/ 40635 w 98567"/>
                  <a:gd name="connsiteY9" fmla="*/ 2699 h 110472"/>
                  <a:gd name="connsiteX10" fmla="*/ 27618 w 98567"/>
                  <a:gd name="connsiteY10" fmla="*/ 2699 h 110472"/>
                  <a:gd name="connsiteX11" fmla="*/ 0 w 98567"/>
                  <a:gd name="connsiteY11" fmla="*/ 30317 h 110472"/>
                  <a:gd name="connsiteX12" fmla="*/ 13017 w 98567"/>
                  <a:gd name="connsiteY12" fmla="*/ 43334 h 11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567" h="110472">
                    <a:moveTo>
                      <a:pt x="24920" y="31431"/>
                    </a:moveTo>
                    <a:lnTo>
                      <a:pt x="24920" y="101266"/>
                    </a:lnTo>
                    <a:cubicBezTo>
                      <a:pt x="24920" y="106356"/>
                      <a:pt x="29036" y="110472"/>
                      <a:pt x="34126" y="110472"/>
                    </a:cubicBezTo>
                    <a:lnTo>
                      <a:pt x="98567" y="110472"/>
                    </a:lnTo>
                    <a:lnTo>
                      <a:pt x="98567" y="92061"/>
                    </a:lnTo>
                    <a:lnTo>
                      <a:pt x="43332" y="92061"/>
                    </a:lnTo>
                    <a:lnTo>
                      <a:pt x="43332" y="31431"/>
                    </a:lnTo>
                    <a:lnTo>
                      <a:pt x="55235" y="43334"/>
                    </a:lnTo>
                    <a:lnTo>
                      <a:pt x="68252" y="30317"/>
                    </a:lnTo>
                    <a:lnTo>
                      <a:pt x="40635" y="2699"/>
                    </a:lnTo>
                    <a:cubicBezTo>
                      <a:pt x="37036" y="-900"/>
                      <a:pt x="31217" y="-900"/>
                      <a:pt x="27618" y="2699"/>
                    </a:cubicBezTo>
                    <a:lnTo>
                      <a:pt x="0" y="30317"/>
                    </a:lnTo>
                    <a:lnTo>
                      <a:pt x="13017" y="43334"/>
                    </a:lnTo>
                    <a:close/>
                  </a:path>
                </a:pathLst>
              </a:custGeom>
              <a:grpFill/>
              <a:ln w="1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pic>
          <p:nvPicPr>
            <p:cNvPr id="363" name="Graphic 362">
              <a:extLst>
                <a:ext uri="{FF2B5EF4-FFF2-40B4-BE49-F238E27FC236}">
                  <a16:creationId xmlns:a16="http://schemas.microsoft.com/office/drawing/2014/main" id="{4C4CAAD4-9D0A-4A14-B042-40C7692FB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363558" y="1444158"/>
              <a:ext cx="1752600" cy="419100"/>
            </a:xfrm>
            <a:prstGeom prst="rect">
              <a:avLst/>
            </a:prstGeom>
          </p:spPr>
        </p:pic>
        <p:grpSp>
          <p:nvGrpSpPr>
            <p:cNvPr id="364" name="Graphic 7">
              <a:extLst>
                <a:ext uri="{FF2B5EF4-FFF2-40B4-BE49-F238E27FC236}">
                  <a16:creationId xmlns:a16="http://schemas.microsoft.com/office/drawing/2014/main" id="{795950FD-71EA-4DDF-8CF6-1C06B3E0CE36}"/>
                </a:ext>
              </a:extLst>
            </p:cNvPr>
            <p:cNvGrpSpPr/>
            <p:nvPr/>
          </p:nvGrpSpPr>
          <p:grpSpPr>
            <a:xfrm>
              <a:off x="6826945" y="4151713"/>
              <a:ext cx="396311" cy="396314"/>
              <a:chOff x="6720354" y="4278436"/>
              <a:chExt cx="396311" cy="396314"/>
            </a:xfrm>
            <a:solidFill>
              <a:schemeClr val="accent2"/>
            </a:solidFill>
          </p:grpSpPr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1190E7DF-7DAD-402E-8A28-74446B06CB34}"/>
                  </a:ext>
                </a:extLst>
              </p:cNvPr>
              <p:cNvSpPr/>
              <p:nvPr/>
            </p:nvSpPr>
            <p:spPr>
              <a:xfrm>
                <a:off x="6758713" y="4342352"/>
                <a:ext cx="127843" cy="127843"/>
              </a:xfrm>
              <a:custGeom>
                <a:avLst/>
                <a:gdLst>
                  <a:gd name="connsiteX0" fmla="*/ 127843 w 127843"/>
                  <a:gd name="connsiteY0" fmla="*/ 63922 h 127843"/>
                  <a:gd name="connsiteX1" fmla="*/ 63922 w 127843"/>
                  <a:gd name="connsiteY1" fmla="*/ 0 h 127843"/>
                  <a:gd name="connsiteX2" fmla="*/ 0 w 127843"/>
                  <a:gd name="connsiteY2" fmla="*/ 63922 h 127843"/>
                  <a:gd name="connsiteX3" fmla="*/ 63922 w 127843"/>
                  <a:gd name="connsiteY3" fmla="*/ 127843 h 127843"/>
                  <a:gd name="connsiteX4" fmla="*/ 127843 w 127843"/>
                  <a:gd name="connsiteY4" fmla="*/ 63922 h 127843"/>
                  <a:gd name="connsiteX5" fmla="*/ 12784 w 127843"/>
                  <a:gd name="connsiteY5" fmla="*/ 63922 h 127843"/>
                  <a:gd name="connsiteX6" fmla="*/ 63922 w 127843"/>
                  <a:gd name="connsiteY6" fmla="*/ 12784 h 127843"/>
                  <a:gd name="connsiteX7" fmla="*/ 115059 w 127843"/>
                  <a:gd name="connsiteY7" fmla="*/ 63922 h 127843"/>
                  <a:gd name="connsiteX8" fmla="*/ 63922 w 127843"/>
                  <a:gd name="connsiteY8" fmla="*/ 115059 h 127843"/>
                  <a:gd name="connsiteX9" fmla="*/ 12784 w 127843"/>
                  <a:gd name="connsiteY9" fmla="*/ 63922 h 12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7843" h="127843">
                    <a:moveTo>
                      <a:pt x="127843" y="63922"/>
                    </a:moveTo>
                    <a:cubicBezTo>
                      <a:pt x="127843" y="28676"/>
                      <a:pt x="99168" y="0"/>
                      <a:pt x="63922" y="0"/>
                    </a:cubicBezTo>
                    <a:cubicBezTo>
                      <a:pt x="28676" y="0"/>
                      <a:pt x="0" y="28676"/>
                      <a:pt x="0" y="63922"/>
                    </a:cubicBezTo>
                    <a:cubicBezTo>
                      <a:pt x="0" y="99168"/>
                      <a:pt x="28676" y="127843"/>
                      <a:pt x="63922" y="127843"/>
                    </a:cubicBezTo>
                    <a:cubicBezTo>
                      <a:pt x="99168" y="127843"/>
                      <a:pt x="127843" y="99168"/>
                      <a:pt x="127843" y="63922"/>
                    </a:cubicBezTo>
                    <a:close/>
                    <a:moveTo>
                      <a:pt x="12784" y="63922"/>
                    </a:moveTo>
                    <a:cubicBezTo>
                      <a:pt x="12784" y="35726"/>
                      <a:pt x="35726" y="12784"/>
                      <a:pt x="63922" y="12784"/>
                    </a:cubicBezTo>
                    <a:cubicBezTo>
                      <a:pt x="92118" y="12784"/>
                      <a:pt x="115059" y="35726"/>
                      <a:pt x="115059" y="63922"/>
                    </a:cubicBezTo>
                    <a:cubicBezTo>
                      <a:pt x="115059" y="92118"/>
                      <a:pt x="92118" y="115059"/>
                      <a:pt x="63922" y="115059"/>
                    </a:cubicBezTo>
                    <a:cubicBezTo>
                      <a:pt x="35726" y="115059"/>
                      <a:pt x="12784" y="92118"/>
                      <a:pt x="12784" y="63922"/>
                    </a:cubicBez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ADADF414-A7F5-4F96-AA88-B28A590F1DC3}"/>
                  </a:ext>
                </a:extLst>
              </p:cNvPr>
              <p:cNvSpPr/>
              <p:nvPr/>
            </p:nvSpPr>
            <p:spPr>
              <a:xfrm>
                <a:off x="6784282" y="4367920"/>
                <a:ext cx="76706" cy="76706"/>
              </a:xfrm>
              <a:custGeom>
                <a:avLst/>
                <a:gdLst>
                  <a:gd name="connsiteX0" fmla="*/ 76706 w 76706"/>
                  <a:gd name="connsiteY0" fmla="*/ 38353 h 76706"/>
                  <a:gd name="connsiteX1" fmla="*/ 38353 w 76706"/>
                  <a:gd name="connsiteY1" fmla="*/ 0 h 76706"/>
                  <a:gd name="connsiteX2" fmla="*/ 0 w 76706"/>
                  <a:gd name="connsiteY2" fmla="*/ 38353 h 76706"/>
                  <a:gd name="connsiteX3" fmla="*/ 38353 w 76706"/>
                  <a:gd name="connsiteY3" fmla="*/ 76706 h 76706"/>
                  <a:gd name="connsiteX4" fmla="*/ 76706 w 76706"/>
                  <a:gd name="connsiteY4" fmla="*/ 38353 h 76706"/>
                  <a:gd name="connsiteX5" fmla="*/ 12784 w 76706"/>
                  <a:gd name="connsiteY5" fmla="*/ 38353 h 76706"/>
                  <a:gd name="connsiteX6" fmla="*/ 38353 w 76706"/>
                  <a:gd name="connsiteY6" fmla="*/ 12784 h 76706"/>
                  <a:gd name="connsiteX7" fmla="*/ 63922 w 76706"/>
                  <a:gd name="connsiteY7" fmla="*/ 38353 h 76706"/>
                  <a:gd name="connsiteX8" fmla="*/ 38353 w 76706"/>
                  <a:gd name="connsiteY8" fmla="*/ 63922 h 76706"/>
                  <a:gd name="connsiteX9" fmla="*/ 12784 w 76706"/>
                  <a:gd name="connsiteY9" fmla="*/ 38353 h 76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706" h="76706">
                    <a:moveTo>
                      <a:pt x="76706" y="38353"/>
                    </a:moveTo>
                    <a:cubicBezTo>
                      <a:pt x="76706" y="17201"/>
                      <a:pt x="59505" y="0"/>
                      <a:pt x="38353" y="0"/>
                    </a:cubicBezTo>
                    <a:cubicBezTo>
                      <a:pt x="17201" y="0"/>
                      <a:pt x="0" y="17201"/>
                      <a:pt x="0" y="38353"/>
                    </a:cubicBezTo>
                    <a:cubicBezTo>
                      <a:pt x="0" y="59505"/>
                      <a:pt x="17201" y="76706"/>
                      <a:pt x="38353" y="76706"/>
                    </a:cubicBezTo>
                    <a:cubicBezTo>
                      <a:pt x="59505" y="76706"/>
                      <a:pt x="76706" y="59505"/>
                      <a:pt x="76706" y="38353"/>
                    </a:cubicBezTo>
                    <a:close/>
                    <a:moveTo>
                      <a:pt x="12784" y="38353"/>
                    </a:moveTo>
                    <a:cubicBezTo>
                      <a:pt x="12784" y="24252"/>
                      <a:pt x="24252" y="12784"/>
                      <a:pt x="38353" y="12784"/>
                    </a:cubicBezTo>
                    <a:cubicBezTo>
                      <a:pt x="52454" y="12784"/>
                      <a:pt x="63922" y="24252"/>
                      <a:pt x="63922" y="38353"/>
                    </a:cubicBezTo>
                    <a:cubicBezTo>
                      <a:pt x="63922" y="52454"/>
                      <a:pt x="52454" y="63922"/>
                      <a:pt x="38353" y="63922"/>
                    </a:cubicBezTo>
                    <a:cubicBezTo>
                      <a:pt x="24252" y="63922"/>
                      <a:pt x="12784" y="52454"/>
                      <a:pt x="12784" y="38353"/>
                    </a:cubicBez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7" name="Freeform: Shape 366">
                <a:extLst>
                  <a:ext uri="{FF2B5EF4-FFF2-40B4-BE49-F238E27FC236}">
                    <a16:creationId xmlns:a16="http://schemas.microsoft.com/office/drawing/2014/main" id="{5C2F087B-1B7C-475D-BBEB-9C0406C51D5C}"/>
                  </a:ext>
                </a:extLst>
              </p:cNvPr>
              <p:cNvSpPr/>
              <p:nvPr/>
            </p:nvSpPr>
            <p:spPr>
              <a:xfrm>
                <a:off x="6816237" y="4636397"/>
                <a:ext cx="12784" cy="12784"/>
              </a:xfrm>
              <a:custGeom>
                <a:avLst/>
                <a:gdLst>
                  <a:gd name="connsiteX0" fmla="*/ 12784 w 12784"/>
                  <a:gd name="connsiteY0" fmla="*/ 6392 h 12784"/>
                  <a:gd name="connsiteX1" fmla="*/ 6392 w 12784"/>
                  <a:gd name="connsiteY1" fmla="*/ 12784 h 12784"/>
                  <a:gd name="connsiteX2" fmla="*/ 0 w 12784"/>
                  <a:gd name="connsiteY2" fmla="*/ 6392 h 12784"/>
                  <a:gd name="connsiteX3" fmla="*/ 6392 w 12784"/>
                  <a:gd name="connsiteY3" fmla="*/ 0 h 12784"/>
                  <a:gd name="connsiteX4" fmla="*/ 12784 w 12784"/>
                  <a:gd name="connsiteY4" fmla="*/ 6392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4" h="12784">
                    <a:moveTo>
                      <a:pt x="12784" y="6392"/>
                    </a:moveTo>
                    <a:cubicBezTo>
                      <a:pt x="12784" y="9923"/>
                      <a:pt x="9922" y="12784"/>
                      <a:pt x="6392" y="12784"/>
                    </a:cubicBezTo>
                    <a:cubicBezTo>
                      <a:pt x="2862" y="12784"/>
                      <a:pt x="0" y="9923"/>
                      <a:pt x="0" y="6392"/>
                    </a:cubicBezTo>
                    <a:cubicBezTo>
                      <a:pt x="0" y="2861"/>
                      <a:pt x="2862" y="0"/>
                      <a:pt x="6392" y="0"/>
                    </a:cubicBezTo>
                    <a:cubicBezTo>
                      <a:pt x="9922" y="0"/>
                      <a:pt x="12784" y="2861"/>
                      <a:pt x="12784" y="6392"/>
                    </a:cubicBezTo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8" name="Freeform: Shape 367">
                <a:extLst>
                  <a:ext uri="{FF2B5EF4-FFF2-40B4-BE49-F238E27FC236}">
                    <a16:creationId xmlns:a16="http://schemas.microsoft.com/office/drawing/2014/main" id="{1E891E3A-944B-49C4-96DC-EB2284E4C943}"/>
                  </a:ext>
                </a:extLst>
              </p:cNvPr>
              <p:cNvSpPr/>
              <p:nvPr/>
            </p:nvSpPr>
            <p:spPr>
              <a:xfrm>
                <a:off x="6720354" y="4278436"/>
                <a:ext cx="396311" cy="396314"/>
              </a:xfrm>
              <a:custGeom>
                <a:avLst/>
                <a:gdLst>
                  <a:gd name="connsiteX0" fmla="*/ 338785 w 396311"/>
                  <a:gd name="connsiteY0" fmla="*/ 38353 h 396314"/>
                  <a:gd name="connsiteX1" fmla="*/ 338785 w 396311"/>
                  <a:gd name="connsiteY1" fmla="*/ 51137 h 396314"/>
                  <a:gd name="connsiteX2" fmla="*/ 371289 w 396311"/>
                  <a:gd name="connsiteY2" fmla="*/ 51137 h 396314"/>
                  <a:gd name="connsiteX3" fmla="*/ 272672 w 396311"/>
                  <a:gd name="connsiteY3" fmla="*/ 127844 h 396314"/>
                  <a:gd name="connsiteX4" fmla="*/ 204550 w 396311"/>
                  <a:gd name="connsiteY4" fmla="*/ 127844 h 396314"/>
                  <a:gd name="connsiteX5" fmla="*/ 204550 w 396311"/>
                  <a:gd name="connsiteY5" fmla="*/ 103668 h 396314"/>
                  <a:gd name="connsiteX6" fmla="*/ 187054 w 396311"/>
                  <a:gd name="connsiteY6" fmla="*/ 99315 h 396314"/>
                  <a:gd name="connsiteX7" fmla="*/ 182413 w 396311"/>
                  <a:gd name="connsiteY7" fmla="*/ 88039 h 396314"/>
                  <a:gd name="connsiteX8" fmla="*/ 191688 w 396311"/>
                  <a:gd name="connsiteY8" fmla="*/ 72615 h 396314"/>
                  <a:gd name="connsiteX9" fmla="*/ 157503 w 396311"/>
                  <a:gd name="connsiteY9" fmla="*/ 38430 h 396314"/>
                  <a:gd name="connsiteX10" fmla="*/ 142079 w 396311"/>
                  <a:gd name="connsiteY10" fmla="*/ 47705 h 396314"/>
                  <a:gd name="connsiteX11" fmla="*/ 130803 w 396311"/>
                  <a:gd name="connsiteY11" fmla="*/ 43064 h 396314"/>
                  <a:gd name="connsiteX12" fmla="*/ 126450 w 396311"/>
                  <a:gd name="connsiteY12" fmla="*/ 25569 h 396314"/>
                  <a:gd name="connsiteX13" fmla="*/ 102275 w 396311"/>
                  <a:gd name="connsiteY13" fmla="*/ 25569 h 396314"/>
                  <a:gd name="connsiteX14" fmla="*/ 102275 w 396311"/>
                  <a:gd name="connsiteY14" fmla="*/ 12784 h 396314"/>
                  <a:gd name="connsiteX15" fmla="*/ 332393 w 396311"/>
                  <a:gd name="connsiteY15" fmla="*/ 12784 h 396314"/>
                  <a:gd name="connsiteX16" fmla="*/ 332393 w 396311"/>
                  <a:gd name="connsiteY16" fmla="*/ 25569 h 396314"/>
                  <a:gd name="connsiteX17" fmla="*/ 345178 w 396311"/>
                  <a:gd name="connsiteY17" fmla="*/ 25569 h 396314"/>
                  <a:gd name="connsiteX18" fmla="*/ 345178 w 396311"/>
                  <a:gd name="connsiteY18" fmla="*/ 0 h 396314"/>
                  <a:gd name="connsiteX19" fmla="*/ 89491 w 396311"/>
                  <a:gd name="connsiteY19" fmla="*/ 0 h 396314"/>
                  <a:gd name="connsiteX20" fmla="*/ 89491 w 396311"/>
                  <a:gd name="connsiteY20" fmla="*/ 25569 h 396314"/>
                  <a:gd name="connsiteX21" fmla="*/ 78099 w 396311"/>
                  <a:gd name="connsiteY21" fmla="*/ 25569 h 396314"/>
                  <a:gd name="connsiteX22" fmla="*/ 73746 w 396311"/>
                  <a:gd name="connsiteY22" fmla="*/ 43064 h 396314"/>
                  <a:gd name="connsiteX23" fmla="*/ 62470 w 396311"/>
                  <a:gd name="connsiteY23" fmla="*/ 47705 h 396314"/>
                  <a:gd name="connsiteX24" fmla="*/ 47046 w 396311"/>
                  <a:gd name="connsiteY24" fmla="*/ 38430 h 396314"/>
                  <a:gd name="connsiteX25" fmla="*/ 12862 w 396311"/>
                  <a:gd name="connsiteY25" fmla="*/ 72615 h 396314"/>
                  <a:gd name="connsiteX26" fmla="*/ 22136 w 396311"/>
                  <a:gd name="connsiteY26" fmla="*/ 88039 h 396314"/>
                  <a:gd name="connsiteX27" fmla="*/ 17496 w 396311"/>
                  <a:gd name="connsiteY27" fmla="*/ 99315 h 396314"/>
                  <a:gd name="connsiteX28" fmla="*/ 0 w 396311"/>
                  <a:gd name="connsiteY28" fmla="*/ 103668 h 396314"/>
                  <a:gd name="connsiteX29" fmla="*/ 0 w 396311"/>
                  <a:gd name="connsiteY29" fmla="*/ 152012 h 396314"/>
                  <a:gd name="connsiteX30" fmla="*/ 17496 w 396311"/>
                  <a:gd name="connsiteY30" fmla="*/ 156365 h 396314"/>
                  <a:gd name="connsiteX31" fmla="*/ 22136 w 396311"/>
                  <a:gd name="connsiteY31" fmla="*/ 167641 h 396314"/>
                  <a:gd name="connsiteX32" fmla="*/ 12862 w 396311"/>
                  <a:gd name="connsiteY32" fmla="*/ 183072 h 396314"/>
                  <a:gd name="connsiteX33" fmla="*/ 47046 w 396311"/>
                  <a:gd name="connsiteY33" fmla="*/ 217257 h 396314"/>
                  <a:gd name="connsiteX34" fmla="*/ 62470 w 396311"/>
                  <a:gd name="connsiteY34" fmla="*/ 207988 h 396314"/>
                  <a:gd name="connsiteX35" fmla="*/ 73753 w 396311"/>
                  <a:gd name="connsiteY35" fmla="*/ 212636 h 396314"/>
                  <a:gd name="connsiteX36" fmla="*/ 78099 w 396311"/>
                  <a:gd name="connsiteY36" fmla="*/ 230118 h 396314"/>
                  <a:gd name="connsiteX37" fmla="*/ 83098 w 396311"/>
                  <a:gd name="connsiteY37" fmla="*/ 230118 h 396314"/>
                  <a:gd name="connsiteX38" fmla="*/ 83098 w 396311"/>
                  <a:gd name="connsiteY38" fmla="*/ 255687 h 396314"/>
                  <a:gd name="connsiteX39" fmla="*/ 70314 w 396311"/>
                  <a:gd name="connsiteY39" fmla="*/ 255687 h 396314"/>
                  <a:gd name="connsiteX40" fmla="*/ 70314 w 396311"/>
                  <a:gd name="connsiteY40" fmla="*/ 364354 h 396314"/>
                  <a:gd name="connsiteX41" fmla="*/ 102275 w 396311"/>
                  <a:gd name="connsiteY41" fmla="*/ 396315 h 396314"/>
                  <a:gd name="connsiteX42" fmla="*/ 133590 w 396311"/>
                  <a:gd name="connsiteY42" fmla="*/ 370746 h 396314"/>
                  <a:gd name="connsiteX43" fmla="*/ 345174 w 396311"/>
                  <a:gd name="connsiteY43" fmla="*/ 370746 h 396314"/>
                  <a:gd name="connsiteX44" fmla="*/ 345174 w 396311"/>
                  <a:gd name="connsiteY44" fmla="*/ 230118 h 396314"/>
                  <a:gd name="connsiteX45" fmla="*/ 370743 w 396311"/>
                  <a:gd name="connsiteY45" fmla="*/ 230118 h 396314"/>
                  <a:gd name="connsiteX46" fmla="*/ 370743 w 396311"/>
                  <a:gd name="connsiteY46" fmla="*/ 217333 h 396314"/>
                  <a:gd name="connsiteX47" fmla="*/ 357958 w 396311"/>
                  <a:gd name="connsiteY47" fmla="*/ 217333 h 396314"/>
                  <a:gd name="connsiteX48" fmla="*/ 357958 w 396311"/>
                  <a:gd name="connsiteY48" fmla="*/ 77706 h 396314"/>
                  <a:gd name="connsiteX49" fmla="*/ 383527 w 396311"/>
                  <a:gd name="connsiteY49" fmla="*/ 57820 h 396314"/>
                  <a:gd name="connsiteX50" fmla="*/ 383527 w 396311"/>
                  <a:gd name="connsiteY50" fmla="*/ 95886 h 396314"/>
                  <a:gd name="connsiteX51" fmla="*/ 396311 w 396311"/>
                  <a:gd name="connsiteY51" fmla="*/ 95886 h 396314"/>
                  <a:gd name="connsiteX52" fmla="*/ 396311 w 396311"/>
                  <a:gd name="connsiteY52" fmla="*/ 38356 h 396314"/>
                  <a:gd name="connsiteX53" fmla="*/ 281256 w 396311"/>
                  <a:gd name="connsiteY53" fmla="*/ 217334 h 396314"/>
                  <a:gd name="connsiteX54" fmla="*/ 281256 w 396311"/>
                  <a:gd name="connsiteY54" fmla="*/ 137362 h 396314"/>
                  <a:gd name="connsiteX55" fmla="*/ 306824 w 396311"/>
                  <a:gd name="connsiteY55" fmla="*/ 117476 h 396314"/>
                  <a:gd name="connsiteX56" fmla="*/ 306824 w 396311"/>
                  <a:gd name="connsiteY56" fmla="*/ 217334 h 396314"/>
                  <a:gd name="connsiteX57" fmla="*/ 268471 w 396311"/>
                  <a:gd name="connsiteY57" fmla="*/ 217334 h 396314"/>
                  <a:gd name="connsiteX58" fmla="*/ 242903 w 396311"/>
                  <a:gd name="connsiteY58" fmla="*/ 217334 h 396314"/>
                  <a:gd name="connsiteX59" fmla="*/ 242903 w 396311"/>
                  <a:gd name="connsiteY59" fmla="*/ 140628 h 396314"/>
                  <a:gd name="connsiteX60" fmla="*/ 268471 w 396311"/>
                  <a:gd name="connsiteY60" fmla="*/ 140628 h 396314"/>
                  <a:gd name="connsiteX61" fmla="*/ 65331 w 396311"/>
                  <a:gd name="connsiteY61" fmla="*/ 195063 h 396314"/>
                  <a:gd name="connsiteX62" fmla="*/ 62109 w 396311"/>
                  <a:gd name="connsiteY62" fmla="*/ 193286 h 396314"/>
                  <a:gd name="connsiteX63" fmla="*/ 49025 w 396311"/>
                  <a:gd name="connsiteY63" fmla="*/ 201148 h 396314"/>
                  <a:gd name="connsiteX64" fmla="*/ 28966 w 396311"/>
                  <a:gd name="connsiteY64" fmla="*/ 181096 h 396314"/>
                  <a:gd name="connsiteX65" fmla="*/ 36835 w 396311"/>
                  <a:gd name="connsiteY65" fmla="*/ 168011 h 396314"/>
                  <a:gd name="connsiteX66" fmla="*/ 35058 w 396311"/>
                  <a:gd name="connsiteY66" fmla="*/ 164790 h 396314"/>
                  <a:gd name="connsiteX67" fmla="*/ 28666 w 396311"/>
                  <a:gd name="connsiteY67" fmla="*/ 149256 h 396314"/>
                  <a:gd name="connsiteX68" fmla="*/ 27637 w 396311"/>
                  <a:gd name="connsiteY68" fmla="*/ 145728 h 396314"/>
                  <a:gd name="connsiteX69" fmla="*/ 12782 w 396311"/>
                  <a:gd name="connsiteY69" fmla="*/ 142021 h 396314"/>
                  <a:gd name="connsiteX70" fmla="*/ 12782 w 396311"/>
                  <a:gd name="connsiteY70" fmla="*/ 113659 h 396314"/>
                  <a:gd name="connsiteX71" fmla="*/ 27631 w 396311"/>
                  <a:gd name="connsiteY71" fmla="*/ 109958 h 396314"/>
                  <a:gd name="connsiteX72" fmla="*/ 28660 w 396311"/>
                  <a:gd name="connsiteY72" fmla="*/ 106429 h 396314"/>
                  <a:gd name="connsiteX73" fmla="*/ 35052 w 396311"/>
                  <a:gd name="connsiteY73" fmla="*/ 90896 h 396314"/>
                  <a:gd name="connsiteX74" fmla="*/ 36829 w 396311"/>
                  <a:gd name="connsiteY74" fmla="*/ 87674 h 396314"/>
                  <a:gd name="connsiteX75" fmla="*/ 28961 w 396311"/>
                  <a:gd name="connsiteY75" fmla="*/ 74583 h 396314"/>
                  <a:gd name="connsiteX76" fmla="*/ 49013 w 396311"/>
                  <a:gd name="connsiteY76" fmla="*/ 54530 h 396314"/>
                  <a:gd name="connsiteX77" fmla="*/ 62105 w 396311"/>
                  <a:gd name="connsiteY77" fmla="*/ 62399 h 396314"/>
                  <a:gd name="connsiteX78" fmla="*/ 65327 w 396311"/>
                  <a:gd name="connsiteY78" fmla="*/ 60622 h 396314"/>
                  <a:gd name="connsiteX79" fmla="*/ 80860 w 396311"/>
                  <a:gd name="connsiteY79" fmla="*/ 54229 h 396314"/>
                  <a:gd name="connsiteX80" fmla="*/ 84388 w 396311"/>
                  <a:gd name="connsiteY80" fmla="*/ 53200 h 396314"/>
                  <a:gd name="connsiteX81" fmla="*/ 88096 w 396311"/>
                  <a:gd name="connsiteY81" fmla="*/ 38352 h 396314"/>
                  <a:gd name="connsiteX82" fmla="*/ 116458 w 396311"/>
                  <a:gd name="connsiteY82" fmla="*/ 38352 h 396314"/>
                  <a:gd name="connsiteX83" fmla="*/ 120159 w 396311"/>
                  <a:gd name="connsiteY83" fmla="*/ 53202 h 396314"/>
                  <a:gd name="connsiteX84" fmla="*/ 123688 w 396311"/>
                  <a:gd name="connsiteY84" fmla="*/ 54231 h 396314"/>
                  <a:gd name="connsiteX85" fmla="*/ 139221 w 396311"/>
                  <a:gd name="connsiteY85" fmla="*/ 60623 h 396314"/>
                  <a:gd name="connsiteX86" fmla="*/ 142443 w 396311"/>
                  <a:gd name="connsiteY86" fmla="*/ 62400 h 396314"/>
                  <a:gd name="connsiteX87" fmla="*/ 155534 w 396311"/>
                  <a:gd name="connsiteY87" fmla="*/ 54531 h 396314"/>
                  <a:gd name="connsiteX88" fmla="*/ 175587 w 396311"/>
                  <a:gd name="connsiteY88" fmla="*/ 74584 h 396314"/>
                  <a:gd name="connsiteX89" fmla="*/ 167718 w 396311"/>
                  <a:gd name="connsiteY89" fmla="*/ 87675 h 396314"/>
                  <a:gd name="connsiteX90" fmla="*/ 169494 w 396311"/>
                  <a:gd name="connsiteY90" fmla="*/ 90897 h 396314"/>
                  <a:gd name="connsiteX91" fmla="*/ 175887 w 396311"/>
                  <a:gd name="connsiteY91" fmla="*/ 106430 h 396314"/>
                  <a:gd name="connsiteX92" fmla="*/ 176916 w 396311"/>
                  <a:gd name="connsiteY92" fmla="*/ 109959 h 396314"/>
                  <a:gd name="connsiteX93" fmla="*/ 191764 w 396311"/>
                  <a:gd name="connsiteY93" fmla="*/ 113666 h 396314"/>
                  <a:gd name="connsiteX94" fmla="*/ 191764 w 396311"/>
                  <a:gd name="connsiteY94" fmla="*/ 142028 h 396314"/>
                  <a:gd name="connsiteX95" fmla="*/ 176915 w 396311"/>
                  <a:gd name="connsiteY95" fmla="*/ 145729 h 396314"/>
                  <a:gd name="connsiteX96" fmla="*/ 175886 w 396311"/>
                  <a:gd name="connsiteY96" fmla="*/ 149258 h 396314"/>
                  <a:gd name="connsiteX97" fmla="*/ 169493 w 396311"/>
                  <a:gd name="connsiteY97" fmla="*/ 164791 h 396314"/>
                  <a:gd name="connsiteX98" fmla="*/ 167717 w 396311"/>
                  <a:gd name="connsiteY98" fmla="*/ 168013 h 396314"/>
                  <a:gd name="connsiteX99" fmla="*/ 175586 w 396311"/>
                  <a:gd name="connsiteY99" fmla="*/ 181098 h 396314"/>
                  <a:gd name="connsiteX100" fmla="*/ 155527 w 396311"/>
                  <a:gd name="connsiteY100" fmla="*/ 201150 h 396314"/>
                  <a:gd name="connsiteX101" fmla="*/ 142443 w 396311"/>
                  <a:gd name="connsiteY101" fmla="*/ 193288 h 396314"/>
                  <a:gd name="connsiteX102" fmla="*/ 139221 w 396311"/>
                  <a:gd name="connsiteY102" fmla="*/ 195064 h 396314"/>
                  <a:gd name="connsiteX103" fmla="*/ 123688 w 396311"/>
                  <a:gd name="connsiteY103" fmla="*/ 201456 h 396314"/>
                  <a:gd name="connsiteX104" fmla="*/ 120159 w 396311"/>
                  <a:gd name="connsiteY104" fmla="*/ 202486 h 396314"/>
                  <a:gd name="connsiteX105" fmla="*/ 116451 w 396311"/>
                  <a:gd name="connsiteY105" fmla="*/ 217334 h 396314"/>
                  <a:gd name="connsiteX106" fmla="*/ 88090 w 396311"/>
                  <a:gd name="connsiteY106" fmla="*/ 217334 h 396314"/>
                  <a:gd name="connsiteX107" fmla="*/ 84388 w 396311"/>
                  <a:gd name="connsiteY107" fmla="*/ 202485 h 396314"/>
                  <a:gd name="connsiteX108" fmla="*/ 80860 w 396311"/>
                  <a:gd name="connsiteY108" fmla="*/ 201455 h 396314"/>
                  <a:gd name="connsiteX109" fmla="*/ 65333 w 396311"/>
                  <a:gd name="connsiteY109" fmla="*/ 195063 h 396314"/>
                  <a:gd name="connsiteX110" fmla="*/ 95879 w 396311"/>
                  <a:gd name="connsiteY110" fmla="*/ 230118 h 396314"/>
                  <a:gd name="connsiteX111" fmla="*/ 108664 w 396311"/>
                  <a:gd name="connsiteY111" fmla="*/ 230118 h 396314"/>
                  <a:gd name="connsiteX112" fmla="*/ 108664 w 396311"/>
                  <a:gd name="connsiteY112" fmla="*/ 255687 h 396314"/>
                  <a:gd name="connsiteX113" fmla="*/ 95879 w 396311"/>
                  <a:gd name="connsiteY113" fmla="*/ 255687 h 396314"/>
                  <a:gd name="connsiteX114" fmla="*/ 121448 w 396311"/>
                  <a:gd name="connsiteY114" fmla="*/ 364348 h 396314"/>
                  <a:gd name="connsiteX115" fmla="*/ 102272 w 396311"/>
                  <a:gd name="connsiteY115" fmla="*/ 383525 h 396314"/>
                  <a:gd name="connsiteX116" fmla="*/ 83095 w 396311"/>
                  <a:gd name="connsiteY116" fmla="*/ 364348 h 396314"/>
                  <a:gd name="connsiteX117" fmla="*/ 83095 w 396311"/>
                  <a:gd name="connsiteY117" fmla="*/ 268466 h 396314"/>
                  <a:gd name="connsiteX118" fmla="*/ 121448 w 396311"/>
                  <a:gd name="connsiteY118" fmla="*/ 268466 h 396314"/>
                  <a:gd name="connsiteX119" fmla="*/ 332384 w 396311"/>
                  <a:gd name="connsiteY119" fmla="*/ 357956 h 396314"/>
                  <a:gd name="connsiteX120" fmla="*/ 134221 w 396311"/>
                  <a:gd name="connsiteY120" fmla="*/ 357956 h 396314"/>
                  <a:gd name="connsiteX121" fmla="*/ 134221 w 396311"/>
                  <a:gd name="connsiteY121" fmla="*/ 255681 h 396314"/>
                  <a:gd name="connsiteX122" fmla="*/ 121437 w 396311"/>
                  <a:gd name="connsiteY122" fmla="*/ 255681 h 396314"/>
                  <a:gd name="connsiteX123" fmla="*/ 121437 w 396311"/>
                  <a:gd name="connsiteY123" fmla="*/ 230113 h 396314"/>
                  <a:gd name="connsiteX124" fmla="*/ 126436 w 396311"/>
                  <a:gd name="connsiteY124" fmla="*/ 230113 h 396314"/>
                  <a:gd name="connsiteX125" fmla="*/ 130788 w 396311"/>
                  <a:gd name="connsiteY125" fmla="*/ 212624 h 396314"/>
                  <a:gd name="connsiteX126" fmla="*/ 142070 w 396311"/>
                  <a:gd name="connsiteY126" fmla="*/ 207977 h 396314"/>
                  <a:gd name="connsiteX127" fmla="*/ 157494 w 396311"/>
                  <a:gd name="connsiteY127" fmla="*/ 217245 h 396314"/>
                  <a:gd name="connsiteX128" fmla="*/ 191679 w 396311"/>
                  <a:gd name="connsiteY128" fmla="*/ 183061 h 396314"/>
                  <a:gd name="connsiteX129" fmla="*/ 182405 w 396311"/>
                  <a:gd name="connsiteY129" fmla="*/ 167636 h 396314"/>
                  <a:gd name="connsiteX130" fmla="*/ 187045 w 396311"/>
                  <a:gd name="connsiteY130" fmla="*/ 156360 h 396314"/>
                  <a:gd name="connsiteX131" fmla="*/ 204534 w 396311"/>
                  <a:gd name="connsiteY131" fmla="*/ 152013 h 396314"/>
                  <a:gd name="connsiteX132" fmla="*/ 204534 w 396311"/>
                  <a:gd name="connsiteY132" fmla="*/ 140622 h 396314"/>
                  <a:gd name="connsiteX133" fmla="*/ 230103 w 396311"/>
                  <a:gd name="connsiteY133" fmla="*/ 140622 h 396314"/>
                  <a:gd name="connsiteX134" fmla="*/ 230103 w 396311"/>
                  <a:gd name="connsiteY134" fmla="*/ 217328 h 396314"/>
                  <a:gd name="connsiteX135" fmla="*/ 217644 w 396311"/>
                  <a:gd name="connsiteY135" fmla="*/ 217328 h 396314"/>
                  <a:gd name="connsiteX136" fmla="*/ 217644 w 396311"/>
                  <a:gd name="connsiteY136" fmla="*/ 230113 h 396314"/>
                  <a:gd name="connsiteX137" fmla="*/ 332374 w 396311"/>
                  <a:gd name="connsiteY137" fmla="*/ 230113 h 396314"/>
                  <a:gd name="connsiteX138" fmla="*/ 345168 w 396311"/>
                  <a:gd name="connsiteY138" fmla="*/ 217328 h 396314"/>
                  <a:gd name="connsiteX139" fmla="*/ 319600 w 396311"/>
                  <a:gd name="connsiteY139" fmla="*/ 217328 h 396314"/>
                  <a:gd name="connsiteX140" fmla="*/ 319600 w 396311"/>
                  <a:gd name="connsiteY140" fmla="*/ 107530 h 396314"/>
                  <a:gd name="connsiteX141" fmla="*/ 345168 w 396311"/>
                  <a:gd name="connsiteY141" fmla="*/ 87644 h 396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</a:cxnLst>
                <a:rect l="l" t="t" r="r" b="b"/>
                <a:pathLst>
                  <a:path w="396311" h="396314">
                    <a:moveTo>
                      <a:pt x="338785" y="38353"/>
                    </a:moveTo>
                    <a:lnTo>
                      <a:pt x="338785" y="51137"/>
                    </a:lnTo>
                    <a:lnTo>
                      <a:pt x="371289" y="51137"/>
                    </a:lnTo>
                    <a:lnTo>
                      <a:pt x="272672" y="127844"/>
                    </a:lnTo>
                    <a:lnTo>
                      <a:pt x="204550" y="127844"/>
                    </a:lnTo>
                    <a:lnTo>
                      <a:pt x="204550" y="103668"/>
                    </a:lnTo>
                    <a:lnTo>
                      <a:pt x="187054" y="99315"/>
                    </a:lnTo>
                    <a:cubicBezTo>
                      <a:pt x="185744" y="95410"/>
                      <a:pt x="184197" y="91638"/>
                      <a:pt x="182413" y="88039"/>
                    </a:cubicBezTo>
                    <a:lnTo>
                      <a:pt x="191688" y="72615"/>
                    </a:lnTo>
                    <a:lnTo>
                      <a:pt x="157503" y="38430"/>
                    </a:lnTo>
                    <a:lnTo>
                      <a:pt x="142079" y="47705"/>
                    </a:lnTo>
                    <a:cubicBezTo>
                      <a:pt x="138480" y="45921"/>
                      <a:pt x="134710" y="44375"/>
                      <a:pt x="130803" y="43064"/>
                    </a:cubicBezTo>
                    <a:lnTo>
                      <a:pt x="126450" y="25569"/>
                    </a:lnTo>
                    <a:lnTo>
                      <a:pt x="102275" y="25569"/>
                    </a:lnTo>
                    <a:lnTo>
                      <a:pt x="102275" y="12784"/>
                    </a:lnTo>
                    <a:lnTo>
                      <a:pt x="332393" y="12784"/>
                    </a:lnTo>
                    <a:lnTo>
                      <a:pt x="332393" y="25569"/>
                    </a:lnTo>
                    <a:lnTo>
                      <a:pt x="345178" y="25569"/>
                    </a:lnTo>
                    <a:lnTo>
                      <a:pt x="345178" y="0"/>
                    </a:lnTo>
                    <a:lnTo>
                      <a:pt x="89491" y="0"/>
                    </a:lnTo>
                    <a:lnTo>
                      <a:pt x="89491" y="25569"/>
                    </a:lnTo>
                    <a:lnTo>
                      <a:pt x="78099" y="25569"/>
                    </a:lnTo>
                    <a:lnTo>
                      <a:pt x="73746" y="43064"/>
                    </a:lnTo>
                    <a:cubicBezTo>
                      <a:pt x="69841" y="44375"/>
                      <a:pt x="66070" y="45922"/>
                      <a:pt x="62470" y="47705"/>
                    </a:cubicBezTo>
                    <a:lnTo>
                      <a:pt x="47046" y="38430"/>
                    </a:lnTo>
                    <a:lnTo>
                      <a:pt x="12862" y="72615"/>
                    </a:lnTo>
                    <a:lnTo>
                      <a:pt x="22136" y="88039"/>
                    </a:lnTo>
                    <a:cubicBezTo>
                      <a:pt x="20353" y="91638"/>
                      <a:pt x="18806" y="95409"/>
                      <a:pt x="17496" y="99315"/>
                    </a:cubicBezTo>
                    <a:lnTo>
                      <a:pt x="0" y="103668"/>
                    </a:lnTo>
                    <a:lnTo>
                      <a:pt x="0" y="152012"/>
                    </a:lnTo>
                    <a:lnTo>
                      <a:pt x="17496" y="156365"/>
                    </a:lnTo>
                    <a:cubicBezTo>
                      <a:pt x="18806" y="160270"/>
                      <a:pt x="20353" y="164042"/>
                      <a:pt x="22136" y="167641"/>
                    </a:cubicBezTo>
                    <a:lnTo>
                      <a:pt x="12862" y="183072"/>
                    </a:lnTo>
                    <a:lnTo>
                      <a:pt x="47046" y="217257"/>
                    </a:lnTo>
                    <a:lnTo>
                      <a:pt x="62470" y="207988"/>
                    </a:lnTo>
                    <a:cubicBezTo>
                      <a:pt x="66069" y="209771"/>
                      <a:pt x="69840" y="211318"/>
                      <a:pt x="73753" y="212636"/>
                    </a:cubicBezTo>
                    <a:lnTo>
                      <a:pt x="78099" y="230118"/>
                    </a:lnTo>
                    <a:lnTo>
                      <a:pt x="83098" y="230118"/>
                    </a:lnTo>
                    <a:lnTo>
                      <a:pt x="83098" y="255687"/>
                    </a:lnTo>
                    <a:lnTo>
                      <a:pt x="70314" y="255687"/>
                    </a:lnTo>
                    <a:lnTo>
                      <a:pt x="70314" y="364354"/>
                    </a:lnTo>
                    <a:cubicBezTo>
                      <a:pt x="70314" y="381976"/>
                      <a:pt x="84651" y="396315"/>
                      <a:pt x="102275" y="396315"/>
                    </a:cubicBezTo>
                    <a:cubicBezTo>
                      <a:pt x="117706" y="396315"/>
                      <a:pt x="130618" y="385313"/>
                      <a:pt x="133590" y="370746"/>
                    </a:cubicBezTo>
                    <a:lnTo>
                      <a:pt x="345174" y="370746"/>
                    </a:lnTo>
                    <a:lnTo>
                      <a:pt x="345174" y="230118"/>
                    </a:lnTo>
                    <a:lnTo>
                      <a:pt x="370743" y="230118"/>
                    </a:lnTo>
                    <a:lnTo>
                      <a:pt x="370743" y="217333"/>
                    </a:lnTo>
                    <a:lnTo>
                      <a:pt x="357958" y="217333"/>
                    </a:lnTo>
                    <a:lnTo>
                      <a:pt x="357958" y="77706"/>
                    </a:lnTo>
                    <a:lnTo>
                      <a:pt x="383527" y="57820"/>
                    </a:lnTo>
                    <a:lnTo>
                      <a:pt x="383527" y="95886"/>
                    </a:lnTo>
                    <a:lnTo>
                      <a:pt x="396311" y="95886"/>
                    </a:lnTo>
                    <a:lnTo>
                      <a:pt x="396311" y="38356"/>
                    </a:lnTo>
                    <a:close/>
                    <a:moveTo>
                      <a:pt x="281256" y="217334"/>
                    </a:moveTo>
                    <a:lnTo>
                      <a:pt x="281256" y="137362"/>
                    </a:lnTo>
                    <a:lnTo>
                      <a:pt x="306824" y="117476"/>
                    </a:lnTo>
                    <a:lnTo>
                      <a:pt x="306824" y="217334"/>
                    </a:lnTo>
                    <a:close/>
                    <a:moveTo>
                      <a:pt x="268471" y="217334"/>
                    </a:moveTo>
                    <a:lnTo>
                      <a:pt x="242903" y="217334"/>
                    </a:lnTo>
                    <a:lnTo>
                      <a:pt x="242903" y="140628"/>
                    </a:lnTo>
                    <a:lnTo>
                      <a:pt x="268471" y="140628"/>
                    </a:lnTo>
                    <a:close/>
                    <a:moveTo>
                      <a:pt x="65331" y="195063"/>
                    </a:moveTo>
                    <a:lnTo>
                      <a:pt x="62109" y="193286"/>
                    </a:lnTo>
                    <a:lnTo>
                      <a:pt x="49025" y="201148"/>
                    </a:lnTo>
                    <a:lnTo>
                      <a:pt x="28966" y="181096"/>
                    </a:lnTo>
                    <a:lnTo>
                      <a:pt x="36835" y="168011"/>
                    </a:lnTo>
                    <a:lnTo>
                      <a:pt x="35058" y="164790"/>
                    </a:lnTo>
                    <a:cubicBezTo>
                      <a:pt x="32418" y="159995"/>
                      <a:pt x="30264" y="154772"/>
                      <a:pt x="28666" y="149256"/>
                    </a:cubicBezTo>
                    <a:lnTo>
                      <a:pt x="27637" y="145728"/>
                    </a:lnTo>
                    <a:lnTo>
                      <a:pt x="12782" y="142021"/>
                    </a:lnTo>
                    <a:lnTo>
                      <a:pt x="12782" y="113659"/>
                    </a:lnTo>
                    <a:lnTo>
                      <a:pt x="27631" y="109958"/>
                    </a:lnTo>
                    <a:lnTo>
                      <a:pt x="28660" y="106429"/>
                    </a:lnTo>
                    <a:cubicBezTo>
                      <a:pt x="30258" y="100919"/>
                      <a:pt x="32413" y="95690"/>
                      <a:pt x="35052" y="90896"/>
                    </a:cubicBezTo>
                    <a:lnTo>
                      <a:pt x="36829" y="87674"/>
                    </a:lnTo>
                    <a:lnTo>
                      <a:pt x="28961" y="74583"/>
                    </a:lnTo>
                    <a:lnTo>
                      <a:pt x="49013" y="54530"/>
                    </a:lnTo>
                    <a:lnTo>
                      <a:pt x="62105" y="62399"/>
                    </a:lnTo>
                    <a:lnTo>
                      <a:pt x="65327" y="60622"/>
                    </a:lnTo>
                    <a:cubicBezTo>
                      <a:pt x="70121" y="57982"/>
                      <a:pt x="75343" y="55827"/>
                      <a:pt x="80860" y="54229"/>
                    </a:cubicBezTo>
                    <a:lnTo>
                      <a:pt x="84388" y="53200"/>
                    </a:lnTo>
                    <a:lnTo>
                      <a:pt x="88096" y="38352"/>
                    </a:lnTo>
                    <a:lnTo>
                      <a:pt x="116458" y="38352"/>
                    </a:lnTo>
                    <a:lnTo>
                      <a:pt x="120159" y="53202"/>
                    </a:lnTo>
                    <a:lnTo>
                      <a:pt x="123688" y="54231"/>
                    </a:lnTo>
                    <a:cubicBezTo>
                      <a:pt x="129198" y="55829"/>
                      <a:pt x="134427" y="57983"/>
                      <a:pt x="139221" y="60623"/>
                    </a:cubicBezTo>
                    <a:lnTo>
                      <a:pt x="142443" y="62400"/>
                    </a:lnTo>
                    <a:lnTo>
                      <a:pt x="155534" y="54531"/>
                    </a:lnTo>
                    <a:lnTo>
                      <a:pt x="175587" y="74584"/>
                    </a:lnTo>
                    <a:lnTo>
                      <a:pt x="167718" y="87675"/>
                    </a:lnTo>
                    <a:lnTo>
                      <a:pt x="169494" y="90897"/>
                    </a:lnTo>
                    <a:cubicBezTo>
                      <a:pt x="172134" y="95691"/>
                      <a:pt x="174289" y="100914"/>
                      <a:pt x="175887" y="106430"/>
                    </a:cubicBezTo>
                    <a:lnTo>
                      <a:pt x="176916" y="109959"/>
                    </a:lnTo>
                    <a:lnTo>
                      <a:pt x="191764" y="113666"/>
                    </a:lnTo>
                    <a:lnTo>
                      <a:pt x="191764" y="142028"/>
                    </a:lnTo>
                    <a:lnTo>
                      <a:pt x="176915" y="145729"/>
                    </a:lnTo>
                    <a:lnTo>
                      <a:pt x="175886" y="149258"/>
                    </a:lnTo>
                    <a:cubicBezTo>
                      <a:pt x="174288" y="154768"/>
                      <a:pt x="172133" y="159996"/>
                      <a:pt x="169493" y="164791"/>
                    </a:cubicBezTo>
                    <a:lnTo>
                      <a:pt x="167717" y="168013"/>
                    </a:lnTo>
                    <a:lnTo>
                      <a:pt x="175586" y="181098"/>
                    </a:lnTo>
                    <a:lnTo>
                      <a:pt x="155527" y="201150"/>
                    </a:lnTo>
                    <a:lnTo>
                      <a:pt x="142443" y="193288"/>
                    </a:lnTo>
                    <a:lnTo>
                      <a:pt x="139221" y="195064"/>
                    </a:lnTo>
                    <a:cubicBezTo>
                      <a:pt x="134427" y="197704"/>
                      <a:pt x="129204" y="199859"/>
                      <a:pt x="123688" y="201456"/>
                    </a:cubicBezTo>
                    <a:lnTo>
                      <a:pt x="120159" y="202486"/>
                    </a:lnTo>
                    <a:lnTo>
                      <a:pt x="116451" y="217334"/>
                    </a:lnTo>
                    <a:lnTo>
                      <a:pt x="88090" y="217334"/>
                    </a:lnTo>
                    <a:lnTo>
                      <a:pt x="84388" y="202485"/>
                    </a:lnTo>
                    <a:lnTo>
                      <a:pt x="80860" y="201455"/>
                    </a:lnTo>
                    <a:cubicBezTo>
                      <a:pt x="75357" y="199857"/>
                      <a:pt x="70128" y="197703"/>
                      <a:pt x="65333" y="195063"/>
                    </a:cubicBezTo>
                    <a:close/>
                    <a:moveTo>
                      <a:pt x="95879" y="230118"/>
                    </a:moveTo>
                    <a:lnTo>
                      <a:pt x="108664" y="230118"/>
                    </a:lnTo>
                    <a:lnTo>
                      <a:pt x="108664" y="255687"/>
                    </a:lnTo>
                    <a:lnTo>
                      <a:pt x="95879" y="255687"/>
                    </a:lnTo>
                    <a:close/>
                    <a:moveTo>
                      <a:pt x="121448" y="364348"/>
                    </a:moveTo>
                    <a:cubicBezTo>
                      <a:pt x="121448" y="374921"/>
                      <a:pt x="112845" y="383525"/>
                      <a:pt x="102272" y="383525"/>
                    </a:cubicBezTo>
                    <a:cubicBezTo>
                      <a:pt x="91699" y="383525"/>
                      <a:pt x="83095" y="374921"/>
                      <a:pt x="83095" y="364348"/>
                    </a:cubicBezTo>
                    <a:lnTo>
                      <a:pt x="83095" y="268466"/>
                    </a:lnTo>
                    <a:lnTo>
                      <a:pt x="121448" y="268466"/>
                    </a:lnTo>
                    <a:close/>
                    <a:moveTo>
                      <a:pt x="332384" y="357956"/>
                    </a:moveTo>
                    <a:lnTo>
                      <a:pt x="134221" y="357956"/>
                    </a:lnTo>
                    <a:lnTo>
                      <a:pt x="134221" y="255681"/>
                    </a:lnTo>
                    <a:lnTo>
                      <a:pt x="121437" y="255681"/>
                    </a:lnTo>
                    <a:lnTo>
                      <a:pt x="121437" y="230113"/>
                    </a:lnTo>
                    <a:lnTo>
                      <a:pt x="126436" y="230113"/>
                    </a:lnTo>
                    <a:lnTo>
                      <a:pt x="130788" y="212624"/>
                    </a:lnTo>
                    <a:cubicBezTo>
                      <a:pt x="134694" y="211313"/>
                      <a:pt x="138472" y="209767"/>
                      <a:pt x="142070" y="207977"/>
                    </a:cubicBezTo>
                    <a:lnTo>
                      <a:pt x="157494" y="217245"/>
                    </a:lnTo>
                    <a:lnTo>
                      <a:pt x="191679" y="183061"/>
                    </a:lnTo>
                    <a:lnTo>
                      <a:pt x="182405" y="167636"/>
                    </a:lnTo>
                    <a:cubicBezTo>
                      <a:pt x="184188" y="164037"/>
                      <a:pt x="185735" y="160266"/>
                      <a:pt x="187045" y="156360"/>
                    </a:cubicBezTo>
                    <a:lnTo>
                      <a:pt x="204534" y="152013"/>
                    </a:lnTo>
                    <a:lnTo>
                      <a:pt x="204534" y="140622"/>
                    </a:lnTo>
                    <a:lnTo>
                      <a:pt x="230103" y="140622"/>
                    </a:lnTo>
                    <a:lnTo>
                      <a:pt x="230103" y="217328"/>
                    </a:lnTo>
                    <a:lnTo>
                      <a:pt x="217644" y="217328"/>
                    </a:lnTo>
                    <a:lnTo>
                      <a:pt x="217644" y="230113"/>
                    </a:lnTo>
                    <a:lnTo>
                      <a:pt x="332374" y="230113"/>
                    </a:lnTo>
                    <a:close/>
                    <a:moveTo>
                      <a:pt x="345168" y="217328"/>
                    </a:moveTo>
                    <a:lnTo>
                      <a:pt x="319600" y="217328"/>
                    </a:lnTo>
                    <a:lnTo>
                      <a:pt x="319600" y="107530"/>
                    </a:lnTo>
                    <a:lnTo>
                      <a:pt x="345168" y="8764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9" name="Freeform: Shape 368">
                <a:extLst>
                  <a:ext uri="{FF2B5EF4-FFF2-40B4-BE49-F238E27FC236}">
                    <a16:creationId xmlns:a16="http://schemas.microsoft.com/office/drawing/2014/main" id="{1A900772-2959-4C34-B17E-077A041A22D4}"/>
                  </a:ext>
                </a:extLst>
              </p:cNvPr>
              <p:cNvSpPr/>
              <p:nvPr/>
            </p:nvSpPr>
            <p:spPr>
              <a:xfrm>
                <a:off x="6918512" y="4304004"/>
                <a:ext cx="121456" cy="12784"/>
              </a:xfrm>
              <a:custGeom>
                <a:avLst/>
                <a:gdLst>
                  <a:gd name="connsiteX0" fmla="*/ 0 w 121456"/>
                  <a:gd name="connsiteY0" fmla="*/ 0 h 12784"/>
                  <a:gd name="connsiteX1" fmla="*/ 121457 w 121456"/>
                  <a:gd name="connsiteY1" fmla="*/ 0 h 12784"/>
                  <a:gd name="connsiteX2" fmla="*/ 121457 w 121456"/>
                  <a:gd name="connsiteY2" fmla="*/ 12784 h 12784"/>
                  <a:gd name="connsiteX3" fmla="*/ 0 w 121456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56" h="12784">
                    <a:moveTo>
                      <a:pt x="0" y="0"/>
                    </a:moveTo>
                    <a:lnTo>
                      <a:pt x="121457" y="0"/>
                    </a:lnTo>
                    <a:lnTo>
                      <a:pt x="121457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0" name="Freeform: Shape 369">
                <a:extLst>
                  <a:ext uri="{FF2B5EF4-FFF2-40B4-BE49-F238E27FC236}">
                    <a16:creationId xmlns:a16="http://schemas.microsoft.com/office/drawing/2014/main" id="{EA6E0BF0-AA5D-4CA4-9038-7E095721CE5F}"/>
                  </a:ext>
                </a:extLst>
              </p:cNvPr>
              <p:cNvSpPr/>
              <p:nvPr/>
            </p:nvSpPr>
            <p:spPr>
              <a:xfrm>
                <a:off x="6918512" y="4329573"/>
                <a:ext cx="121456" cy="12784"/>
              </a:xfrm>
              <a:custGeom>
                <a:avLst/>
                <a:gdLst>
                  <a:gd name="connsiteX0" fmla="*/ 0 w 121456"/>
                  <a:gd name="connsiteY0" fmla="*/ 0 h 12784"/>
                  <a:gd name="connsiteX1" fmla="*/ 121457 w 121456"/>
                  <a:gd name="connsiteY1" fmla="*/ 0 h 12784"/>
                  <a:gd name="connsiteX2" fmla="*/ 121457 w 121456"/>
                  <a:gd name="connsiteY2" fmla="*/ 12784 h 12784"/>
                  <a:gd name="connsiteX3" fmla="*/ 0 w 121456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456" h="12784">
                    <a:moveTo>
                      <a:pt x="0" y="0"/>
                    </a:moveTo>
                    <a:lnTo>
                      <a:pt x="121457" y="0"/>
                    </a:lnTo>
                    <a:lnTo>
                      <a:pt x="121457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347B6117-841B-48CA-B648-D6F5A1372568}"/>
                  </a:ext>
                </a:extLst>
              </p:cNvPr>
              <p:cNvSpPr/>
              <p:nvPr/>
            </p:nvSpPr>
            <p:spPr>
              <a:xfrm>
                <a:off x="6937694" y="4534128"/>
                <a:ext cx="102274" cy="89490"/>
              </a:xfrm>
              <a:custGeom>
                <a:avLst/>
                <a:gdLst>
                  <a:gd name="connsiteX0" fmla="*/ 0 w 102274"/>
                  <a:gd name="connsiteY0" fmla="*/ 89490 h 89490"/>
                  <a:gd name="connsiteX1" fmla="*/ 102275 w 102274"/>
                  <a:gd name="connsiteY1" fmla="*/ 89490 h 89490"/>
                  <a:gd name="connsiteX2" fmla="*/ 102275 w 102274"/>
                  <a:gd name="connsiteY2" fmla="*/ 0 h 89490"/>
                  <a:gd name="connsiteX3" fmla="*/ 0 w 102274"/>
                  <a:gd name="connsiteY3" fmla="*/ 0 h 89490"/>
                  <a:gd name="connsiteX4" fmla="*/ 12784 w 102274"/>
                  <a:gd name="connsiteY4" fmla="*/ 12784 h 89490"/>
                  <a:gd name="connsiteX5" fmla="*/ 89490 w 102274"/>
                  <a:gd name="connsiteY5" fmla="*/ 12784 h 89490"/>
                  <a:gd name="connsiteX6" fmla="*/ 89490 w 102274"/>
                  <a:gd name="connsiteY6" fmla="*/ 76706 h 89490"/>
                  <a:gd name="connsiteX7" fmla="*/ 12784 w 102274"/>
                  <a:gd name="connsiteY7" fmla="*/ 76706 h 8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274" h="89490">
                    <a:moveTo>
                      <a:pt x="0" y="89490"/>
                    </a:moveTo>
                    <a:lnTo>
                      <a:pt x="102275" y="89490"/>
                    </a:lnTo>
                    <a:lnTo>
                      <a:pt x="102275" y="0"/>
                    </a:lnTo>
                    <a:lnTo>
                      <a:pt x="0" y="0"/>
                    </a:lnTo>
                    <a:close/>
                    <a:moveTo>
                      <a:pt x="12784" y="12784"/>
                    </a:moveTo>
                    <a:lnTo>
                      <a:pt x="89490" y="12784"/>
                    </a:lnTo>
                    <a:lnTo>
                      <a:pt x="89490" y="76706"/>
                    </a:lnTo>
                    <a:lnTo>
                      <a:pt x="12784" y="76706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1ED7518E-4A86-48CA-B561-E952A8920E07}"/>
                  </a:ext>
                </a:extLst>
              </p:cNvPr>
              <p:cNvSpPr/>
              <p:nvPr/>
            </p:nvSpPr>
            <p:spPr>
              <a:xfrm>
                <a:off x="6867375" y="4610823"/>
                <a:ext cx="57529" cy="12784"/>
              </a:xfrm>
              <a:custGeom>
                <a:avLst/>
                <a:gdLst>
                  <a:gd name="connsiteX0" fmla="*/ 0 w 57529"/>
                  <a:gd name="connsiteY0" fmla="*/ 0 h 12784"/>
                  <a:gd name="connsiteX1" fmla="*/ 57530 w 57529"/>
                  <a:gd name="connsiteY1" fmla="*/ 0 h 12784"/>
                  <a:gd name="connsiteX2" fmla="*/ 57530 w 57529"/>
                  <a:gd name="connsiteY2" fmla="*/ 12784 h 12784"/>
                  <a:gd name="connsiteX3" fmla="*/ 0 w 57529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529" h="12784">
                    <a:moveTo>
                      <a:pt x="0" y="0"/>
                    </a:moveTo>
                    <a:lnTo>
                      <a:pt x="57530" y="0"/>
                    </a:lnTo>
                    <a:lnTo>
                      <a:pt x="57530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BA744866-50BF-4FB2-A319-3C49176E1F60}"/>
                  </a:ext>
                </a:extLst>
              </p:cNvPr>
              <p:cNvSpPr/>
              <p:nvPr/>
            </p:nvSpPr>
            <p:spPr>
              <a:xfrm>
                <a:off x="6867375" y="4585254"/>
                <a:ext cx="57529" cy="12784"/>
              </a:xfrm>
              <a:custGeom>
                <a:avLst/>
                <a:gdLst>
                  <a:gd name="connsiteX0" fmla="*/ 0 w 57529"/>
                  <a:gd name="connsiteY0" fmla="*/ 0 h 12784"/>
                  <a:gd name="connsiteX1" fmla="*/ 57530 w 57529"/>
                  <a:gd name="connsiteY1" fmla="*/ 0 h 12784"/>
                  <a:gd name="connsiteX2" fmla="*/ 57530 w 57529"/>
                  <a:gd name="connsiteY2" fmla="*/ 12784 h 12784"/>
                  <a:gd name="connsiteX3" fmla="*/ 0 w 57529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529" h="12784">
                    <a:moveTo>
                      <a:pt x="0" y="0"/>
                    </a:moveTo>
                    <a:lnTo>
                      <a:pt x="57530" y="0"/>
                    </a:lnTo>
                    <a:lnTo>
                      <a:pt x="57530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00C5463B-F0A1-457A-81F8-949024B9FD0D}"/>
                  </a:ext>
                </a:extLst>
              </p:cNvPr>
              <p:cNvSpPr/>
              <p:nvPr/>
            </p:nvSpPr>
            <p:spPr>
              <a:xfrm>
                <a:off x="6867375" y="4559686"/>
                <a:ext cx="57529" cy="12784"/>
              </a:xfrm>
              <a:custGeom>
                <a:avLst/>
                <a:gdLst>
                  <a:gd name="connsiteX0" fmla="*/ 0 w 57529"/>
                  <a:gd name="connsiteY0" fmla="*/ 0 h 12784"/>
                  <a:gd name="connsiteX1" fmla="*/ 57530 w 57529"/>
                  <a:gd name="connsiteY1" fmla="*/ 0 h 12784"/>
                  <a:gd name="connsiteX2" fmla="*/ 57530 w 57529"/>
                  <a:gd name="connsiteY2" fmla="*/ 12784 h 12784"/>
                  <a:gd name="connsiteX3" fmla="*/ 0 w 57529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529" h="12784">
                    <a:moveTo>
                      <a:pt x="0" y="0"/>
                    </a:moveTo>
                    <a:lnTo>
                      <a:pt x="57530" y="0"/>
                    </a:lnTo>
                    <a:lnTo>
                      <a:pt x="57530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75" name="Freeform: Shape 374">
                <a:extLst>
                  <a:ext uri="{FF2B5EF4-FFF2-40B4-BE49-F238E27FC236}">
                    <a16:creationId xmlns:a16="http://schemas.microsoft.com/office/drawing/2014/main" id="{EF4C6DCB-2D5B-4F16-8D68-19F677A4961E}"/>
                  </a:ext>
                </a:extLst>
              </p:cNvPr>
              <p:cNvSpPr/>
              <p:nvPr/>
            </p:nvSpPr>
            <p:spPr>
              <a:xfrm>
                <a:off x="6867375" y="4534117"/>
                <a:ext cx="57529" cy="12784"/>
              </a:xfrm>
              <a:custGeom>
                <a:avLst/>
                <a:gdLst>
                  <a:gd name="connsiteX0" fmla="*/ 0 w 57529"/>
                  <a:gd name="connsiteY0" fmla="*/ 0 h 12784"/>
                  <a:gd name="connsiteX1" fmla="*/ 57530 w 57529"/>
                  <a:gd name="connsiteY1" fmla="*/ 0 h 12784"/>
                  <a:gd name="connsiteX2" fmla="*/ 57530 w 57529"/>
                  <a:gd name="connsiteY2" fmla="*/ 12784 h 12784"/>
                  <a:gd name="connsiteX3" fmla="*/ 0 w 57529"/>
                  <a:gd name="connsiteY3" fmla="*/ 12784 h 1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529" h="12784">
                    <a:moveTo>
                      <a:pt x="0" y="0"/>
                    </a:moveTo>
                    <a:lnTo>
                      <a:pt x="57530" y="0"/>
                    </a:lnTo>
                    <a:lnTo>
                      <a:pt x="57530" y="12784"/>
                    </a:lnTo>
                    <a:lnTo>
                      <a:pt x="0" y="12784"/>
                    </a:lnTo>
                    <a:close/>
                  </a:path>
                </a:pathLst>
              </a:custGeom>
              <a:grpFill/>
              <a:ln w="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76" name="TextBox 375">
              <a:extLst>
                <a:ext uri="{FF2B5EF4-FFF2-40B4-BE49-F238E27FC236}">
                  <a16:creationId xmlns:a16="http://schemas.microsoft.com/office/drawing/2014/main" id="{E94DC009-AF8E-4E27-AD91-7F4A48A09260}"/>
                </a:ext>
              </a:extLst>
            </p:cNvPr>
            <p:cNvSpPr txBox="1"/>
            <p:nvPr/>
          </p:nvSpPr>
          <p:spPr>
            <a:xfrm>
              <a:off x="6612199" y="4544170"/>
              <a:ext cx="78664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800">
                  <a:solidFill>
                    <a:schemeClr val="accent2"/>
                  </a:solidFill>
                  <a:latin typeface="Abadi" panose="020B0604020104020204" pitchFamily="34" charset="0"/>
                </a:rPr>
                <a:t>Marketing</a:t>
              </a:r>
              <a:endParaRPr lang="en-AU" sz="1000">
                <a:solidFill>
                  <a:schemeClr val="accent2"/>
                </a:solidFill>
                <a:latin typeface="Abadi" panose="020B0604020104020204" pitchFamily="34" charset="0"/>
              </a:endParaRPr>
            </a:p>
          </p:txBody>
        </p:sp>
        <p:pic>
          <p:nvPicPr>
            <p:cNvPr id="380" name="Graphic 379">
              <a:extLst>
                <a:ext uri="{FF2B5EF4-FFF2-40B4-BE49-F238E27FC236}">
                  <a16:creationId xmlns:a16="http://schemas.microsoft.com/office/drawing/2014/main" id="{CDE7B139-C54E-4F81-B66E-6D1B3243B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6796500" y="2278041"/>
              <a:ext cx="457200" cy="457200"/>
            </a:xfrm>
            <a:prstGeom prst="rect">
              <a:avLst/>
            </a:prstGeom>
          </p:spPr>
        </p:pic>
        <p:sp>
          <p:nvSpPr>
            <p:cNvPr id="381" name="TextBox 380">
              <a:extLst>
                <a:ext uri="{FF2B5EF4-FFF2-40B4-BE49-F238E27FC236}">
                  <a16:creationId xmlns:a16="http://schemas.microsoft.com/office/drawing/2014/main" id="{397CDEA2-BFCC-4487-8CB6-A1FE845FEF1E}"/>
                </a:ext>
              </a:extLst>
            </p:cNvPr>
            <p:cNvSpPr txBox="1"/>
            <p:nvPr/>
          </p:nvSpPr>
          <p:spPr>
            <a:xfrm>
              <a:off x="6746476" y="2643456"/>
              <a:ext cx="5180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Abadi" panose="020B0604020104020204" pitchFamily="34" charset="0"/>
                </a:defRPr>
              </a:lvl1pPr>
            </a:lstStyle>
            <a:p>
              <a:pPr algn="ctr"/>
              <a:r>
                <a:rPr lang="en-AU" sz="800" b="0">
                  <a:solidFill>
                    <a:schemeClr val="accent2"/>
                  </a:solidFill>
                </a:rPr>
                <a:t>Finance</a:t>
              </a:r>
              <a:endParaRPr lang="en-AU" b="0">
                <a:solidFill>
                  <a:schemeClr val="accent2"/>
                </a:solidFill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65CBF960-B558-42CD-84D4-49E835BA7E54}"/>
                </a:ext>
              </a:extLst>
            </p:cNvPr>
            <p:cNvSpPr/>
            <p:nvPr/>
          </p:nvSpPr>
          <p:spPr>
            <a:xfrm>
              <a:off x="6746476" y="2352459"/>
              <a:ext cx="608190" cy="1740002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err="1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CEAFC7A-CB71-4AC7-B5CE-A7CE675DD1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10839304" y="5064892"/>
              <a:ext cx="407365" cy="40736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7D27A08-14BA-4337-BA40-4F1C3FB623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660342" y="2900645"/>
              <a:ext cx="579123" cy="579123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4CFEA3CE-D798-4A75-8B93-E6A63AECF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648952" y="3500084"/>
              <a:ext cx="601903" cy="421111"/>
            </a:xfrm>
            <a:prstGeom prst="rect">
              <a:avLst/>
            </a:prstGeom>
          </p:spPr>
        </p:pic>
      </p:grpSp>
      <p:sp>
        <p:nvSpPr>
          <p:cNvPr id="383" name="Rectangle 382">
            <a:extLst>
              <a:ext uri="{FF2B5EF4-FFF2-40B4-BE49-F238E27FC236}">
                <a16:creationId xmlns:a16="http://schemas.microsoft.com/office/drawing/2014/main" id="{ACB0A5FB-59D8-4873-A039-DC2794F3BB9F}"/>
              </a:ext>
            </a:extLst>
          </p:cNvPr>
          <p:cNvSpPr/>
          <p:nvPr/>
        </p:nvSpPr>
        <p:spPr>
          <a:xfrm>
            <a:off x="2455361" y="112844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s-ES" sz="2000"/>
              <a:t>Enterprise Cloud Data </a:t>
            </a:r>
            <a:r>
              <a:rPr lang="es-ES" sz="2000" err="1"/>
              <a:t>Platform</a:t>
            </a:r>
            <a:r>
              <a:rPr lang="es-ES" sz="2000"/>
              <a:t> (ECDP) - </a:t>
            </a:r>
            <a:r>
              <a:rPr lang="es-ES" sz="2000" err="1"/>
              <a:t>Snowflake</a:t>
            </a:r>
            <a:endParaRPr lang="es-ES" sz="2000" kern="0"/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35FEB20C-2156-4DAC-BC2C-E5A62D2C6986}"/>
              </a:ext>
            </a:extLst>
          </p:cNvPr>
          <p:cNvSpPr/>
          <p:nvPr/>
        </p:nvSpPr>
        <p:spPr>
          <a:xfrm>
            <a:off x="-5290" y="116403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8C1F1E42-6B3D-46E6-B43B-D884BE8DF94C}"/>
              </a:ext>
            </a:extLst>
          </p:cNvPr>
          <p:cNvSpPr txBox="1">
            <a:spLocks/>
          </p:cNvSpPr>
          <p:nvPr/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i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rrent Status</a:t>
            </a:r>
          </a:p>
        </p:txBody>
      </p:sp>
      <p:pic>
        <p:nvPicPr>
          <p:cNvPr id="3" name="Picture 178">
            <a:extLst>
              <a:ext uri="{FF2B5EF4-FFF2-40B4-BE49-F238E27FC236}">
                <a16:creationId xmlns:a16="http://schemas.microsoft.com/office/drawing/2014/main" id="{22C98E91-E722-0918-8D8B-6ED4E7500979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215423" y="1572480"/>
            <a:ext cx="2025503" cy="28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3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10DDCD-9D7A-468A-BC05-724DF1DC6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10DDCD-9D7A-468A-BC05-724DF1DC6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9F407F65-85E9-41C0-9E91-9337618D32D9}"/>
              </a:ext>
            </a:extLst>
          </p:cNvPr>
          <p:cNvSpPr/>
          <p:nvPr/>
        </p:nvSpPr>
        <p:spPr>
          <a:xfrm>
            <a:off x="234297" y="2192605"/>
            <a:ext cx="2838981" cy="290213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30D324D-2706-4228-8144-6CE028C2DF1D}"/>
              </a:ext>
            </a:extLst>
          </p:cNvPr>
          <p:cNvSpPr/>
          <p:nvPr/>
        </p:nvSpPr>
        <p:spPr>
          <a:xfrm>
            <a:off x="421777" y="1893231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7E814C6C-0191-4809-9645-C7FEC000D7CF}"/>
              </a:ext>
            </a:extLst>
          </p:cNvPr>
          <p:cNvSpPr/>
          <p:nvPr/>
        </p:nvSpPr>
        <p:spPr>
          <a:xfrm>
            <a:off x="1138995" y="2010200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SI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756C86-9660-4710-B44C-45095A3EADEC}"/>
              </a:ext>
            </a:extLst>
          </p:cNvPr>
          <p:cNvSpPr txBox="1"/>
          <p:nvPr/>
        </p:nvSpPr>
        <p:spPr>
          <a:xfrm>
            <a:off x="234298" y="2489273"/>
            <a:ext cx="28389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Comm. Solutions Insights Hub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chemeClr val="accent4"/>
                </a:solidFill>
              </a:rPr>
              <a:t>Complete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Automation of data extraction from PSA &amp; </a:t>
            </a:r>
            <a:r>
              <a:rPr lang="en-US" sz="1200" err="1">
                <a:solidFill>
                  <a:schemeClr val="tx2"/>
                </a:solidFill>
              </a:rPr>
              <a:t>Smartsheets</a:t>
            </a:r>
            <a:endParaRPr lang="en-US" sz="120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Time savings of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60 hours month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– cost savings of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$23K year</a:t>
            </a:r>
            <a:endParaRPr lang="en-US" sz="1200" b="1">
              <a:solidFill>
                <a:schemeClr val="accent2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3</a:t>
            </a:r>
            <a:r>
              <a:rPr lang="en-US" sz="1200" baseline="30000">
                <a:solidFill>
                  <a:schemeClr val="tx2"/>
                </a:solidFill>
                <a:latin typeface="Arial"/>
                <a:cs typeface="Arial"/>
              </a:rPr>
              <a:t>rd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 party cost avoidance of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$34K</a:t>
            </a:r>
            <a:r>
              <a:rPr lang="en-US" sz="120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(Phase I) and potential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$700K</a:t>
            </a:r>
            <a:r>
              <a:rPr lang="en-US" sz="120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in future phases</a:t>
            </a:r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Go Live: </a:t>
            </a:r>
            <a:r>
              <a:rPr lang="en-US" sz="1200" b="1" i="1">
                <a:solidFill>
                  <a:schemeClr val="accent4"/>
                </a:solidFill>
                <a:latin typeface="Arial"/>
                <a:cs typeface="Arial"/>
              </a:rPr>
              <a:t>COMPLETED – Feb 2023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764327B-0382-42B7-8C65-C222DE6E2326}"/>
              </a:ext>
            </a:extLst>
          </p:cNvPr>
          <p:cNvSpPr/>
          <p:nvPr/>
        </p:nvSpPr>
        <p:spPr>
          <a:xfrm>
            <a:off x="3205343" y="2195011"/>
            <a:ext cx="2838981" cy="289916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707D47E-B1B5-45F6-81D7-2B146952DBAF}"/>
              </a:ext>
            </a:extLst>
          </p:cNvPr>
          <p:cNvSpPr/>
          <p:nvPr/>
        </p:nvSpPr>
        <p:spPr>
          <a:xfrm>
            <a:off x="3392823" y="1895637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B60C1F3D-0B60-4B53-B1A3-A84AE53E0008}"/>
              </a:ext>
            </a:extLst>
          </p:cNvPr>
          <p:cNvSpPr/>
          <p:nvPr/>
        </p:nvSpPr>
        <p:spPr>
          <a:xfrm>
            <a:off x="4110041" y="2010200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BU POD Report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693744E-88CD-44C1-8211-E07A056B9E3A}"/>
              </a:ext>
            </a:extLst>
          </p:cNvPr>
          <p:cNvSpPr txBox="1"/>
          <p:nvPr/>
        </p:nvSpPr>
        <p:spPr>
          <a:xfrm>
            <a:off x="3205344" y="2517507"/>
            <a:ext cx="283898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USBU Commercial Operations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chemeClr val="accent4"/>
                </a:solidFill>
              </a:rPr>
              <a:t>Complete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Automate the extraction and data transformation of Proof of Delivery report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Time savings of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35 hours month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– cost savings of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$14K year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. Higher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POD delivery frequency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and availability</a:t>
            </a:r>
          </a:p>
          <a:p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Go Live: </a:t>
            </a:r>
            <a:r>
              <a:rPr lang="en-US" sz="1200" b="1" i="1">
                <a:solidFill>
                  <a:schemeClr val="accent4"/>
                </a:solidFill>
                <a:latin typeface="Arial"/>
                <a:cs typeface="Arial"/>
              </a:rPr>
              <a:t>COMPLETED – Jan 2023</a:t>
            </a:r>
            <a:endParaRPr lang="en-US" sz="1200" i="1">
              <a:solidFill>
                <a:schemeClr val="accent4"/>
              </a:solidFill>
              <a:latin typeface="Arial"/>
              <a:cs typeface="Arial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53D5192-BEF6-4975-80BE-ADC21FBF8F98}"/>
              </a:ext>
            </a:extLst>
          </p:cNvPr>
          <p:cNvSpPr/>
          <p:nvPr/>
        </p:nvSpPr>
        <p:spPr>
          <a:xfrm>
            <a:off x="6176388" y="2195011"/>
            <a:ext cx="2838981" cy="289916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4EE57D6-739B-4C91-80B0-D5F779E60059}"/>
              </a:ext>
            </a:extLst>
          </p:cNvPr>
          <p:cNvSpPr/>
          <p:nvPr/>
        </p:nvSpPr>
        <p:spPr>
          <a:xfrm>
            <a:off x="6363868" y="1895637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2854DE08-B65C-437B-8DB4-7EA2C8A45004}"/>
              </a:ext>
            </a:extLst>
          </p:cNvPr>
          <p:cNvSpPr/>
          <p:nvPr/>
        </p:nvSpPr>
        <p:spPr>
          <a:xfrm>
            <a:off x="7081086" y="2010200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SE Monthly Account Dashboar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55A4CB3-50F8-4811-8549-241FB732D8D4}"/>
              </a:ext>
            </a:extLst>
          </p:cNvPr>
          <p:cNvSpPr txBox="1"/>
          <p:nvPr/>
        </p:nvSpPr>
        <p:spPr>
          <a:xfrm>
            <a:off x="6176389" y="2517507"/>
            <a:ext cx="283898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Global Sales Excellence &amp; Insights 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FFC000"/>
                </a:solidFill>
              </a:rPr>
              <a:t>Development - Testing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Automate monthly dashboard process of global financial customers &amp; executive dashboards for IQVIA top 60 accounts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>
                <a:solidFill>
                  <a:schemeClr val="tx2"/>
                </a:solidFill>
                <a:cs typeface="Arial"/>
              </a:rPr>
              <a:t>Time savings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of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120 hours month.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Accurate reporting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for sales incentives.</a:t>
            </a:r>
          </a:p>
          <a:p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Go Live: </a:t>
            </a:r>
            <a:r>
              <a:rPr lang="en-US" sz="1200" b="1" i="1">
                <a:solidFill>
                  <a:srgbClr val="FFC000"/>
                </a:solidFill>
                <a:latin typeface="Arial"/>
                <a:cs typeface="Arial"/>
              </a:rPr>
              <a:t>Estimated</a:t>
            </a:r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 </a:t>
            </a:r>
            <a:r>
              <a:rPr lang="en-US" sz="1200" b="1" i="1">
                <a:solidFill>
                  <a:srgbClr val="FFC000"/>
                </a:solidFill>
                <a:latin typeface="Arial"/>
                <a:cs typeface="Arial"/>
              </a:rPr>
              <a:t>Feb 2023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B6C62E9-9A96-4175-B331-8FF6044D82FF}"/>
              </a:ext>
            </a:extLst>
          </p:cNvPr>
          <p:cNvSpPr/>
          <p:nvPr/>
        </p:nvSpPr>
        <p:spPr>
          <a:xfrm>
            <a:off x="9158766" y="2195011"/>
            <a:ext cx="2838981" cy="289916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91EE23C-78FB-4E82-9E72-40C8A1DE4E50}"/>
              </a:ext>
            </a:extLst>
          </p:cNvPr>
          <p:cNvSpPr/>
          <p:nvPr/>
        </p:nvSpPr>
        <p:spPr>
          <a:xfrm>
            <a:off x="9346246" y="1997234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6AD4D76B-2C0A-4A2E-99E2-8DD33A766BB7}"/>
              </a:ext>
            </a:extLst>
          </p:cNvPr>
          <p:cNvSpPr/>
          <p:nvPr/>
        </p:nvSpPr>
        <p:spPr>
          <a:xfrm>
            <a:off x="10063464" y="2010200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Sci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pportunity Track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787DFA-FD49-4BF2-B543-A019CA7A6609}"/>
              </a:ext>
            </a:extLst>
          </p:cNvPr>
          <p:cNvSpPr txBox="1"/>
          <p:nvPr/>
        </p:nvSpPr>
        <p:spPr>
          <a:xfrm>
            <a:off x="9158767" y="2517507"/>
            <a:ext cx="28389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US RWES – Medical Scientific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FFC000"/>
                </a:solidFill>
              </a:rPr>
              <a:t>Development 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Automate the extraction and data transformation of Proof of Delivery report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>
                <a:solidFill>
                  <a:srgbClr val="2B3A42"/>
                </a:solidFill>
                <a:latin typeface="Arial"/>
                <a:cs typeface="Arial"/>
              </a:rPr>
              <a:t>Sales / Go to Market  Strategy -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increase sales win rate &amp; identify revenue streamlines </a:t>
            </a:r>
          </a:p>
          <a:p>
            <a:pPr>
              <a:spcAft>
                <a:spcPts val="600"/>
              </a:spcAft>
            </a:pPr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sz="1200" b="1">
              <a:solidFill>
                <a:schemeClr val="accent2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Go Live: </a:t>
            </a:r>
            <a:r>
              <a:rPr lang="en-US" sz="1200" b="1" i="1">
                <a:solidFill>
                  <a:srgbClr val="FFC000"/>
                </a:solidFill>
                <a:latin typeface="Arial"/>
                <a:cs typeface="Arial"/>
              </a:rPr>
              <a:t>Estimated</a:t>
            </a:r>
            <a:r>
              <a:rPr lang="en-US" sz="1200" b="1">
                <a:solidFill>
                  <a:schemeClr val="accent2"/>
                </a:solidFill>
                <a:latin typeface="Arial"/>
                <a:cs typeface="Arial"/>
              </a:rPr>
              <a:t> </a:t>
            </a:r>
            <a:r>
              <a:rPr lang="en-US" sz="1200" b="1" i="1">
                <a:solidFill>
                  <a:srgbClr val="FFC000"/>
                </a:solidFill>
                <a:latin typeface="Arial"/>
                <a:cs typeface="Arial"/>
              </a:rPr>
              <a:t>Feb 2023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654847C7-6569-41C0-B82F-BE4C6DEB1C34}"/>
              </a:ext>
            </a:extLst>
          </p:cNvPr>
          <p:cNvSpPr/>
          <p:nvPr/>
        </p:nvSpPr>
        <p:spPr>
          <a:xfrm>
            <a:off x="2508194" y="10424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s Overview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51FCDB8-6EA9-41E4-BC08-0EDE145C69A4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&amp;A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FB2093-D0BF-4354-A627-428750C72B88}"/>
              </a:ext>
            </a:extLst>
          </p:cNvPr>
          <p:cNvSpPr txBox="1"/>
          <p:nvPr/>
        </p:nvSpPr>
        <p:spPr>
          <a:xfrm>
            <a:off x="61812" y="6163026"/>
            <a:ext cx="2638568" cy="6229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 u="sng">
                <a:cs typeface="Arial"/>
              </a:rPr>
              <a:t>Legend</a:t>
            </a:r>
          </a:p>
          <a:p>
            <a:r>
              <a:rPr lang="en-US" sz="1100" b="1">
                <a:solidFill>
                  <a:schemeClr val="accent1"/>
                </a:solidFill>
                <a:ea typeface="+mn-lt"/>
                <a:cs typeface="+mn-lt"/>
              </a:rPr>
              <a:t>Cost Savings / Revenue increase</a:t>
            </a:r>
            <a:endParaRPr lang="en-US">
              <a:solidFill>
                <a:schemeClr val="accent1"/>
              </a:solidFill>
              <a:cs typeface="Arial" panose="020B0604020202020204"/>
            </a:endParaRPr>
          </a:p>
          <a:p>
            <a:r>
              <a:rPr lang="en-US" sz="11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Accurate Reporting, Time Savings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  <a:cs typeface="Arial" panose="020B0604020202020204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F280E36-9B99-4D79-B7D1-EC869DB495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7551" y="98977"/>
            <a:ext cx="1694449" cy="80673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BB13E01-49A6-4B07-B6E7-E980E32BED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85968" y="1856617"/>
            <a:ext cx="943447" cy="684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8D22311-7B8E-445D-93B7-2321BBDC72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4296" y="1833507"/>
            <a:ext cx="943448" cy="684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E239D9A-A48D-463B-983A-EB50D5A5DB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2974" y="1833507"/>
            <a:ext cx="941608" cy="684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79740D-5EE5-4041-B378-F9475056E1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02849" y="1856617"/>
            <a:ext cx="93272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19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10DDCD-9D7A-468A-BC05-724DF1DC6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10DDCD-9D7A-468A-BC05-724DF1DC6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93FB2093-D0BF-4354-A627-428750C72B88}"/>
              </a:ext>
            </a:extLst>
          </p:cNvPr>
          <p:cNvSpPr txBox="1"/>
          <p:nvPr/>
        </p:nvSpPr>
        <p:spPr>
          <a:xfrm>
            <a:off x="61812" y="6163026"/>
            <a:ext cx="2638568" cy="6229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 u="sng">
                <a:cs typeface="Arial"/>
              </a:rPr>
              <a:t>Legend</a:t>
            </a:r>
          </a:p>
          <a:p>
            <a:r>
              <a:rPr lang="en-US" sz="1100" b="1">
                <a:solidFill>
                  <a:schemeClr val="accent1"/>
                </a:solidFill>
                <a:ea typeface="+mn-lt"/>
                <a:cs typeface="+mn-lt"/>
              </a:rPr>
              <a:t>Cost Savings / Revenue increase</a:t>
            </a:r>
            <a:endParaRPr lang="en-US">
              <a:solidFill>
                <a:schemeClr val="accent1"/>
              </a:solidFill>
              <a:cs typeface="Arial" panose="020B0604020202020204"/>
            </a:endParaRPr>
          </a:p>
          <a:p>
            <a:r>
              <a:rPr lang="en-US" sz="1100" b="1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Accurate Reporting, Time Savings</a:t>
            </a:r>
            <a:endParaRPr lang="en-US">
              <a:solidFill>
                <a:schemeClr val="tx1">
                  <a:lumMod val="60000"/>
                  <a:lumOff val="40000"/>
                </a:schemeClr>
              </a:solidFill>
              <a:cs typeface="Arial" panose="020B0604020202020204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7861933-079E-425A-8B89-66ADD8829AD1}"/>
              </a:ext>
            </a:extLst>
          </p:cNvPr>
          <p:cNvSpPr/>
          <p:nvPr/>
        </p:nvSpPr>
        <p:spPr>
          <a:xfrm>
            <a:off x="237627" y="2214031"/>
            <a:ext cx="2838981" cy="29160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E33737-6985-49E3-8388-A080A6E5109C}"/>
              </a:ext>
            </a:extLst>
          </p:cNvPr>
          <p:cNvSpPr/>
          <p:nvPr/>
        </p:nvSpPr>
        <p:spPr>
          <a:xfrm>
            <a:off x="1302125" y="1903617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D7D8D04D-95ED-4DF6-896B-2030E9CFE589}"/>
              </a:ext>
            </a:extLst>
          </p:cNvPr>
          <p:cNvSpPr/>
          <p:nvPr/>
        </p:nvSpPr>
        <p:spPr>
          <a:xfrm>
            <a:off x="1142325" y="2039071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CAN Business Metric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9B30B91-9996-4372-A40D-6F0BB7AD08DF}"/>
              </a:ext>
            </a:extLst>
          </p:cNvPr>
          <p:cNvSpPr txBox="1"/>
          <p:nvPr/>
        </p:nvSpPr>
        <p:spPr>
          <a:xfrm>
            <a:off x="237628" y="2543972"/>
            <a:ext cx="2838980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Finance USCAN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FFC000"/>
                </a:solidFill>
              </a:rPr>
              <a:t>Development 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Creation of new report and slides for the OE Analysis for USCAN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dentify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st reduction of overall $57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BU target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FAE106F-FD1A-42D2-9F3D-0DD24C93A879}"/>
              </a:ext>
            </a:extLst>
          </p:cNvPr>
          <p:cNvSpPr/>
          <p:nvPr/>
        </p:nvSpPr>
        <p:spPr>
          <a:xfrm>
            <a:off x="3208674" y="2214031"/>
            <a:ext cx="2838981" cy="29160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C9E37FF-81DA-464D-8072-B906527D3C7E}"/>
              </a:ext>
            </a:extLst>
          </p:cNvPr>
          <p:cNvSpPr/>
          <p:nvPr/>
        </p:nvSpPr>
        <p:spPr>
          <a:xfrm>
            <a:off x="3396154" y="1914656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67A0CC2-54D3-4893-8E17-03A1186C0F0D}"/>
              </a:ext>
            </a:extLst>
          </p:cNvPr>
          <p:cNvSpPr/>
          <p:nvPr/>
        </p:nvSpPr>
        <p:spPr>
          <a:xfrm>
            <a:off x="4113372" y="2031625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S Data Wareho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C02130B-CBEF-413A-9101-104E76F7D9AF}"/>
              </a:ext>
            </a:extLst>
          </p:cNvPr>
          <p:cNvSpPr txBox="1"/>
          <p:nvPr/>
        </p:nvSpPr>
        <p:spPr>
          <a:xfrm>
            <a:off x="3208675" y="2536526"/>
            <a:ext cx="2838980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Business Operations - Translations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FFC000"/>
                </a:solidFill>
              </a:rPr>
              <a:t>Development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Build Data Warehouse to integrate different data sources and perform real time analytics for translations team (currently does not exist)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Cost avoidance with 3rd party, </a:t>
            </a:r>
            <a:r>
              <a:rPr lang="en-US"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enable Go to Market Strategy 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20E8BAA-920C-4B2B-BACD-FA4C80A39E47}"/>
              </a:ext>
            </a:extLst>
          </p:cNvPr>
          <p:cNvSpPr/>
          <p:nvPr/>
        </p:nvSpPr>
        <p:spPr>
          <a:xfrm>
            <a:off x="6179720" y="2214031"/>
            <a:ext cx="2838981" cy="29160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F92E6D9-531F-4BC4-8BFC-9F5926A4C225}"/>
              </a:ext>
            </a:extLst>
          </p:cNvPr>
          <p:cNvSpPr/>
          <p:nvPr/>
        </p:nvSpPr>
        <p:spPr>
          <a:xfrm>
            <a:off x="6367200" y="1917062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6AC197DE-C0A0-4181-8A9F-6DFEFF0F19B9}"/>
              </a:ext>
            </a:extLst>
          </p:cNvPr>
          <p:cNvSpPr/>
          <p:nvPr/>
        </p:nvSpPr>
        <p:spPr>
          <a:xfrm>
            <a:off x="7084418" y="2034031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las Internal Projec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3EAC619-FF84-43CB-9E31-2D92FE427FD8}"/>
              </a:ext>
            </a:extLst>
          </p:cNvPr>
          <p:cNvSpPr txBox="1"/>
          <p:nvPr/>
        </p:nvSpPr>
        <p:spPr>
          <a:xfrm>
            <a:off x="6179721" y="2538932"/>
            <a:ext cx="2838980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100">
                <a:solidFill>
                  <a:schemeClr val="tx2"/>
                </a:solidFill>
              </a:rPr>
              <a:t>Business Operations – ED&amp;A (Internal)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FFC000"/>
                </a:solidFill>
              </a:rPr>
              <a:t>Development 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ED&amp;A Global Product that combines data across IQVIA systems to provide real time data &amp; analytics to our partners 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Cost Savings identification, Upside </a:t>
            </a:r>
            <a:r>
              <a:rPr lang="en-US" sz="1200" b="1" err="1">
                <a:solidFill>
                  <a:schemeClr val="accent1"/>
                </a:solidFill>
                <a:latin typeface="Arial"/>
                <a:cs typeface="Arial"/>
              </a:rPr>
              <a:t>Opps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 identification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A31CAEA-32E5-46CB-90F0-C5EE3359F590}"/>
              </a:ext>
            </a:extLst>
          </p:cNvPr>
          <p:cNvSpPr/>
          <p:nvPr/>
        </p:nvSpPr>
        <p:spPr>
          <a:xfrm>
            <a:off x="9162098" y="2214031"/>
            <a:ext cx="2838981" cy="29160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F533B2E-9FBE-47B9-8A03-74570D167EE2}"/>
              </a:ext>
            </a:extLst>
          </p:cNvPr>
          <p:cNvSpPr/>
          <p:nvPr/>
        </p:nvSpPr>
        <p:spPr>
          <a:xfrm>
            <a:off x="9349578" y="1917062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B099D403-E64F-4877-BC5B-94C03E74EAE0}"/>
              </a:ext>
            </a:extLst>
          </p:cNvPr>
          <p:cNvSpPr/>
          <p:nvPr/>
        </p:nvSpPr>
        <p:spPr>
          <a:xfrm>
            <a:off x="10066796" y="2034031"/>
            <a:ext cx="1438183" cy="360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575554E-384D-4491-969B-550FD87BF228}"/>
              </a:ext>
            </a:extLst>
          </p:cNvPr>
          <p:cNvSpPr txBox="1"/>
          <p:nvPr/>
        </p:nvSpPr>
        <p:spPr>
          <a:xfrm>
            <a:off x="9162099" y="2538932"/>
            <a:ext cx="283898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Area: </a:t>
            </a:r>
            <a:r>
              <a:rPr lang="en-US" sz="1200">
                <a:solidFill>
                  <a:schemeClr val="tx2"/>
                </a:solidFill>
              </a:rPr>
              <a:t>Commercial Solutions – Offering Dev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Status: </a:t>
            </a:r>
            <a:r>
              <a:rPr lang="en-US" sz="1200" b="1" i="1">
                <a:solidFill>
                  <a:srgbClr val="7030A0"/>
                </a:solidFill>
              </a:rPr>
              <a:t>Assessment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Goal: </a:t>
            </a:r>
            <a:r>
              <a:rPr lang="en-US" sz="1200">
                <a:solidFill>
                  <a:schemeClr val="tx2"/>
                </a:solidFill>
              </a:rPr>
              <a:t>Creation of Dashboard to track and accelerate IQVIA growth on Launches</a:t>
            </a:r>
          </a:p>
          <a:p>
            <a:pPr>
              <a:spcAft>
                <a:spcPts val="600"/>
              </a:spcAft>
            </a:pPr>
            <a:r>
              <a:rPr lang="en-US" sz="1200" b="1">
                <a:solidFill>
                  <a:schemeClr val="accent2"/>
                </a:solidFill>
              </a:rPr>
              <a:t>Business Case: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Support Business growth (RIH) in 2023 of </a:t>
            </a:r>
            <a:r>
              <a:rPr lang="en-US" sz="1200" b="1">
                <a:solidFill>
                  <a:schemeClr val="accent1"/>
                </a:solidFill>
                <a:latin typeface="Arial"/>
                <a:cs typeface="Arial"/>
              </a:rPr>
              <a:t>+44M$ across priority Launches. </a:t>
            </a:r>
            <a:r>
              <a:rPr lang="en-US" sz="1200">
                <a:solidFill>
                  <a:schemeClr val="tx2"/>
                </a:solidFill>
                <a:latin typeface="Arial"/>
                <a:cs typeface="Arial"/>
              </a:rPr>
              <a:t>Reduction of time spent in QC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A922524-6C5E-4356-8280-244FED61E5C3}"/>
              </a:ext>
            </a:extLst>
          </p:cNvPr>
          <p:cNvSpPr/>
          <p:nvPr/>
        </p:nvSpPr>
        <p:spPr>
          <a:xfrm>
            <a:off x="420184" y="1938190"/>
            <a:ext cx="529738" cy="52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408EEC-7B91-4BF1-906D-4A68C6D776AD}"/>
              </a:ext>
            </a:extLst>
          </p:cNvPr>
          <p:cNvSpPr/>
          <p:nvPr/>
        </p:nvSpPr>
        <p:spPr>
          <a:xfrm>
            <a:off x="2508194" y="104249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s Overview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4F25416-61A1-417C-BD75-E58EFB24ECC0}"/>
              </a:ext>
            </a:extLst>
          </p:cNvPr>
          <p:cNvSpPr/>
          <p:nvPr/>
        </p:nvSpPr>
        <p:spPr>
          <a:xfrm>
            <a:off x="-5290" y="107855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&amp;A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5D07BBF-FF65-47ED-8A02-C3D5CF2579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7551" y="98977"/>
            <a:ext cx="1694449" cy="80673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8097992-5C0B-447E-BF9F-03EE52099B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512" y="1877071"/>
            <a:ext cx="1044530" cy="684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8B6108F-546B-4A13-ABE8-861E113A98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3055" y="1859972"/>
            <a:ext cx="943447" cy="6840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497896D-8853-4476-A542-89ACA4ADFF0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9719" y="1859972"/>
            <a:ext cx="946821" cy="6840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F031F74-6A56-4A26-B25A-16909BB94F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62097" y="1877071"/>
            <a:ext cx="946821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3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5F2044D-1B47-4153-A980-0AE09BCFC19C}"/>
              </a:ext>
            </a:extLst>
          </p:cNvPr>
          <p:cNvSpPr/>
          <p:nvPr/>
        </p:nvSpPr>
        <p:spPr>
          <a:xfrm>
            <a:off x="7091687" y="3453056"/>
            <a:ext cx="1498780" cy="6457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6B338AE8-A845-4244-A5F0-E7202690CA67}"/>
              </a:ext>
            </a:extLst>
          </p:cNvPr>
          <p:cNvSpPr/>
          <p:nvPr/>
        </p:nvSpPr>
        <p:spPr>
          <a:xfrm>
            <a:off x="8807811" y="3453474"/>
            <a:ext cx="2198229" cy="645736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3BE239B-9EFA-4EF6-AAD8-D8341D9C4267}"/>
              </a:ext>
            </a:extLst>
          </p:cNvPr>
          <p:cNvSpPr/>
          <p:nvPr/>
        </p:nvSpPr>
        <p:spPr>
          <a:xfrm>
            <a:off x="5538833" y="3453473"/>
            <a:ext cx="1300695" cy="645317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9754E2-F0DF-4ACB-8FFE-6607F1D06DCC}"/>
              </a:ext>
            </a:extLst>
          </p:cNvPr>
          <p:cNvSpPr/>
          <p:nvPr/>
        </p:nvSpPr>
        <p:spPr>
          <a:xfrm>
            <a:off x="2455361" y="95418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GSE&amp;I Monthly Dashboard</a:t>
            </a:r>
            <a:endParaRPr lang="en-US" sz="2400" kern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F2A5D4-0B7C-4B84-9FD0-2BB5CF482F31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44" name="Diagrama de flujo: operación manual 3">
            <a:extLst>
              <a:ext uri="{FF2B5EF4-FFF2-40B4-BE49-F238E27FC236}">
                <a16:creationId xmlns:a16="http://schemas.microsoft.com/office/drawing/2014/main" id="{7EEB1677-B37B-4753-9D15-28588C6923E5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6EBF07F-42E2-4742-A17D-CE550EAF83BB}"/>
              </a:ext>
            </a:extLst>
          </p:cNvPr>
          <p:cNvSpPr/>
          <p:nvPr/>
        </p:nvSpPr>
        <p:spPr>
          <a:xfrm>
            <a:off x="1293601" y="1761273"/>
            <a:ext cx="2842087" cy="871480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70" name="Rectangle: Rounded Corners 28">
            <a:extLst>
              <a:ext uri="{FF2B5EF4-FFF2-40B4-BE49-F238E27FC236}">
                <a16:creationId xmlns:a16="http://schemas.microsoft.com/office/drawing/2014/main" id="{B24752AE-C80A-47FB-B83E-78DB4B50D7E0}"/>
              </a:ext>
            </a:extLst>
          </p:cNvPr>
          <p:cNvSpPr/>
          <p:nvPr/>
        </p:nvSpPr>
        <p:spPr bwMode="auto">
          <a:xfrm>
            <a:off x="1942747" y="169049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TEAM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E991AB8-3E84-443B-BD44-7978A2048F04}"/>
              </a:ext>
            </a:extLst>
          </p:cNvPr>
          <p:cNvGrpSpPr/>
          <p:nvPr/>
        </p:nvGrpSpPr>
        <p:grpSpPr>
          <a:xfrm>
            <a:off x="932681" y="1640654"/>
            <a:ext cx="618434" cy="1093513"/>
            <a:chOff x="423269" y="3504204"/>
            <a:chExt cx="1310876" cy="2478694"/>
          </a:xfrm>
        </p:grpSpPr>
        <p:sp>
          <p:nvSpPr>
            <p:cNvPr id="103" name="Freeform 3">
              <a:extLst>
                <a:ext uri="{FF2B5EF4-FFF2-40B4-BE49-F238E27FC236}">
                  <a16:creationId xmlns:a16="http://schemas.microsoft.com/office/drawing/2014/main" id="{3832A323-BF09-416A-B92B-2BF34546FF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269" y="3504204"/>
              <a:ext cx="538068" cy="2161714"/>
            </a:xfrm>
            <a:custGeom>
              <a:avLst/>
              <a:gdLst>
                <a:gd name="T0" fmla="*/ 280 w 287"/>
                <a:gd name="T1" fmla="*/ 271 h 1160"/>
                <a:gd name="T2" fmla="*/ 247 w 287"/>
                <a:gd name="T3" fmla="*/ 188 h 1160"/>
                <a:gd name="T4" fmla="*/ 213 w 287"/>
                <a:gd name="T5" fmla="*/ 135 h 1160"/>
                <a:gd name="T6" fmla="*/ 181 w 287"/>
                <a:gd name="T7" fmla="*/ 23 h 1160"/>
                <a:gd name="T8" fmla="*/ 82 w 287"/>
                <a:gd name="T9" fmla="*/ 57 h 1160"/>
                <a:gd name="T10" fmla="*/ 76 w 287"/>
                <a:gd name="T11" fmla="*/ 189 h 1160"/>
                <a:gd name="T12" fmla="*/ 40 w 287"/>
                <a:gd name="T13" fmla="*/ 237 h 1160"/>
                <a:gd name="T14" fmla="*/ 4 w 287"/>
                <a:gd name="T15" fmla="*/ 366 h 1160"/>
                <a:gd name="T16" fmla="*/ 7 w 287"/>
                <a:gd name="T17" fmla="*/ 412 h 1160"/>
                <a:gd name="T18" fmla="*/ 40 w 287"/>
                <a:gd name="T19" fmla="*/ 467 h 1160"/>
                <a:gd name="T20" fmla="*/ 35 w 287"/>
                <a:gd name="T21" fmla="*/ 546 h 1160"/>
                <a:gd name="T22" fmla="*/ 27 w 287"/>
                <a:gd name="T23" fmla="*/ 759 h 1160"/>
                <a:gd name="T24" fmla="*/ 47 w 287"/>
                <a:gd name="T25" fmla="*/ 843 h 1160"/>
                <a:gd name="T26" fmla="*/ 75 w 287"/>
                <a:gd name="T27" fmla="*/ 1036 h 1160"/>
                <a:gd name="T28" fmla="*/ 44 w 287"/>
                <a:gd name="T29" fmla="*/ 1127 h 1160"/>
                <a:gd name="T30" fmla="*/ 70 w 287"/>
                <a:gd name="T31" fmla="*/ 1155 h 1160"/>
                <a:gd name="T32" fmla="*/ 108 w 287"/>
                <a:gd name="T33" fmla="*/ 1107 h 1160"/>
                <a:gd name="T34" fmla="*/ 107 w 287"/>
                <a:gd name="T35" fmla="*/ 1141 h 1160"/>
                <a:gd name="T36" fmla="*/ 119 w 287"/>
                <a:gd name="T37" fmla="*/ 1132 h 1160"/>
                <a:gd name="T38" fmla="*/ 117 w 287"/>
                <a:gd name="T39" fmla="*/ 1050 h 1160"/>
                <a:gd name="T40" fmla="*/ 115 w 287"/>
                <a:gd name="T41" fmla="*/ 885 h 1160"/>
                <a:gd name="T42" fmla="*/ 167 w 287"/>
                <a:gd name="T43" fmla="*/ 851 h 1160"/>
                <a:gd name="T44" fmla="*/ 169 w 287"/>
                <a:gd name="T45" fmla="*/ 977 h 1160"/>
                <a:gd name="T46" fmla="*/ 154 w 287"/>
                <a:gd name="T47" fmla="*/ 1096 h 1160"/>
                <a:gd name="T48" fmla="*/ 148 w 287"/>
                <a:gd name="T49" fmla="*/ 1159 h 1160"/>
                <a:gd name="T50" fmla="*/ 205 w 287"/>
                <a:gd name="T51" fmla="*/ 1104 h 1160"/>
                <a:gd name="T52" fmla="*/ 202 w 287"/>
                <a:gd name="T53" fmla="*/ 1043 h 1160"/>
                <a:gd name="T54" fmla="*/ 234 w 287"/>
                <a:gd name="T55" fmla="*/ 852 h 1160"/>
                <a:gd name="T56" fmla="*/ 251 w 287"/>
                <a:gd name="T57" fmla="*/ 721 h 1160"/>
                <a:gd name="T58" fmla="*/ 265 w 287"/>
                <a:gd name="T59" fmla="*/ 535 h 1160"/>
                <a:gd name="T60" fmla="*/ 258 w 287"/>
                <a:gd name="T61" fmla="*/ 449 h 1160"/>
                <a:gd name="T62" fmla="*/ 244 w 287"/>
                <a:gd name="T63" fmla="*/ 388 h 1160"/>
                <a:gd name="T64" fmla="*/ 102 w 287"/>
                <a:gd name="T65" fmla="*/ 452 h 1160"/>
                <a:gd name="T66" fmla="*/ 114 w 287"/>
                <a:gd name="T67" fmla="*/ 452 h 1160"/>
                <a:gd name="T68" fmla="*/ 168 w 287"/>
                <a:gd name="T69" fmla="*/ 213 h 1160"/>
                <a:gd name="T70" fmla="*/ 117 w 287"/>
                <a:gd name="T71" fmla="*/ 344 h 1160"/>
                <a:gd name="T72" fmla="*/ 114 w 287"/>
                <a:gd name="T73" fmla="*/ 257 h 1160"/>
                <a:gd name="T74" fmla="*/ 102 w 287"/>
                <a:gd name="T75" fmla="*/ 205 h 1160"/>
                <a:gd name="T76" fmla="*/ 134 w 287"/>
                <a:gd name="T77" fmla="*/ 223 h 1160"/>
                <a:gd name="T78" fmla="*/ 152 w 287"/>
                <a:gd name="T79" fmla="*/ 222 h 1160"/>
                <a:gd name="T80" fmla="*/ 159 w 287"/>
                <a:gd name="T81" fmla="*/ 184 h 1160"/>
                <a:gd name="T82" fmla="*/ 189 w 287"/>
                <a:gd name="T83" fmla="*/ 176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1160">
                  <a:moveTo>
                    <a:pt x="257" y="366"/>
                  </a:moveTo>
                  <a:cubicBezTo>
                    <a:pt x="258" y="353"/>
                    <a:pt x="279" y="285"/>
                    <a:pt x="280" y="271"/>
                  </a:cubicBezTo>
                  <a:cubicBezTo>
                    <a:pt x="281" y="257"/>
                    <a:pt x="287" y="214"/>
                    <a:pt x="282" y="199"/>
                  </a:cubicBezTo>
                  <a:cubicBezTo>
                    <a:pt x="277" y="183"/>
                    <a:pt x="247" y="188"/>
                    <a:pt x="247" y="188"/>
                  </a:cubicBezTo>
                  <a:cubicBezTo>
                    <a:pt x="247" y="188"/>
                    <a:pt x="240" y="172"/>
                    <a:pt x="226" y="168"/>
                  </a:cubicBezTo>
                  <a:cubicBezTo>
                    <a:pt x="211" y="164"/>
                    <a:pt x="229" y="145"/>
                    <a:pt x="213" y="135"/>
                  </a:cubicBezTo>
                  <a:cubicBezTo>
                    <a:pt x="203" y="128"/>
                    <a:pt x="206" y="92"/>
                    <a:pt x="202" y="78"/>
                  </a:cubicBezTo>
                  <a:cubicBezTo>
                    <a:pt x="199" y="64"/>
                    <a:pt x="190" y="35"/>
                    <a:pt x="181" y="23"/>
                  </a:cubicBezTo>
                  <a:cubicBezTo>
                    <a:pt x="171" y="10"/>
                    <a:pt x="152" y="17"/>
                    <a:pt x="152" y="17"/>
                  </a:cubicBezTo>
                  <a:cubicBezTo>
                    <a:pt x="108" y="0"/>
                    <a:pt x="86" y="37"/>
                    <a:pt x="82" y="57"/>
                  </a:cubicBezTo>
                  <a:cubicBezTo>
                    <a:pt x="79" y="77"/>
                    <a:pt x="89" y="114"/>
                    <a:pt x="77" y="140"/>
                  </a:cubicBezTo>
                  <a:cubicBezTo>
                    <a:pt x="66" y="165"/>
                    <a:pt x="91" y="174"/>
                    <a:pt x="76" y="189"/>
                  </a:cubicBezTo>
                  <a:cubicBezTo>
                    <a:pt x="60" y="203"/>
                    <a:pt x="74" y="208"/>
                    <a:pt x="59" y="215"/>
                  </a:cubicBezTo>
                  <a:cubicBezTo>
                    <a:pt x="45" y="221"/>
                    <a:pt x="40" y="224"/>
                    <a:pt x="40" y="237"/>
                  </a:cubicBezTo>
                  <a:cubicBezTo>
                    <a:pt x="40" y="250"/>
                    <a:pt x="28" y="284"/>
                    <a:pt x="22" y="314"/>
                  </a:cubicBezTo>
                  <a:cubicBezTo>
                    <a:pt x="15" y="344"/>
                    <a:pt x="8" y="355"/>
                    <a:pt x="4" y="366"/>
                  </a:cubicBezTo>
                  <a:cubicBezTo>
                    <a:pt x="0" y="378"/>
                    <a:pt x="2" y="382"/>
                    <a:pt x="4" y="388"/>
                  </a:cubicBezTo>
                  <a:cubicBezTo>
                    <a:pt x="6" y="393"/>
                    <a:pt x="7" y="394"/>
                    <a:pt x="7" y="412"/>
                  </a:cubicBezTo>
                  <a:cubicBezTo>
                    <a:pt x="7" y="431"/>
                    <a:pt x="38" y="434"/>
                    <a:pt x="38" y="434"/>
                  </a:cubicBezTo>
                  <a:cubicBezTo>
                    <a:pt x="38" y="434"/>
                    <a:pt x="40" y="451"/>
                    <a:pt x="40" y="467"/>
                  </a:cubicBezTo>
                  <a:cubicBezTo>
                    <a:pt x="40" y="482"/>
                    <a:pt x="30" y="526"/>
                    <a:pt x="28" y="538"/>
                  </a:cubicBezTo>
                  <a:cubicBezTo>
                    <a:pt x="26" y="550"/>
                    <a:pt x="35" y="546"/>
                    <a:pt x="35" y="546"/>
                  </a:cubicBezTo>
                  <a:cubicBezTo>
                    <a:pt x="35" y="546"/>
                    <a:pt x="35" y="559"/>
                    <a:pt x="33" y="578"/>
                  </a:cubicBezTo>
                  <a:cubicBezTo>
                    <a:pt x="30" y="597"/>
                    <a:pt x="27" y="724"/>
                    <a:pt x="27" y="759"/>
                  </a:cubicBezTo>
                  <a:cubicBezTo>
                    <a:pt x="27" y="794"/>
                    <a:pt x="23" y="842"/>
                    <a:pt x="27" y="842"/>
                  </a:cubicBezTo>
                  <a:cubicBezTo>
                    <a:pt x="32" y="842"/>
                    <a:pt x="47" y="843"/>
                    <a:pt x="47" y="843"/>
                  </a:cubicBezTo>
                  <a:cubicBezTo>
                    <a:pt x="47" y="843"/>
                    <a:pt x="45" y="866"/>
                    <a:pt x="46" y="895"/>
                  </a:cubicBezTo>
                  <a:cubicBezTo>
                    <a:pt x="47" y="923"/>
                    <a:pt x="70" y="1014"/>
                    <a:pt x="75" y="1036"/>
                  </a:cubicBezTo>
                  <a:cubicBezTo>
                    <a:pt x="79" y="1059"/>
                    <a:pt x="78" y="1079"/>
                    <a:pt x="70" y="1091"/>
                  </a:cubicBezTo>
                  <a:cubicBezTo>
                    <a:pt x="63" y="1103"/>
                    <a:pt x="57" y="1118"/>
                    <a:pt x="44" y="1127"/>
                  </a:cubicBezTo>
                  <a:cubicBezTo>
                    <a:pt x="31" y="1137"/>
                    <a:pt x="26" y="1141"/>
                    <a:pt x="28" y="1150"/>
                  </a:cubicBezTo>
                  <a:cubicBezTo>
                    <a:pt x="30" y="1158"/>
                    <a:pt x="46" y="1156"/>
                    <a:pt x="70" y="1155"/>
                  </a:cubicBezTo>
                  <a:cubicBezTo>
                    <a:pt x="94" y="1154"/>
                    <a:pt x="91" y="1139"/>
                    <a:pt x="94" y="1132"/>
                  </a:cubicBezTo>
                  <a:cubicBezTo>
                    <a:pt x="97" y="1125"/>
                    <a:pt x="108" y="1107"/>
                    <a:pt x="108" y="1107"/>
                  </a:cubicBezTo>
                  <a:cubicBezTo>
                    <a:pt x="108" y="1107"/>
                    <a:pt x="111" y="1110"/>
                    <a:pt x="111" y="1118"/>
                  </a:cubicBezTo>
                  <a:cubicBezTo>
                    <a:pt x="111" y="1127"/>
                    <a:pt x="107" y="1141"/>
                    <a:pt x="107" y="1141"/>
                  </a:cubicBezTo>
                  <a:cubicBezTo>
                    <a:pt x="117" y="1141"/>
                    <a:pt x="117" y="1141"/>
                    <a:pt x="117" y="1141"/>
                  </a:cubicBezTo>
                  <a:cubicBezTo>
                    <a:pt x="117" y="1141"/>
                    <a:pt x="120" y="1140"/>
                    <a:pt x="119" y="1132"/>
                  </a:cubicBezTo>
                  <a:cubicBezTo>
                    <a:pt x="118" y="1124"/>
                    <a:pt x="123" y="1106"/>
                    <a:pt x="127" y="1091"/>
                  </a:cubicBezTo>
                  <a:cubicBezTo>
                    <a:pt x="132" y="1075"/>
                    <a:pt x="123" y="1057"/>
                    <a:pt x="117" y="1050"/>
                  </a:cubicBezTo>
                  <a:cubicBezTo>
                    <a:pt x="112" y="1044"/>
                    <a:pt x="114" y="1009"/>
                    <a:pt x="115" y="974"/>
                  </a:cubicBezTo>
                  <a:cubicBezTo>
                    <a:pt x="117" y="939"/>
                    <a:pt x="119" y="901"/>
                    <a:pt x="115" y="885"/>
                  </a:cubicBezTo>
                  <a:cubicBezTo>
                    <a:pt x="112" y="868"/>
                    <a:pt x="107" y="846"/>
                    <a:pt x="107" y="846"/>
                  </a:cubicBezTo>
                  <a:cubicBezTo>
                    <a:pt x="167" y="851"/>
                    <a:pt x="167" y="851"/>
                    <a:pt x="167" y="851"/>
                  </a:cubicBezTo>
                  <a:cubicBezTo>
                    <a:pt x="167" y="851"/>
                    <a:pt x="169" y="863"/>
                    <a:pt x="169" y="889"/>
                  </a:cubicBezTo>
                  <a:cubicBezTo>
                    <a:pt x="169" y="916"/>
                    <a:pt x="169" y="934"/>
                    <a:pt x="169" y="977"/>
                  </a:cubicBezTo>
                  <a:cubicBezTo>
                    <a:pt x="169" y="1019"/>
                    <a:pt x="165" y="1035"/>
                    <a:pt x="160" y="1051"/>
                  </a:cubicBezTo>
                  <a:cubicBezTo>
                    <a:pt x="156" y="1068"/>
                    <a:pt x="159" y="1080"/>
                    <a:pt x="154" y="1096"/>
                  </a:cubicBezTo>
                  <a:cubicBezTo>
                    <a:pt x="149" y="1113"/>
                    <a:pt x="140" y="1125"/>
                    <a:pt x="135" y="1134"/>
                  </a:cubicBezTo>
                  <a:cubicBezTo>
                    <a:pt x="129" y="1143"/>
                    <a:pt x="127" y="1158"/>
                    <a:pt x="148" y="1159"/>
                  </a:cubicBezTo>
                  <a:cubicBezTo>
                    <a:pt x="170" y="1160"/>
                    <a:pt x="196" y="1150"/>
                    <a:pt x="196" y="1140"/>
                  </a:cubicBezTo>
                  <a:cubicBezTo>
                    <a:pt x="196" y="1131"/>
                    <a:pt x="198" y="1119"/>
                    <a:pt x="205" y="1104"/>
                  </a:cubicBezTo>
                  <a:cubicBezTo>
                    <a:pt x="213" y="1088"/>
                    <a:pt x="206" y="1075"/>
                    <a:pt x="204" y="1069"/>
                  </a:cubicBezTo>
                  <a:cubicBezTo>
                    <a:pt x="201" y="1062"/>
                    <a:pt x="202" y="1055"/>
                    <a:pt x="202" y="1043"/>
                  </a:cubicBezTo>
                  <a:cubicBezTo>
                    <a:pt x="202" y="1031"/>
                    <a:pt x="213" y="991"/>
                    <a:pt x="225" y="947"/>
                  </a:cubicBezTo>
                  <a:cubicBezTo>
                    <a:pt x="237" y="903"/>
                    <a:pt x="234" y="852"/>
                    <a:pt x="234" y="852"/>
                  </a:cubicBezTo>
                  <a:cubicBezTo>
                    <a:pt x="243" y="852"/>
                    <a:pt x="243" y="852"/>
                    <a:pt x="243" y="852"/>
                  </a:cubicBezTo>
                  <a:cubicBezTo>
                    <a:pt x="243" y="852"/>
                    <a:pt x="244" y="787"/>
                    <a:pt x="251" y="721"/>
                  </a:cubicBezTo>
                  <a:cubicBezTo>
                    <a:pt x="258" y="654"/>
                    <a:pt x="248" y="585"/>
                    <a:pt x="248" y="566"/>
                  </a:cubicBezTo>
                  <a:cubicBezTo>
                    <a:pt x="248" y="547"/>
                    <a:pt x="255" y="539"/>
                    <a:pt x="265" y="535"/>
                  </a:cubicBezTo>
                  <a:cubicBezTo>
                    <a:pt x="276" y="530"/>
                    <a:pt x="277" y="528"/>
                    <a:pt x="272" y="510"/>
                  </a:cubicBezTo>
                  <a:cubicBezTo>
                    <a:pt x="266" y="492"/>
                    <a:pt x="258" y="449"/>
                    <a:pt x="258" y="449"/>
                  </a:cubicBezTo>
                  <a:cubicBezTo>
                    <a:pt x="258" y="449"/>
                    <a:pt x="257" y="443"/>
                    <a:pt x="251" y="424"/>
                  </a:cubicBezTo>
                  <a:cubicBezTo>
                    <a:pt x="244" y="406"/>
                    <a:pt x="244" y="388"/>
                    <a:pt x="244" y="388"/>
                  </a:cubicBezTo>
                  <a:cubicBezTo>
                    <a:pt x="244" y="388"/>
                    <a:pt x="256" y="378"/>
                    <a:pt x="257" y="366"/>
                  </a:cubicBezTo>
                  <a:close/>
                  <a:moveTo>
                    <a:pt x="102" y="452"/>
                  </a:moveTo>
                  <a:cubicBezTo>
                    <a:pt x="110" y="434"/>
                    <a:pt x="110" y="434"/>
                    <a:pt x="110" y="434"/>
                  </a:cubicBezTo>
                  <a:cubicBezTo>
                    <a:pt x="114" y="452"/>
                    <a:pt x="114" y="452"/>
                    <a:pt x="114" y="452"/>
                  </a:cubicBezTo>
                  <a:lnTo>
                    <a:pt x="102" y="452"/>
                  </a:lnTo>
                  <a:close/>
                  <a:moveTo>
                    <a:pt x="168" y="213"/>
                  </a:moveTo>
                  <a:cubicBezTo>
                    <a:pt x="158" y="230"/>
                    <a:pt x="141" y="260"/>
                    <a:pt x="135" y="285"/>
                  </a:cubicBezTo>
                  <a:cubicBezTo>
                    <a:pt x="128" y="309"/>
                    <a:pt x="117" y="344"/>
                    <a:pt x="117" y="344"/>
                  </a:cubicBezTo>
                  <a:cubicBezTo>
                    <a:pt x="117" y="344"/>
                    <a:pt x="116" y="338"/>
                    <a:pt x="115" y="329"/>
                  </a:cubicBezTo>
                  <a:cubicBezTo>
                    <a:pt x="114" y="320"/>
                    <a:pt x="114" y="277"/>
                    <a:pt x="114" y="257"/>
                  </a:cubicBezTo>
                  <a:cubicBezTo>
                    <a:pt x="114" y="237"/>
                    <a:pt x="115" y="220"/>
                    <a:pt x="112" y="219"/>
                  </a:cubicBezTo>
                  <a:cubicBezTo>
                    <a:pt x="108" y="217"/>
                    <a:pt x="102" y="205"/>
                    <a:pt x="102" y="205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17" y="218"/>
                    <a:pt x="129" y="210"/>
                    <a:pt x="134" y="223"/>
                  </a:cubicBezTo>
                  <a:cubicBezTo>
                    <a:pt x="138" y="236"/>
                    <a:pt x="133" y="269"/>
                    <a:pt x="136" y="253"/>
                  </a:cubicBezTo>
                  <a:cubicBezTo>
                    <a:pt x="138" y="238"/>
                    <a:pt x="146" y="237"/>
                    <a:pt x="152" y="222"/>
                  </a:cubicBezTo>
                  <a:cubicBezTo>
                    <a:pt x="159" y="207"/>
                    <a:pt x="139" y="196"/>
                    <a:pt x="139" y="196"/>
                  </a:cubicBezTo>
                  <a:cubicBezTo>
                    <a:pt x="139" y="196"/>
                    <a:pt x="150" y="192"/>
                    <a:pt x="159" y="184"/>
                  </a:cubicBezTo>
                  <a:cubicBezTo>
                    <a:pt x="169" y="175"/>
                    <a:pt x="182" y="164"/>
                    <a:pt x="182" y="164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89" y="176"/>
                    <a:pt x="178" y="196"/>
                    <a:pt x="168" y="21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  <p:sp>
          <p:nvSpPr>
            <p:cNvPr id="104" name="Freeform 4">
              <a:extLst>
                <a:ext uri="{FF2B5EF4-FFF2-40B4-BE49-F238E27FC236}">
                  <a16:creationId xmlns:a16="http://schemas.microsoft.com/office/drawing/2014/main" id="{D5095088-36D4-4805-8B6B-42637FB4D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360" y="3692194"/>
              <a:ext cx="734785" cy="2290704"/>
            </a:xfrm>
            <a:custGeom>
              <a:avLst/>
              <a:gdLst>
                <a:gd name="T0" fmla="*/ 379 w 386"/>
                <a:gd name="T1" fmla="*/ 464 h 1210"/>
                <a:gd name="T2" fmla="*/ 364 w 386"/>
                <a:gd name="T3" fmla="*/ 267 h 1210"/>
                <a:gd name="T4" fmla="*/ 269 w 386"/>
                <a:gd name="T5" fmla="*/ 191 h 1210"/>
                <a:gd name="T6" fmla="*/ 251 w 386"/>
                <a:gd name="T7" fmla="*/ 145 h 1210"/>
                <a:gd name="T8" fmla="*/ 266 w 386"/>
                <a:gd name="T9" fmla="*/ 116 h 1210"/>
                <a:gd name="T10" fmla="*/ 263 w 386"/>
                <a:gd name="T11" fmla="*/ 82 h 1210"/>
                <a:gd name="T12" fmla="*/ 205 w 386"/>
                <a:gd name="T13" fmla="*/ 0 h 1210"/>
                <a:gd name="T14" fmla="*/ 155 w 386"/>
                <a:gd name="T15" fmla="*/ 90 h 1210"/>
                <a:gd name="T16" fmla="*/ 174 w 386"/>
                <a:gd name="T17" fmla="*/ 126 h 1210"/>
                <a:gd name="T18" fmla="*/ 176 w 386"/>
                <a:gd name="T19" fmla="*/ 167 h 1210"/>
                <a:gd name="T20" fmla="*/ 177 w 386"/>
                <a:gd name="T21" fmla="*/ 167 h 1210"/>
                <a:gd name="T22" fmla="*/ 156 w 386"/>
                <a:gd name="T23" fmla="*/ 186 h 1210"/>
                <a:gd name="T24" fmla="*/ 99 w 386"/>
                <a:gd name="T25" fmla="*/ 207 h 1210"/>
                <a:gd name="T26" fmla="*/ 57 w 386"/>
                <a:gd name="T27" fmla="*/ 370 h 1210"/>
                <a:gd name="T28" fmla="*/ 38 w 386"/>
                <a:gd name="T29" fmla="*/ 604 h 1210"/>
                <a:gd name="T30" fmla="*/ 68 w 386"/>
                <a:gd name="T31" fmla="*/ 598 h 1210"/>
                <a:gd name="T32" fmla="*/ 68 w 386"/>
                <a:gd name="T33" fmla="*/ 607 h 1210"/>
                <a:gd name="T34" fmla="*/ 41 w 386"/>
                <a:gd name="T35" fmla="*/ 619 h 1210"/>
                <a:gd name="T36" fmla="*/ 47 w 386"/>
                <a:gd name="T37" fmla="*/ 662 h 1210"/>
                <a:gd name="T38" fmla="*/ 3 w 386"/>
                <a:gd name="T39" fmla="*/ 849 h 1210"/>
                <a:gd name="T40" fmla="*/ 99 w 386"/>
                <a:gd name="T41" fmla="*/ 898 h 1210"/>
                <a:gd name="T42" fmla="*/ 118 w 386"/>
                <a:gd name="T43" fmla="*/ 899 h 1210"/>
                <a:gd name="T44" fmla="*/ 127 w 386"/>
                <a:gd name="T45" fmla="*/ 1051 h 1210"/>
                <a:gd name="T46" fmla="*/ 118 w 386"/>
                <a:gd name="T47" fmla="*/ 1153 h 1210"/>
                <a:gd name="T48" fmla="*/ 181 w 386"/>
                <a:gd name="T49" fmla="*/ 1159 h 1210"/>
                <a:gd name="T50" fmla="*/ 194 w 386"/>
                <a:gd name="T51" fmla="*/ 1084 h 1210"/>
                <a:gd name="T52" fmla="*/ 192 w 386"/>
                <a:gd name="T53" fmla="*/ 968 h 1210"/>
                <a:gd name="T54" fmla="*/ 222 w 386"/>
                <a:gd name="T55" fmla="*/ 712 h 1210"/>
                <a:gd name="T56" fmla="*/ 252 w 386"/>
                <a:gd name="T57" fmla="*/ 767 h 1210"/>
                <a:gd name="T58" fmla="*/ 285 w 386"/>
                <a:gd name="T59" fmla="*/ 1024 h 1210"/>
                <a:gd name="T60" fmla="*/ 277 w 386"/>
                <a:gd name="T61" fmla="*/ 1067 h 1210"/>
                <a:gd name="T62" fmla="*/ 298 w 386"/>
                <a:gd name="T63" fmla="*/ 1146 h 1210"/>
                <a:gd name="T64" fmla="*/ 355 w 386"/>
                <a:gd name="T65" fmla="*/ 1205 h 1210"/>
                <a:gd name="T66" fmla="*/ 347 w 386"/>
                <a:gd name="T67" fmla="*/ 1105 h 1210"/>
                <a:gd name="T68" fmla="*/ 351 w 386"/>
                <a:gd name="T69" fmla="*/ 1046 h 1210"/>
                <a:gd name="T70" fmla="*/ 356 w 386"/>
                <a:gd name="T71" fmla="*/ 829 h 1210"/>
                <a:gd name="T72" fmla="*/ 354 w 386"/>
                <a:gd name="T73" fmla="*/ 603 h 1210"/>
                <a:gd name="T74" fmla="*/ 367 w 386"/>
                <a:gd name="T75" fmla="*/ 565 h 1210"/>
                <a:gd name="T76" fmla="*/ 109 w 386"/>
                <a:gd name="T77" fmla="*/ 669 h 1210"/>
                <a:gd name="T78" fmla="*/ 91 w 386"/>
                <a:gd name="T79" fmla="*/ 666 h 1210"/>
                <a:gd name="T80" fmla="*/ 90 w 386"/>
                <a:gd name="T81" fmla="*/ 617 h 1210"/>
                <a:gd name="T82" fmla="*/ 101 w 386"/>
                <a:gd name="T83" fmla="*/ 628 h 1210"/>
                <a:gd name="T84" fmla="*/ 108 w 386"/>
                <a:gd name="T85" fmla="*/ 649 h 1210"/>
                <a:gd name="T86" fmla="*/ 223 w 386"/>
                <a:gd name="T87" fmla="*/ 505 h 1210"/>
                <a:gd name="T88" fmla="*/ 221 w 386"/>
                <a:gd name="T89" fmla="*/ 232 h 1210"/>
                <a:gd name="T90" fmla="*/ 215 w 386"/>
                <a:gd name="T91" fmla="*/ 208 h 1210"/>
                <a:gd name="T92" fmla="*/ 205 w 386"/>
                <a:gd name="T93" fmla="*/ 231 h 1210"/>
                <a:gd name="T94" fmla="*/ 199 w 386"/>
                <a:gd name="T95" fmla="*/ 505 h 1210"/>
                <a:gd name="T96" fmla="*/ 190 w 386"/>
                <a:gd name="T97" fmla="*/ 325 h 1210"/>
                <a:gd name="T98" fmla="*/ 173 w 386"/>
                <a:gd name="T99" fmla="*/ 188 h 1210"/>
                <a:gd name="T100" fmla="*/ 182 w 386"/>
                <a:gd name="T101" fmla="*/ 176 h 1210"/>
                <a:gd name="T102" fmla="*/ 248 w 386"/>
                <a:gd name="T103" fmla="*/ 179 h 1210"/>
                <a:gd name="T104" fmla="*/ 259 w 386"/>
                <a:gd name="T105" fmla="*/ 196 h 1210"/>
                <a:gd name="T106" fmla="*/ 258 w 386"/>
                <a:gd name="T107" fmla="*/ 201 h 1210"/>
                <a:gd name="T108" fmla="*/ 260 w 386"/>
                <a:gd name="T109" fmla="*/ 256 h 1210"/>
                <a:gd name="T110" fmla="*/ 301 w 386"/>
                <a:gd name="T111" fmla="*/ 488 h 1210"/>
                <a:gd name="T112" fmla="*/ 360 w 386"/>
                <a:gd name="T113" fmla="*/ 585 h 1210"/>
                <a:gd name="T114" fmla="*/ 328 w 386"/>
                <a:gd name="T115" fmla="*/ 554 h 1210"/>
                <a:gd name="T116" fmla="*/ 360 w 386"/>
                <a:gd name="T117" fmla="*/ 585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1210">
                  <a:moveTo>
                    <a:pt x="379" y="512"/>
                  </a:moveTo>
                  <a:cubicBezTo>
                    <a:pt x="385" y="497"/>
                    <a:pt x="386" y="471"/>
                    <a:pt x="379" y="464"/>
                  </a:cubicBezTo>
                  <a:cubicBezTo>
                    <a:pt x="372" y="456"/>
                    <a:pt x="383" y="413"/>
                    <a:pt x="376" y="380"/>
                  </a:cubicBezTo>
                  <a:cubicBezTo>
                    <a:pt x="370" y="347"/>
                    <a:pt x="365" y="295"/>
                    <a:pt x="364" y="267"/>
                  </a:cubicBezTo>
                  <a:cubicBezTo>
                    <a:pt x="364" y="239"/>
                    <a:pt x="362" y="219"/>
                    <a:pt x="326" y="210"/>
                  </a:cubicBezTo>
                  <a:cubicBezTo>
                    <a:pt x="302" y="204"/>
                    <a:pt x="282" y="197"/>
                    <a:pt x="269" y="191"/>
                  </a:cubicBezTo>
                  <a:cubicBezTo>
                    <a:pt x="269" y="191"/>
                    <a:pt x="255" y="179"/>
                    <a:pt x="252" y="168"/>
                  </a:cubicBezTo>
                  <a:cubicBezTo>
                    <a:pt x="251" y="159"/>
                    <a:pt x="251" y="150"/>
                    <a:pt x="251" y="145"/>
                  </a:cubicBezTo>
                  <a:cubicBezTo>
                    <a:pt x="253" y="136"/>
                    <a:pt x="253" y="129"/>
                    <a:pt x="253" y="124"/>
                  </a:cubicBezTo>
                  <a:cubicBezTo>
                    <a:pt x="253" y="118"/>
                    <a:pt x="264" y="126"/>
                    <a:pt x="266" y="116"/>
                  </a:cubicBezTo>
                  <a:cubicBezTo>
                    <a:pt x="269" y="107"/>
                    <a:pt x="271" y="85"/>
                    <a:pt x="269" y="84"/>
                  </a:cubicBezTo>
                  <a:cubicBezTo>
                    <a:pt x="267" y="82"/>
                    <a:pt x="265" y="82"/>
                    <a:pt x="263" y="82"/>
                  </a:cubicBezTo>
                  <a:cubicBezTo>
                    <a:pt x="263" y="79"/>
                    <a:pt x="265" y="59"/>
                    <a:pt x="263" y="38"/>
                  </a:cubicBezTo>
                  <a:cubicBezTo>
                    <a:pt x="262" y="18"/>
                    <a:pt x="242" y="2"/>
                    <a:pt x="205" y="0"/>
                  </a:cubicBezTo>
                  <a:cubicBezTo>
                    <a:pt x="184" y="0"/>
                    <a:pt x="160" y="16"/>
                    <a:pt x="157" y="38"/>
                  </a:cubicBezTo>
                  <a:cubicBezTo>
                    <a:pt x="154" y="60"/>
                    <a:pt x="155" y="90"/>
                    <a:pt x="155" y="90"/>
                  </a:cubicBezTo>
                  <a:cubicBezTo>
                    <a:pt x="155" y="90"/>
                    <a:pt x="148" y="105"/>
                    <a:pt x="154" y="117"/>
                  </a:cubicBezTo>
                  <a:cubicBezTo>
                    <a:pt x="160" y="129"/>
                    <a:pt x="174" y="126"/>
                    <a:pt x="174" y="126"/>
                  </a:cubicBezTo>
                  <a:cubicBezTo>
                    <a:pt x="174" y="126"/>
                    <a:pt x="177" y="145"/>
                    <a:pt x="177" y="155"/>
                  </a:cubicBezTo>
                  <a:cubicBezTo>
                    <a:pt x="177" y="160"/>
                    <a:pt x="177" y="164"/>
                    <a:pt x="176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7" y="167"/>
                    <a:pt x="177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64" y="182"/>
                    <a:pt x="156" y="186"/>
                  </a:cubicBezTo>
                  <a:cubicBezTo>
                    <a:pt x="143" y="192"/>
                    <a:pt x="123" y="200"/>
                    <a:pt x="107" y="205"/>
                  </a:cubicBezTo>
                  <a:cubicBezTo>
                    <a:pt x="104" y="206"/>
                    <a:pt x="102" y="206"/>
                    <a:pt x="99" y="207"/>
                  </a:cubicBezTo>
                  <a:cubicBezTo>
                    <a:pt x="80" y="213"/>
                    <a:pt x="65" y="218"/>
                    <a:pt x="65" y="244"/>
                  </a:cubicBezTo>
                  <a:cubicBezTo>
                    <a:pt x="64" y="274"/>
                    <a:pt x="61" y="331"/>
                    <a:pt x="57" y="370"/>
                  </a:cubicBezTo>
                  <a:cubicBezTo>
                    <a:pt x="53" y="408"/>
                    <a:pt x="41" y="490"/>
                    <a:pt x="41" y="516"/>
                  </a:cubicBezTo>
                  <a:cubicBezTo>
                    <a:pt x="40" y="542"/>
                    <a:pt x="37" y="598"/>
                    <a:pt x="38" y="604"/>
                  </a:cubicBezTo>
                  <a:cubicBezTo>
                    <a:pt x="38" y="609"/>
                    <a:pt x="42" y="609"/>
                    <a:pt x="42" y="615"/>
                  </a:cubicBezTo>
                  <a:cubicBezTo>
                    <a:pt x="43" y="612"/>
                    <a:pt x="48" y="598"/>
                    <a:pt x="68" y="598"/>
                  </a:cubicBezTo>
                  <a:cubicBezTo>
                    <a:pt x="90" y="598"/>
                    <a:pt x="90" y="614"/>
                    <a:pt x="90" y="614"/>
                  </a:cubicBezTo>
                  <a:cubicBezTo>
                    <a:pt x="83" y="607"/>
                    <a:pt x="83" y="607"/>
                    <a:pt x="68" y="607"/>
                  </a:cubicBezTo>
                  <a:cubicBezTo>
                    <a:pt x="54" y="606"/>
                    <a:pt x="43" y="614"/>
                    <a:pt x="42" y="615"/>
                  </a:cubicBezTo>
                  <a:cubicBezTo>
                    <a:pt x="42" y="616"/>
                    <a:pt x="42" y="618"/>
                    <a:pt x="41" y="619"/>
                  </a:cubicBezTo>
                  <a:cubicBezTo>
                    <a:pt x="39" y="630"/>
                    <a:pt x="39" y="639"/>
                    <a:pt x="45" y="646"/>
                  </a:cubicBezTo>
                  <a:cubicBezTo>
                    <a:pt x="50" y="653"/>
                    <a:pt x="47" y="662"/>
                    <a:pt x="47" y="662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849"/>
                    <a:pt x="3" y="849"/>
                    <a:pt x="3" y="849"/>
                  </a:cubicBezTo>
                  <a:cubicBezTo>
                    <a:pt x="78" y="907"/>
                    <a:pt x="78" y="907"/>
                    <a:pt x="78" y="907"/>
                  </a:cubicBezTo>
                  <a:cubicBezTo>
                    <a:pt x="78" y="907"/>
                    <a:pt x="89" y="899"/>
                    <a:pt x="99" y="898"/>
                  </a:cubicBezTo>
                  <a:cubicBezTo>
                    <a:pt x="100" y="898"/>
                    <a:pt x="101" y="898"/>
                    <a:pt x="101" y="898"/>
                  </a:cubicBezTo>
                  <a:cubicBezTo>
                    <a:pt x="112" y="898"/>
                    <a:pt x="118" y="899"/>
                    <a:pt x="118" y="899"/>
                  </a:cubicBezTo>
                  <a:cubicBezTo>
                    <a:pt x="118" y="899"/>
                    <a:pt x="115" y="955"/>
                    <a:pt x="115" y="977"/>
                  </a:cubicBezTo>
                  <a:cubicBezTo>
                    <a:pt x="115" y="1000"/>
                    <a:pt x="117" y="1035"/>
                    <a:pt x="127" y="1051"/>
                  </a:cubicBezTo>
                  <a:cubicBezTo>
                    <a:pt x="136" y="1067"/>
                    <a:pt x="138" y="1073"/>
                    <a:pt x="138" y="1087"/>
                  </a:cubicBezTo>
                  <a:cubicBezTo>
                    <a:pt x="138" y="1101"/>
                    <a:pt x="117" y="1140"/>
                    <a:pt x="118" y="1153"/>
                  </a:cubicBezTo>
                  <a:cubicBezTo>
                    <a:pt x="118" y="1166"/>
                    <a:pt x="121" y="1186"/>
                    <a:pt x="143" y="1186"/>
                  </a:cubicBezTo>
                  <a:cubicBezTo>
                    <a:pt x="165" y="1185"/>
                    <a:pt x="181" y="1176"/>
                    <a:pt x="181" y="1159"/>
                  </a:cubicBezTo>
                  <a:cubicBezTo>
                    <a:pt x="181" y="1141"/>
                    <a:pt x="178" y="1130"/>
                    <a:pt x="185" y="1124"/>
                  </a:cubicBezTo>
                  <a:cubicBezTo>
                    <a:pt x="193" y="1117"/>
                    <a:pt x="181" y="1101"/>
                    <a:pt x="194" y="1084"/>
                  </a:cubicBezTo>
                  <a:cubicBezTo>
                    <a:pt x="206" y="1067"/>
                    <a:pt x="193" y="1066"/>
                    <a:pt x="196" y="1050"/>
                  </a:cubicBezTo>
                  <a:cubicBezTo>
                    <a:pt x="199" y="1034"/>
                    <a:pt x="193" y="987"/>
                    <a:pt x="192" y="968"/>
                  </a:cubicBezTo>
                  <a:cubicBezTo>
                    <a:pt x="191" y="949"/>
                    <a:pt x="194" y="926"/>
                    <a:pt x="204" y="846"/>
                  </a:cubicBezTo>
                  <a:cubicBezTo>
                    <a:pt x="213" y="765"/>
                    <a:pt x="219" y="729"/>
                    <a:pt x="222" y="712"/>
                  </a:cubicBezTo>
                  <a:cubicBezTo>
                    <a:pt x="225" y="694"/>
                    <a:pt x="229" y="672"/>
                    <a:pt x="229" y="672"/>
                  </a:cubicBezTo>
                  <a:cubicBezTo>
                    <a:pt x="229" y="672"/>
                    <a:pt x="242" y="748"/>
                    <a:pt x="252" y="767"/>
                  </a:cubicBezTo>
                  <a:cubicBezTo>
                    <a:pt x="262" y="785"/>
                    <a:pt x="274" y="879"/>
                    <a:pt x="277" y="907"/>
                  </a:cubicBezTo>
                  <a:cubicBezTo>
                    <a:pt x="280" y="934"/>
                    <a:pt x="278" y="1015"/>
                    <a:pt x="285" y="1024"/>
                  </a:cubicBezTo>
                  <a:cubicBezTo>
                    <a:pt x="291" y="1032"/>
                    <a:pt x="294" y="1044"/>
                    <a:pt x="294" y="1044"/>
                  </a:cubicBezTo>
                  <a:cubicBezTo>
                    <a:pt x="294" y="1044"/>
                    <a:pt x="277" y="1054"/>
                    <a:pt x="277" y="1067"/>
                  </a:cubicBezTo>
                  <a:cubicBezTo>
                    <a:pt x="277" y="1081"/>
                    <a:pt x="290" y="1092"/>
                    <a:pt x="289" y="1110"/>
                  </a:cubicBezTo>
                  <a:cubicBezTo>
                    <a:pt x="289" y="1128"/>
                    <a:pt x="291" y="1143"/>
                    <a:pt x="298" y="1146"/>
                  </a:cubicBezTo>
                  <a:cubicBezTo>
                    <a:pt x="305" y="1150"/>
                    <a:pt x="304" y="1180"/>
                    <a:pt x="313" y="1191"/>
                  </a:cubicBezTo>
                  <a:cubicBezTo>
                    <a:pt x="322" y="1201"/>
                    <a:pt x="337" y="1210"/>
                    <a:pt x="355" y="1205"/>
                  </a:cubicBezTo>
                  <a:cubicBezTo>
                    <a:pt x="373" y="1199"/>
                    <a:pt x="373" y="1175"/>
                    <a:pt x="364" y="1152"/>
                  </a:cubicBezTo>
                  <a:cubicBezTo>
                    <a:pt x="355" y="1129"/>
                    <a:pt x="344" y="1114"/>
                    <a:pt x="347" y="1105"/>
                  </a:cubicBezTo>
                  <a:cubicBezTo>
                    <a:pt x="351" y="1096"/>
                    <a:pt x="354" y="1082"/>
                    <a:pt x="345" y="1073"/>
                  </a:cubicBezTo>
                  <a:cubicBezTo>
                    <a:pt x="336" y="1064"/>
                    <a:pt x="345" y="1054"/>
                    <a:pt x="351" y="1046"/>
                  </a:cubicBezTo>
                  <a:cubicBezTo>
                    <a:pt x="357" y="1038"/>
                    <a:pt x="356" y="1002"/>
                    <a:pt x="356" y="982"/>
                  </a:cubicBezTo>
                  <a:cubicBezTo>
                    <a:pt x="357" y="962"/>
                    <a:pt x="354" y="864"/>
                    <a:pt x="356" y="829"/>
                  </a:cubicBezTo>
                  <a:cubicBezTo>
                    <a:pt x="357" y="793"/>
                    <a:pt x="360" y="685"/>
                    <a:pt x="355" y="655"/>
                  </a:cubicBezTo>
                  <a:cubicBezTo>
                    <a:pt x="350" y="625"/>
                    <a:pt x="354" y="603"/>
                    <a:pt x="354" y="603"/>
                  </a:cubicBezTo>
                  <a:cubicBezTo>
                    <a:pt x="354" y="603"/>
                    <a:pt x="366" y="609"/>
                    <a:pt x="366" y="597"/>
                  </a:cubicBezTo>
                  <a:cubicBezTo>
                    <a:pt x="366" y="586"/>
                    <a:pt x="362" y="584"/>
                    <a:pt x="367" y="565"/>
                  </a:cubicBezTo>
                  <a:cubicBezTo>
                    <a:pt x="372" y="545"/>
                    <a:pt x="373" y="527"/>
                    <a:pt x="379" y="512"/>
                  </a:cubicBezTo>
                  <a:close/>
                  <a:moveTo>
                    <a:pt x="109" y="669"/>
                  </a:moveTo>
                  <a:cubicBezTo>
                    <a:pt x="99" y="668"/>
                    <a:pt x="99" y="668"/>
                    <a:pt x="99" y="668"/>
                  </a:cubicBezTo>
                  <a:cubicBezTo>
                    <a:pt x="91" y="666"/>
                    <a:pt x="91" y="666"/>
                    <a:pt x="91" y="666"/>
                  </a:cubicBezTo>
                  <a:cubicBezTo>
                    <a:pt x="91" y="666"/>
                    <a:pt x="93" y="653"/>
                    <a:pt x="90" y="644"/>
                  </a:cubicBezTo>
                  <a:cubicBezTo>
                    <a:pt x="87" y="635"/>
                    <a:pt x="88" y="627"/>
                    <a:pt x="90" y="617"/>
                  </a:cubicBezTo>
                  <a:cubicBezTo>
                    <a:pt x="90" y="617"/>
                    <a:pt x="93" y="627"/>
                    <a:pt x="99" y="628"/>
                  </a:cubicBezTo>
                  <a:cubicBezTo>
                    <a:pt x="100" y="628"/>
                    <a:pt x="100" y="628"/>
                    <a:pt x="101" y="628"/>
                  </a:cubicBezTo>
                  <a:cubicBezTo>
                    <a:pt x="108" y="628"/>
                    <a:pt x="111" y="629"/>
                    <a:pt x="111" y="629"/>
                  </a:cubicBezTo>
                  <a:cubicBezTo>
                    <a:pt x="111" y="629"/>
                    <a:pt x="108" y="640"/>
                    <a:pt x="108" y="649"/>
                  </a:cubicBezTo>
                  <a:cubicBezTo>
                    <a:pt x="108" y="659"/>
                    <a:pt x="109" y="669"/>
                    <a:pt x="109" y="669"/>
                  </a:cubicBezTo>
                  <a:close/>
                  <a:moveTo>
                    <a:pt x="223" y="505"/>
                  </a:moveTo>
                  <a:cubicBezTo>
                    <a:pt x="225" y="464"/>
                    <a:pt x="224" y="347"/>
                    <a:pt x="223" y="322"/>
                  </a:cubicBezTo>
                  <a:cubicBezTo>
                    <a:pt x="223" y="296"/>
                    <a:pt x="218" y="239"/>
                    <a:pt x="221" y="232"/>
                  </a:cubicBezTo>
                  <a:cubicBezTo>
                    <a:pt x="224" y="224"/>
                    <a:pt x="232" y="218"/>
                    <a:pt x="241" y="223"/>
                  </a:cubicBezTo>
                  <a:cubicBezTo>
                    <a:pt x="241" y="223"/>
                    <a:pt x="231" y="208"/>
                    <a:pt x="215" y="208"/>
                  </a:cubicBezTo>
                  <a:cubicBezTo>
                    <a:pt x="199" y="208"/>
                    <a:pt x="188" y="223"/>
                    <a:pt x="188" y="223"/>
                  </a:cubicBezTo>
                  <a:cubicBezTo>
                    <a:pt x="188" y="223"/>
                    <a:pt x="206" y="219"/>
                    <a:pt x="205" y="231"/>
                  </a:cubicBezTo>
                  <a:cubicBezTo>
                    <a:pt x="205" y="243"/>
                    <a:pt x="199" y="305"/>
                    <a:pt x="199" y="346"/>
                  </a:cubicBezTo>
                  <a:cubicBezTo>
                    <a:pt x="199" y="383"/>
                    <a:pt x="196" y="472"/>
                    <a:pt x="199" y="505"/>
                  </a:cubicBezTo>
                  <a:cubicBezTo>
                    <a:pt x="187" y="504"/>
                    <a:pt x="183" y="503"/>
                    <a:pt x="183" y="503"/>
                  </a:cubicBezTo>
                  <a:cubicBezTo>
                    <a:pt x="183" y="503"/>
                    <a:pt x="194" y="386"/>
                    <a:pt x="190" y="325"/>
                  </a:cubicBezTo>
                  <a:cubicBezTo>
                    <a:pt x="186" y="279"/>
                    <a:pt x="178" y="220"/>
                    <a:pt x="173" y="188"/>
                  </a:cubicBezTo>
                  <a:cubicBezTo>
                    <a:pt x="173" y="188"/>
                    <a:pt x="173" y="188"/>
                    <a:pt x="173" y="188"/>
                  </a:cubicBezTo>
                  <a:cubicBezTo>
                    <a:pt x="173" y="188"/>
                    <a:pt x="178" y="170"/>
                    <a:pt x="182" y="176"/>
                  </a:cubicBezTo>
                  <a:cubicBezTo>
                    <a:pt x="182" y="176"/>
                    <a:pt x="182" y="176"/>
                    <a:pt x="182" y="176"/>
                  </a:cubicBezTo>
                  <a:cubicBezTo>
                    <a:pt x="190" y="189"/>
                    <a:pt x="203" y="204"/>
                    <a:pt x="212" y="204"/>
                  </a:cubicBezTo>
                  <a:cubicBezTo>
                    <a:pt x="222" y="204"/>
                    <a:pt x="238" y="193"/>
                    <a:pt x="248" y="179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48" y="179"/>
                    <a:pt x="258" y="182"/>
                    <a:pt x="259" y="196"/>
                  </a:cubicBezTo>
                  <a:cubicBezTo>
                    <a:pt x="259" y="197"/>
                    <a:pt x="258" y="199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13"/>
                    <a:pt x="258" y="230"/>
                    <a:pt x="260" y="256"/>
                  </a:cubicBezTo>
                  <a:cubicBezTo>
                    <a:pt x="263" y="335"/>
                    <a:pt x="277" y="429"/>
                    <a:pt x="284" y="450"/>
                  </a:cubicBezTo>
                  <a:cubicBezTo>
                    <a:pt x="292" y="472"/>
                    <a:pt x="301" y="488"/>
                    <a:pt x="301" y="488"/>
                  </a:cubicBezTo>
                  <a:cubicBezTo>
                    <a:pt x="301" y="488"/>
                    <a:pt x="251" y="504"/>
                    <a:pt x="223" y="505"/>
                  </a:cubicBezTo>
                  <a:close/>
                  <a:moveTo>
                    <a:pt x="360" y="585"/>
                  </a:moveTo>
                  <a:cubicBezTo>
                    <a:pt x="358" y="573"/>
                    <a:pt x="361" y="568"/>
                    <a:pt x="352" y="561"/>
                  </a:cubicBezTo>
                  <a:cubicBezTo>
                    <a:pt x="343" y="554"/>
                    <a:pt x="328" y="554"/>
                    <a:pt x="328" y="554"/>
                  </a:cubicBezTo>
                  <a:cubicBezTo>
                    <a:pt x="328" y="554"/>
                    <a:pt x="350" y="545"/>
                    <a:pt x="360" y="557"/>
                  </a:cubicBezTo>
                  <a:cubicBezTo>
                    <a:pt x="369" y="570"/>
                    <a:pt x="360" y="585"/>
                    <a:pt x="360" y="58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</p:grpSp>
      <p:sp>
        <p:nvSpPr>
          <p:cNvPr id="31" name="Rectangle: Rounded Corners 28">
            <a:extLst>
              <a:ext uri="{FF2B5EF4-FFF2-40B4-BE49-F238E27FC236}">
                <a16:creationId xmlns:a16="http://schemas.microsoft.com/office/drawing/2014/main" id="{9957B1FD-542E-4953-BBB9-29CB3BDA1E05}"/>
              </a:ext>
            </a:extLst>
          </p:cNvPr>
          <p:cNvSpPr/>
          <p:nvPr/>
        </p:nvSpPr>
        <p:spPr bwMode="auto">
          <a:xfrm>
            <a:off x="1942747" y="297577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ey Metri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DE66097-5F7C-4D6C-9EAE-89D148EB64BE}"/>
              </a:ext>
            </a:extLst>
          </p:cNvPr>
          <p:cNvSpPr/>
          <p:nvPr/>
        </p:nvSpPr>
        <p:spPr>
          <a:xfrm>
            <a:off x="704703" y="3590014"/>
            <a:ext cx="2037358" cy="107986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2F8C84-CD6E-4090-ACAC-F05983E2FF67}"/>
              </a:ext>
            </a:extLst>
          </p:cNvPr>
          <p:cNvSpPr/>
          <p:nvPr/>
        </p:nvSpPr>
        <p:spPr>
          <a:xfrm>
            <a:off x="634986" y="3522809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AB47CA-6502-4141-9EF9-81C9261C39EF}"/>
              </a:ext>
            </a:extLst>
          </p:cNvPr>
          <p:cNvSpPr txBox="1"/>
          <p:nvPr/>
        </p:nvSpPr>
        <p:spPr>
          <a:xfrm>
            <a:off x="634986" y="3793883"/>
            <a:ext cx="197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/>
                </a:solidFill>
              </a:rPr>
              <a:t>~$13B Sal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346CC4B-EFB0-4114-8A18-C52172620088}"/>
              </a:ext>
            </a:extLst>
          </p:cNvPr>
          <p:cNvSpPr/>
          <p:nvPr/>
        </p:nvSpPr>
        <p:spPr>
          <a:xfrm>
            <a:off x="2944460" y="3651387"/>
            <a:ext cx="1998986" cy="10184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2DFB2B-4115-41CA-A31C-F1ED3A0648D9}"/>
              </a:ext>
            </a:extLst>
          </p:cNvPr>
          <p:cNvSpPr/>
          <p:nvPr/>
        </p:nvSpPr>
        <p:spPr>
          <a:xfrm>
            <a:off x="2839263" y="3519661"/>
            <a:ext cx="1980000" cy="998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F3DB05-D207-46BB-972B-420BC6E0C9FF}"/>
              </a:ext>
            </a:extLst>
          </p:cNvPr>
          <p:cNvSpPr txBox="1"/>
          <p:nvPr/>
        </p:nvSpPr>
        <p:spPr>
          <a:xfrm>
            <a:off x="2908980" y="3742035"/>
            <a:ext cx="18988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</a:rPr>
              <a:t>60 Top Client Account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CB99C33-F120-42F0-8547-B3C66ECFEC77}"/>
              </a:ext>
            </a:extLst>
          </p:cNvPr>
          <p:cNvSpPr/>
          <p:nvPr/>
        </p:nvSpPr>
        <p:spPr>
          <a:xfrm>
            <a:off x="5371505" y="1785414"/>
            <a:ext cx="5750734" cy="2500606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54" name="Rectangle: Rounded Corners 28">
            <a:extLst>
              <a:ext uri="{FF2B5EF4-FFF2-40B4-BE49-F238E27FC236}">
                <a16:creationId xmlns:a16="http://schemas.microsoft.com/office/drawing/2014/main" id="{DBE4E9F7-16FC-4882-A435-EF64BBEC7884}"/>
              </a:ext>
            </a:extLst>
          </p:cNvPr>
          <p:cNvSpPr/>
          <p:nvPr/>
        </p:nvSpPr>
        <p:spPr bwMode="auto">
          <a:xfrm>
            <a:off x="6460268" y="1690493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USINESS C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B7AB1A-0689-4793-8B55-8CCECE2348F9}"/>
              </a:ext>
            </a:extLst>
          </p:cNvPr>
          <p:cNvSpPr txBox="1"/>
          <p:nvPr/>
        </p:nvSpPr>
        <p:spPr>
          <a:xfrm>
            <a:off x="5446768" y="2149158"/>
            <a:ext cx="567547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2"/>
                </a:solidFill>
              </a:rPr>
              <a:t>Due to lack of single source of the truth regarding Customer financial data, GSE&amp;I team was manually generating monthly Dashboard for IQVIAs top 60 Accounts with the aim to support GAD decision making and feed into incentives process.  </a:t>
            </a:r>
            <a:endParaRPr lang="en-US" sz="1100">
              <a:solidFill>
                <a:schemeClr val="accent2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175991-4FDD-4605-8513-783EA38CBA9D}"/>
              </a:ext>
            </a:extLst>
          </p:cNvPr>
          <p:cNvSpPr txBox="1"/>
          <p:nvPr/>
        </p:nvSpPr>
        <p:spPr>
          <a:xfrm>
            <a:off x="5432637" y="2880616"/>
            <a:ext cx="56896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2"/>
                </a:solidFill>
              </a:rPr>
              <a:t>After </a:t>
            </a:r>
            <a:r>
              <a:rPr lang="en-US" sz="1100" b="1">
                <a:solidFill>
                  <a:schemeClr val="accent2"/>
                </a:solidFill>
              </a:rPr>
              <a:t>4 months engagement</a:t>
            </a:r>
            <a:r>
              <a:rPr lang="en-US" sz="1100">
                <a:solidFill>
                  <a:schemeClr val="tx2"/>
                </a:solidFill>
              </a:rPr>
              <a:t>, results are: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2F2EA4-756C-4B8C-9F5C-ACDA8BBAF04B}"/>
              </a:ext>
            </a:extLst>
          </p:cNvPr>
          <p:cNvSpPr txBox="1"/>
          <p:nvPr/>
        </p:nvSpPr>
        <p:spPr>
          <a:xfrm>
            <a:off x="5495689" y="3544802"/>
            <a:ext cx="13438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Manual work re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4CE4A65-599C-404B-A76F-808C7E09D75D}"/>
              </a:ext>
            </a:extLst>
          </p:cNvPr>
          <p:cNvSpPr txBox="1"/>
          <p:nvPr/>
        </p:nvSpPr>
        <p:spPr>
          <a:xfrm>
            <a:off x="7091687" y="3476150"/>
            <a:ext cx="149878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Reduction from 60 Dashboards to single o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1DEDD24-27F0-4650-8818-8AC3D4D22E4A}"/>
              </a:ext>
            </a:extLst>
          </p:cNvPr>
          <p:cNvSpPr txBox="1"/>
          <p:nvPr/>
        </p:nvSpPr>
        <p:spPr>
          <a:xfrm>
            <a:off x="8736429" y="3459900"/>
            <a:ext cx="238581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Increased efficiency and reduced reporting error and discrepancies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1CDF162-81BF-4819-B3AF-193C81C451B9}"/>
              </a:ext>
            </a:extLst>
          </p:cNvPr>
          <p:cNvSpPr/>
          <p:nvPr/>
        </p:nvSpPr>
        <p:spPr>
          <a:xfrm>
            <a:off x="5376243" y="4631101"/>
            <a:ext cx="2736000" cy="14328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CEC114D-E191-4446-A6C7-60F90C3A6E46}"/>
              </a:ext>
            </a:extLst>
          </p:cNvPr>
          <p:cNvSpPr/>
          <p:nvPr/>
        </p:nvSpPr>
        <p:spPr>
          <a:xfrm>
            <a:off x="8386239" y="4631100"/>
            <a:ext cx="2736000" cy="14328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62" name="Rectangle: Rounded Corners 28">
            <a:extLst>
              <a:ext uri="{FF2B5EF4-FFF2-40B4-BE49-F238E27FC236}">
                <a16:creationId xmlns:a16="http://schemas.microsoft.com/office/drawing/2014/main" id="{3D755988-E942-4C7C-B876-A3AD67E105EF}"/>
              </a:ext>
            </a:extLst>
          </p:cNvPr>
          <p:cNvSpPr/>
          <p:nvPr/>
        </p:nvSpPr>
        <p:spPr bwMode="auto">
          <a:xfrm>
            <a:off x="5945627" y="4501366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TA SOURCES</a:t>
            </a:r>
          </a:p>
        </p:txBody>
      </p:sp>
      <p:sp>
        <p:nvSpPr>
          <p:cNvPr id="64" name="Rectangle: Rounded Corners 28">
            <a:extLst>
              <a:ext uri="{FF2B5EF4-FFF2-40B4-BE49-F238E27FC236}">
                <a16:creationId xmlns:a16="http://schemas.microsoft.com/office/drawing/2014/main" id="{5A0CAF75-CA30-40DB-8585-0C62F59864F1}"/>
              </a:ext>
            </a:extLst>
          </p:cNvPr>
          <p:cNvSpPr/>
          <p:nvPr/>
        </p:nvSpPr>
        <p:spPr bwMode="auto">
          <a:xfrm>
            <a:off x="8815906" y="4501366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ENEFITS</a:t>
            </a:r>
          </a:p>
        </p:txBody>
      </p:sp>
      <p:pic>
        <p:nvPicPr>
          <p:cNvPr id="69" name="Picture 3" descr="Salesforce logo">
            <a:extLst>
              <a:ext uri="{FF2B5EF4-FFF2-40B4-BE49-F238E27FC236}">
                <a16:creationId xmlns:a16="http://schemas.microsoft.com/office/drawing/2014/main" id="{9AD23FFF-67F9-406B-A6E6-E144C51CB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479" y="4963934"/>
            <a:ext cx="698164" cy="46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26F0F6FC-2F8E-4568-9912-2F28173F0437}"/>
              </a:ext>
            </a:extLst>
          </p:cNvPr>
          <p:cNvSpPr txBox="1"/>
          <p:nvPr/>
        </p:nvSpPr>
        <p:spPr>
          <a:xfrm>
            <a:off x="8448382" y="4869715"/>
            <a:ext cx="26738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chemeClr val="accent1">
                    <a:lumMod val="75000"/>
                  </a:schemeClr>
                </a:solidFill>
              </a:rPr>
              <a:t>~ 120 hours saved per month </a:t>
            </a:r>
            <a:r>
              <a:rPr lang="en-US" sz="1200">
                <a:solidFill>
                  <a:schemeClr val="tx2"/>
                </a:solidFill>
              </a:rPr>
              <a:t>(60h GSE&amp;I team and 60h GAD review)</a:t>
            </a:r>
          </a:p>
          <a:p>
            <a:pPr algn="ctr"/>
            <a:endParaRPr lang="en-US" sz="1200">
              <a:solidFill>
                <a:schemeClr val="tx2"/>
              </a:solidFill>
            </a:endParaRPr>
          </a:p>
          <a:p>
            <a:pPr algn="ctr"/>
            <a:r>
              <a:rPr lang="en-US" sz="1200" b="1">
                <a:solidFill>
                  <a:schemeClr val="accent1">
                    <a:lumMod val="75000"/>
                  </a:schemeClr>
                </a:solidFill>
              </a:rPr>
              <a:t>Reliable data for strategic decisions and incentive proces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C86BDE6-C3DB-4C03-A036-C590FE2DA819}"/>
              </a:ext>
            </a:extLst>
          </p:cNvPr>
          <p:cNvSpPr/>
          <p:nvPr/>
        </p:nvSpPr>
        <p:spPr>
          <a:xfrm>
            <a:off x="704703" y="4989846"/>
            <a:ext cx="2037358" cy="10798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0E1B4AC-AE4B-45DE-86AF-2B14A54DA787}"/>
              </a:ext>
            </a:extLst>
          </p:cNvPr>
          <p:cNvSpPr/>
          <p:nvPr/>
        </p:nvSpPr>
        <p:spPr>
          <a:xfrm>
            <a:off x="634986" y="4922641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247000C-BD39-482C-9931-A3C8F50F570F}"/>
              </a:ext>
            </a:extLst>
          </p:cNvPr>
          <p:cNvSpPr/>
          <p:nvPr/>
        </p:nvSpPr>
        <p:spPr>
          <a:xfrm>
            <a:off x="2908980" y="4984090"/>
            <a:ext cx="2037358" cy="107986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C3EA30-B5EB-409F-8993-C26A5D69F8EC}"/>
              </a:ext>
            </a:extLst>
          </p:cNvPr>
          <p:cNvSpPr/>
          <p:nvPr/>
        </p:nvSpPr>
        <p:spPr>
          <a:xfrm>
            <a:off x="2839263" y="4916885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46CF565-7B62-4075-B568-3F402943E076}"/>
              </a:ext>
            </a:extLst>
          </p:cNvPr>
          <p:cNvSpPr txBox="1"/>
          <p:nvPr/>
        </p:nvSpPr>
        <p:spPr>
          <a:xfrm>
            <a:off x="2951466" y="5270204"/>
            <a:ext cx="1722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>
                    <a:lumMod val="75000"/>
                  </a:schemeClr>
                </a:solidFill>
              </a:rPr>
              <a:t>+ 120 countri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E82867-6B13-4C8E-8EA7-0268B59B58B8}"/>
              </a:ext>
            </a:extLst>
          </p:cNvPr>
          <p:cNvSpPr txBox="1"/>
          <p:nvPr/>
        </p:nvSpPr>
        <p:spPr>
          <a:xfrm>
            <a:off x="618895" y="5192668"/>
            <a:ext cx="19999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~$5B Revenu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9EAD2C6-81BD-4BAB-B8DE-B6F1E1D8655C}"/>
              </a:ext>
            </a:extLst>
          </p:cNvPr>
          <p:cNvSpPr txBox="1"/>
          <p:nvPr/>
        </p:nvSpPr>
        <p:spPr>
          <a:xfrm>
            <a:off x="639230" y="5553488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solidFill>
                  <a:schemeClr val="tx2"/>
                </a:solidFill>
              </a:rPr>
              <a:t>(Year 2022)</a:t>
            </a:r>
          </a:p>
        </p:txBody>
      </p: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96C17F74-9531-48DD-8C76-64D3297BDC9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5754361" y="4934430"/>
            <a:ext cx="869638" cy="428182"/>
          </a:xfrm>
          <a:prstGeom prst="rect">
            <a:avLst/>
          </a:prstGeom>
          <a:noFill/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356C71A-C0FD-488B-94BC-2E8C9A6CDB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1188" y="5487326"/>
            <a:ext cx="941514" cy="42818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CCE70161-D115-4726-BD2F-57113E3FBF6D}"/>
              </a:ext>
            </a:extLst>
          </p:cNvPr>
          <p:cNvSpPr txBox="1"/>
          <p:nvPr/>
        </p:nvSpPr>
        <p:spPr>
          <a:xfrm>
            <a:off x="634987" y="4152337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solidFill>
                  <a:schemeClr val="tx2"/>
                </a:solidFill>
              </a:rPr>
              <a:t>(Year 2022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751F82-0D2C-41BE-81B2-B0C12815427C}"/>
              </a:ext>
            </a:extLst>
          </p:cNvPr>
          <p:cNvSpPr txBox="1"/>
          <p:nvPr/>
        </p:nvSpPr>
        <p:spPr>
          <a:xfrm>
            <a:off x="1648930" y="1886063"/>
            <a:ext cx="2486758" cy="71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2"/>
                </a:solidFill>
              </a:rPr>
              <a:t>Global Sales Excellence &amp; Insights </a:t>
            </a:r>
          </a:p>
          <a:p>
            <a:pPr>
              <a:lnSpc>
                <a:spcPct val="150000"/>
              </a:lnSpc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Key Sponsor: 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Michelle Fleming, </a:t>
            </a:r>
          </a:p>
          <a:p>
            <a:pPr>
              <a:lnSpc>
                <a:spcPct val="150000"/>
              </a:lnSpc>
            </a:pP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VP, Marketing Strateg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2CD99AA-4D70-4EAC-84C6-1F28CE2D952F}"/>
              </a:ext>
            </a:extLst>
          </p:cNvPr>
          <p:cNvSpPr txBox="1"/>
          <p:nvPr/>
        </p:nvSpPr>
        <p:spPr>
          <a:xfrm>
            <a:off x="331825" y="1024514"/>
            <a:ext cx="557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latin typeface="Arial"/>
                <a:cs typeface="Arial"/>
              </a:rPr>
              <a:t>In Development – Target Feb 2023 </a:t>
            </a:r>
            <a:endParaRPr lang="en-US" sz="1600" i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12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6C1451F9-2DD4-428E-8E89-4234A0FAD839}"/>
              </a:ext>
            </a:extLst>
          </p:cNvPr>
          <p:cNvSpPr/>
          <p:nvPr/>
        </p:nvSpPr>
        <p:spPr>
          <a:xfrm>
            <a:off x="4197570" y="3404674"/>
            <a:ext cx="1366902" cy="13657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22" name="Diagrama de flujo: operación manual 3">
            <a:extLst>
              <a:ext uri="{FF2B5EF4-FFF2-40B4-BE49-F238E27FC236}">
                <a16:creationId xmlns:a16="http://schemas.microsoft.com/office/drawing/2014/main" id="{B166B73D-00CC-4E03-99CD-EDCAA515CD0E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F70200-153B-4F84-A0BB-50DB6C9F787C}"/>
              </a:ext>
            </a:extLst>
          </p:cNvPr>
          <p:cNvSpPr/>
          <p:nvPr/>
        </p:nvSpPr>
        <p:spPr>
          <a:xfrm>
            <a:off x="514904" y="2179313"/>
            <a:ext cx="5171792" cy="41149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74" name="Rectangle: Rounded Corners 28">
            <a:extLst>
              <a:ext uri="{FF2B5EF4-FFF2-40B4-BE49-F238E27FC236}">
                <a16:creationId xmlns:a16="http://schemas.microsoft.com/office/drawing/2014/main" id="{E0311394-54E5-478D-BFE1-EE26035E1D08}"/>
              </a:ext>
            </a:extLst>
          </p:cNvPr>
          <p:cNvSpPr/>
          <p:nvPr/>
        </p:nvSpPr>
        <p:spPr bwMode="auto">
          <a:xfrm>
            <a:off x="218922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SOLU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917C5A-D252-4337-86C1-D11832B1683E}"/>
              </a:ext>
            </a:extLst>
          </p:cNvPr>
          <p:cNvSpPr txBox="1"/>
          <p:nvPr/>
        </p:nvSpPr>
        <p:spPr>
          <a:xfrm>
            <a:off x="2042434" y="5743891"/>
            <a:ext cx="19969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Dashboard delivered monthly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4E97A50-47B7-45D8-B162-6B621F7FCAAE}"/>
              </a:ext>
            </a:extLst>
          </p:cNvPr>
          <p:cNvSpPr txBox="1"/>
          <p:nvPr/>
        </p:nvSpPr>
        <p:spPr>
          <a:xfrm>
            <a:off x="2388982" y="2360280"/>
            <a:ext cx="1443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Processing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624C68F-237B-45F3-8779-72D6035CE870}"/>
              </a:ext>
            </a:extLst>
          </p:cNvPr>
          <p:cNvSpPr txBox="1"/>
          <p:nvPr/>
        </p:nvSpPr>
        <p:spPr>
          <a:xfrm>
            <a:off x="744572" y="2360945"/>
            <a:ext cx="1285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Source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1FF74B0-D75A-4646-8574-67A754037477}"/>
              </a:ext>
            </a:extLst>
          </p:cNvPr>
          <p:cNvSpPr/>
          <p:nvPr/>
        </p:nvSpPr>
        <p:spPr>
          <a:xfrm>
            <a:off x="2455361" y="95418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GSE&amp;I Monthly Dashboard</a:t>
            </a:r>
            <a:endParaRPr lang="en-US" sz="2400" kern="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FBC52AD-2596-4887-8A69-57679036CD85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0D0E962-493C-4B4F-AEB8-E230EE65375D}"/>
              </a:ext>
            </a:extLst>
          </p:cNvPr>
          <p:cNvSpPr txBox="1"/>
          <p:nvPr/>
        </p:nvSpPr>
        <p:spPr>
          <a:xfrm>
            <a:off x="4191697" y="2360612"/>
            <a:ext cx="1175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utput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F9187CC-3CD5-4486-859C-BC853C28F8D4}"/>
              </a:ext>
            </a:extLst>
          </p:cNvPr>
          <p:cNvSpPr/>
          <p:nvPr/>
        </p:nvSpPr>
        <p:spPr>
          <a:xfrm>
            <a:off x="684439" y="2932516"/>
            <a:ext cx="1175904" cy="15308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55" name="Picture 54" descr="Logo, company name&#10;&#10;Description automatically generated">
            <a:extLst>
              <a:ext uri="{FF2B5EF4-FFF2-40B4-BE49-F238E27FC236}">
                <a16:creationId xmlns:a16="http://schemas.microsoft.com/office/drawing/2014/main" id="{DB9CB8B8-A23B-4A23-98AB-FCDA2449AFD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832323" y="2932819"/>
            <a:ext cx="869638" cy="428182"/>
          </a:xfrm>
          <a:prstGeom prst="rect">
            <a:avLst/>
          </a:prstGeom>
          <a:noFill/>
        </p:spPr>
      </p:pic>
      <p:pic>
        <p:nvPicPr>
          <p:cNvPr id="57" name="Picture 3" descr="Salesforce logo">
            <a:extLst>
              <a:ext uri="{FF2B5EF4-FFF2-40B4-BE49-F238E27FC236}">
                <a16:creationId xmlns:a16="http://schemas.microsoft.com/office/drawing/2014/main" id="{2413F7EB-723C-4B61-AE08-8A25B29EE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060" y="3425692"/>
            <a:ext cx="698164" cy="46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0E0D3BE9-5696-4DB1-BEE4-595D3C026F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6385" y="3936166"/>
            <a:ext cx="941514" cy="428182"/>
          </a:xfrm>
          <a:prstGeom prst="rect">
            <a:avLst/>
          </a:prstGeom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5FA2C2-AAE0-4CBD-B936-BFA2FFFD0894}"/>
              </a:ext>
            </a:extLst>
          </p:cNvPr>
          <p:cNvSpPr/>
          <p:nvPr/>
        </p:nvSpPr>
        <p:spPr>
          <a:xfrm>
            <a:off x="679190" y="4668400"/>
            <a:ext cx="1175904" cy="7246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E7582D-5FCC-438D-B4BB-85AEC295BD75}"/>
              </a:ext>
            </a:extLst>
          </p:cNvPr>
          <p:cNvSpPr txBox="1"/>
          <p:nvPr/>
        </p:nvSpPr>
        <p:spPr>
          <a:xfrm>
            <a:off x="714505" y="4904496"/>
            <a:ext cx="11759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Manual Inputs</a:t>
            </a: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C186FC7D-6460-48E0-893D-B9EDCACBFC65}"/>
              </a:ext>
            </a:extLst>
          </p:cNvPr>
          <p:cNvCxnSpPr>
            <a:cxnSpLocks/>
            <a:stCxn id="54" idx="3"/>
            <a:endCxn id="75" idx="0"/>
          </p:cNvCxnSpPr>
          <p:nvPr/>
        </p:nvCxnSpPr>
        <p:spPr>
          <a:xfrm>
            <a:off x="1860343" y="3697940"/>
            <a:ext cx="491256" cy="109725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2224C098-CBB8-4EFA-BC33-81F0D230979D}"/>
              </a:ext>
            </a:extLst>
          </p:cNvPr>
          <p:cNvCxnSpPr>
            <a:cxnSpLocks/>
            <a:stCxn id="60" idx="3"/>
            <a:endCxn id="34" idx="2"/>
          </p:cNvCxnSpPr>
          <p:nvPr/>
        </p:nvCxnSpPr>
        <p:spPr>
          <a:xfrm flipV="1">
            <a:off x="1890409" y="4604144"/>
            <a:ext cx="461189" cy="423463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Graphic 74" descr="Database">
            <a:extLst>
              <a:ext uri="{FF2B5EF4-FFF2-40B4-BE49-F238E27FC236}">
                <a16:creationId xmlns:a16="http://schemas.microsoft.com/office/drawing/2014/main" id="{EAD5032F-0B5B-4504-B21A-12669F519C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32467" y="3807665"/>
            <a:ext cx="638263" cy="638263"/>
          </a:xfrm>
          <a:prstGeom prst="rect">
            <a:avLst/>
          </a:prstGeom>
        </p:spPr>
      </p:pic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33AAC015-6519-43B8-91E5-C4AA9019B4AC}"/>
              </a:ext>
            </a:extLst>
          </p:cNvPr>
          <p:cNvCxnSpPr>
            <a:cxnSpLocks/>
            <a:stCxn id="81" idx="3"/>
            <a:endCxn id="105" idx="1"/>
          </p:cNvCxnSpPr>
          <p:nvPr/>
        </p:nvCxnSpPr>
        <p:spPr>
          <a:xfrm>
            <a:off x="3892546" y="4085458"/>
            <a:ext cx="305024" cy="211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98">
            <a:extLst>
              <a:ext uri="{FF2B5EF4-FFF2-40B4-BE49-F238E27FC236}">
                <a16:creationId xmlns:a16="http://schemas.microsoft.com/office/drawing/2014/main" id="{C6B4548D-A2AC-4FD5-91F3-3F82A6719A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91304" y="3556396"/>
            <a:ext cx="488345" cy="470448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A958E530-B9F9-4937-9D21-62542AA8B4C4}"/>
              </a:ext>
            </a:extLst>
          </p:cNvPr>
          <p:cNvSpPr txBox="1"/>
          <p:nvPr/>
        </p:nvSpPr>
        <p:spPr>
          <a:xfrm>
            <a:off x="4741980" y="3512592"/>
            <a:ext cx="8175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tx2"/>
                </a:solidFill>
              </a:rPr>
              <a:t>Dashboard containing 60 accounts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E7830B64-EA2E-4096-B3E9-99118DF1C4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84653" y="4132694"/>
            <a:ext cx="488345" cy="470448"/>
          </a:xfrm>
          <a:prstGeom prst="rect">
            <a:avLst/>
          </a:prstGeom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115C22DC-FDF2-4E6A-8A7E-0CA325D3F5EB}"/>
              </a:ext>
            </a:extLst>
          </p:cNvPr>
          <p:cNvSpPr txBox="1"/>
          <p:nvPr/>
        </p:nvSpPr>
        <p:spPr>
          <a:xfrm>
            <a:off x="4734480" y="4081604"/>
            <a:ext cx="8175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tx2"/>
                </a:solidFill>
              </a:rPr>
              <a:t>Quality Check Dashboard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E237236-B7E0-402E-BC8D-F85A3DF8CD68}"/>
              </a:ext>
            </a:extLst>
          </p:cNvPr>
          <p:cNvCxnSpPr>
            <a:cxnSpLocks/>
            <a:endCxn id="81" idx="1"/>
          </p:cNvCxnSpPr>
          <p:nvPr/>
        </p:nvCxnSpPr>
        <p:spPr>
          <a:xfrm>
            <a:off x="2532172" y="4085458"/>
            <a:ext cx="18447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A52B7D01-0348-40E6-8805-6800E82CE27F}"/>
              </a:ext>
            </a:extLst>
          </p:cNvPr>
          <p:cNvSpPr txBox="1"/>
          <p:nvPr/>
        </p:nvSpPr>
        <p:spPr>
          <a:xfrm>
            <a:off x="1852548" y="4373312"/>
            <a:ext cx="99810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tx2"/>
                </a:solidFill>
              </a:rPr>
              <a:t>SQL </a:t>
            </a:r>
            <a:r>
              <a:rPr lang="es-ES" sz="900" err="1">
                <a:solidFill>
                  <a:schemeClr val="tx2"/>
                </a:solidFill>
              </a:rPr>
              <a:t>Database</a:t>
            </a:r>
            <a:endParaRPr lang="es-ES" sz="900">
              <a:solidFill>
                <a:schemeClr val="tx2"/>
              </a:solidFill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846BA9A-20AC-4FFE-90F3-5F9F99879130}"/>
              </a:ext>
            </a:extLst>
          </p:cNvPr>
          <p:cNvSpPr/>
          <p:nvPr/>
        </p:nvSpPr>
        <p:spPr>
          <a:xfrm>
            <a:off x="2716642" y="3743191"/>
            <a:ext cx="1175904" cy="684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82" name="Picture 8" descr="Alteryx Designer Reviews, Ratings &amp; Features 2022 | Gartner Peer Insights">
            <a:extLst>
              <a:ext uri="{FF2B5EF4-FFF2-40B4-BE49-F238E27FC236}">
                <a16:creationId xmlns:a16="http://schemas.microsoft.com/office/drawing/2014/main" id="{6981F34E-7A40-40EC-ADA5-47E67C814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294" y="4057979"/>
            <a:ext cx="1069020" cy="26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Graphic 83" descr="Gears">
            <a:extLst>
              <a:ext uri="{FF2B5EF4-FFF2-40B4-BE49-F238E27FC236}">
                <a16:creationId xmlns:a16="http://schemas.microsoft.com/office/drawing/2014/main" id="{5DA81FB4-C6B8-41DE-940E-DD9CF9E3BFB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89026" y="3791649"/>
            <a:ext cx="255122" cy="255122"/>
          </a:xfrm>
          <a:prstGeom prst="rect">
            <a:avLst/>
          </a:prstGeom>
        </p:spPr>
      </p:pic>
      <p:sp>
        <p:nvSpPr>
          <p:cNvPr id="36" name="Rectangle: Rounded Corners 28">
            <a:extLst>
              <a:ext uri="{FF2B5EF4-FFF2-40B4-BE49-F238E27FC236}">
                <a16:creationId xmlns:a16="http://schemas.microsoft.com/office/drawing/2014/main" id="{D6364557-7C52-46BF-82BE-C3D5C191452B}"/>
              </a:ext>
            </a:extLst>
          </p:cNvPr>
          <p:cNvSpPr/>
          <p:nvPr/>
        </p:nvSpPr>
        <p:spPr bwMode="auto">
          <a:xfrm>
            <a:off x="7971885" y="1768350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PIs availabl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4B6E08A-5B40-4847-8DB3-9D49E89C459C}"/>
              </a:ext>
            </a:extLst>
          </p:cNvPr>
          <p:cNvSpPr/>
          <p:nvPr/>
        </p:nvSpPr>
        <p:spPr>
          <a:xfrm>
            <a:off x="6312762" y="2179313"/>
            <a:ext cx="5171792" cy="411495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2674BBD-BA6B-431F-918D-0543D2766A2C}"/>
              </a:ext>
            </a:extLst>
          </p:cNvPr>
          <p:cNvSpPr/>
          <p:nvPr/>
        </p:nvSpPr>
        <p:spPr>
          <a:xfrm>
            <a:off x="6604558" y="2597851"/>
            <a:ext cx="1820351" cy="1040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KPI Overview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C1BC828-DC48-4039-A5AA-D0402E4CF66A}"/>
              </a:ext>
            </a:extLst>
          </p:cNvPr>
          <p:cNvSpPr/>
          <p:nvPr/>
        </p:nvSpPr>
        <p:spPr>
          <a:xfrm>
            <a:off x="6736705" y="2885163"/>
            <a:ext cx="1980000" cy="899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Actual Sales vs Targe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Revenue vs Target 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Sales plan achievement vs targe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Business revenue % to pla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Sales pipeline, FY gap to pla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</a:endParaRP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D89FAC-0060-40C2-8AE7-9A63C02C1461}"/>
              </a:ext>
            </a:extLst>
          </p:cNvPr>
          <p:cNvSpPr/>
          <p:nvPr/>
        </p:nvSpPr>
        <p:spPr>
          <a:xfrm>
            <a:off x="9026412" y="3329285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Win Los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8ACA19A-3D0E-4C41-A795-1CA0F834D8AD}"/>
              </a:ext>
            </a:extLst>
          </p:cNvPr>
          <p:cNvSpPr/>
          <p:nvPr/>
        </p:nvSpPr>
        <p:spPr>
          <a:xfrm>
            <a:off x="9158559" y="3616597"/>
            <a:ext cx="1980000" cy="736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Win/Loss by:</a:t>
            </a:r>
          </a:p>
          <a:p>
            <a:pPr marL="36000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Value</a:t>
            </a:r>
          </a:p>
          <a:p>
            <a:pPr marL="36000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# Opportunities 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1007C0C-D252-4ABA-A7CD-347B788389D1}"/>
              </a:ext>
            </a:extLst>
          </p:cNvPr>
          <p:cNvSpPr/>
          <p:nvPr/>
        </p:nvSpPr>
        <p:spPr>
          <a:xfrm>
            <a:off x="6604558" y="3975381"/>
            <a:ext cx="1820351" cy="750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Sales &amp; Revenu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C49E3B0-50D1-4330-A706-F81D1198CEB6}"/>
              </a:ext>
            </a:extLst>
          </p:cNvPr>
          <p:cNvSpPr/>
          <p:nvPr/>
        </p:nvSpPr>
        <p:spPr>
          <a:xfrm>
            <a:off x="6736705" y="4262692"/>
            <a:ext cx="1980000" cy="624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Sales/Revenue by Segment, Area and Lin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Cumulative Sales / Revenue by Quarte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CF5D638-8E2B-4088-8E8F-BBDD556A41A2}"/>
              </a:ext>
            </a:extLst>
          </p:cNvPr>
          <p:cNvSpPr/>
          <p:nvPr/>
        </p:nvSpPr>
        <p:spPr>
          <a:xfrm>
            <a:off x="9026412" y="4411796"/>
            <a:ext cx="1820351" cy="9117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Past Du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0F6FEA8-C5E2-4D43-ABFA-ED242CC4799F}"/>
              </a:ext>
            </a:extLst>
          </p:cNvPr>
          <p:cNvSpPr/>
          <p:nvPr/>
        </p:nvSpPr>
        <p:spPr>
          <a:xfrm>
            <a:off x="9158559" y="4699108"/>
            <a:ext cx="1980000" cy="736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900">
                <a:solidFill>
                  <a:schemeClr val="tx1"/>
                </a:solidFill>
              </a:rPr>
              <a:t>Past Due Dates by Account: 1 – 15 Days, 16 – 30 Days, 31 – 60 Days, 61 – 90 Days, +91 Days</a:t>
            </a:r>
          </a:p>
          <a:p>
            <a:pPr algn="ctr">
              <a:lnSpc>
                <a:spcPct val="100000"/>
              </a:lnSpc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0EC898B-8D50-44E3-BD19-C357D67408C6}"/>
              </a:ext>
            </a:extLst>
          </p:cNvPr>
          <p:cNvSpPr/>
          <p:nvPr/>
        </p:nvSpPr>
        <p:spPr>
          <a:xfrm>
            <a:off x="6604558" y="5062835"/>
            <a:ext cx="1820351" cy="7502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400"/>
              <a:t>Pipelin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350998-53D9-4E9F-8699-0F6F5A40DB72}"/>
              </a:ext>
            </a:extLst>
          </p:cNvPr>
          <p:cNvSpPr/>
          <p:nvPr/>
        </p:nvSpPr>
        <p:spPr>
          <a:xfrm>
            <a:off x="6736705" y="5350147"/>
            <a:ext cx="1980000" cy="624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Pipeline by:</a:t>
            </a:r>
          </a:p>
          <a:p>
            <a:pPr marL="36000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Segment, Area, Line</a:t>
            </a:r>
          </a:p>
          <a:p>
            <a:pPr marL="36000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Stage</a:t>
            </a:r>
          </a:p>
          <a:p>
            <a:pPr marL="36000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</a:rPr>
              <a:t>RBU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FA1ACB-196D-41E6-89D7-ABCAB8782644}"/>
              </a:ext>
            </a:extLst>
          </p:cNvPr>
          <p:cNvSpPr txBox="1"/>
          <p:nvPr/>
        </p:nvSpPr>
        <p:spPr>
          <a:xfrm>
            <a:off x="9004488" y="5867002"/>
            <a:ext cx="2480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accent2"/>
                </a:solidFill>
              </a:rPr>
              <a:t>All metrics can be filtered by Account (60 Top Client Accounts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23021E3-9D4C-4FA8-9C08-15F9C278F6D2}"/>
              </a:ext>
            </a:extLst>
          </p:cNvPr>
          <p:cNvSpPr txBox="1"/>
          <p:nvPr/>
        </p:nvSpPr>
        <p:spPr>
          <a:xfrm>
            <a:off x="331825" y="1024514"/>
            <a:ext cx="557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latin typeface="Arial"/>
                <a:cs typeface="Arial"/>
              </a:rPr>
              <a:t>In Development – Target Feb 2023 </a:t>
            </a:r>
            <a:endParaRPr lang="en-US" sz="1600" i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81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Diagrama de flujo: operación manual 3">
            <a:extLst>
              <a:ext uri="{FF2B5EF4-FFF2-40B4-BE49-F238E27FC236}">
                <a16:creationId xmlns:a16="http://schemas.microsoft.com/office/drawing/2014/main" id="{67770192-90BB-423B-9045-1D0C789BE434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33CF1737-E665-45EC-8760-162CA5892489}"/>
              </a:ext>
            </a:extLst>
          </p:cNvPr>
          <p:cNvSpPr/>
          <p:nvPr/>
        </p:nvSpPr>
        <p:spPr bwMode="auto">
          <a:xfrm>
            <a:off x="4119155" y="1649048"/>
            <a:ext cx="3500846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SHBOARD EXAMPL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4423D4A-A538-4475-A58F-32415397B430}"/>
              </a:ext>
            </a:extLst>
          </p:cNvPr>
          <p:cNvSpPr txBox="1"/>
          <p:nvPr/>
        </p:nvSpPr>
        <p:spPr>
          <a:xfrm>
            <a:off x="1537520" y="2092165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>
                <a:solidFill>
                  <a:schemeClr val="accent2"/>
                </a:solidFill>
              </a:rPr>
              <a:t>GSE - BEFO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C2CC477-E9A3-4DEA-BF8B-28882C9B246A}"/>
              </a:ext>
            </a:extLst>
          </p:cNvPr>
          <p:cNvSpPr txBox="1"/>
          <p:nvPr/>
        </p:nvSpPr>
        <p:spPr>
          <a:xfrm>
            <a:off x="7620001" y="2133878"/>
            <a:ext cx="2272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>
                <a:solidFill>
                  <a:schemeClr val="accent2"/>
                </a:solidFill>
              </a:rPr>
              <a:t>GSE AFT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9C19082-B3DD-4DC2-B418-809B4149C090}"/>
              </a:ext>
            </a:extLst>
          </p:cNvPr>
          <p:cNvSpPr/>
          <p:nvPr/>
        </p:nvSpPr>
        <p:spPr>
          <a:xfrm>
            <a:off x="2455361" y="95418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GSE&amp;I Monthly Dashboard</a:t>
            </a:r>
            <a:endParaRPr lang="en-US" sz="2400" kern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1F256D5-F4A7-47BA-B82B-D344C2778893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8E14B87-B830-4492-90E2-2C9E7E1186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615" y="2626768"/>
            <a:ext cx="3801492" cy="20725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2F869D4-A471-4D4A-BB03-F297894358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8993"/>
          <a:stretch/>
        </p:blipFill>
        <p:spPr>
          <a:xfrm>
            <a:off x="1731737" y="3663024"/>
            <a:ext cx="3891486" cy="23947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E4DA59-2374-43E3-A754-21F5079BB6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7415" y="2597851"/>
            <a:ext cx="4187252" cy="24327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C363D68-C3C8-4F62-91F6-9A01D1FFDD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0663" y="3926025"/>
            <a:ext cx="3865834" cy="22322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9A61A3B-8F47-43E0-A46E-3FB5B3390DC5}"/>
              </a:ext>
            </a:extLst>
          </p:cNvPr>
          <p:cNvSpPr txBox="1"/>
          <p:nvPr/>
        </p:nvSpPr>
        <p:spPr>
          <a:xfrm>
            <a:off x="205779" y="5119189"/>
            <a:ext cx="1385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 Excel Dashboards – 1 per each Accoun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95297E-7FC0-4F1C-A18B-A06777F24CFB}"/>
              </a:ext>
            </a:extLst>
          </p:cNvPr>
          <p:cNvCxnSpPr>
            <a:cxnSpLocks/>
          </p:cNvCxnSpPr>
          <p:nvPr/>
        </p:nvCxnSpPr>
        <p:spPr>
          <a:xfrm flipV="1">
            <a:off x="898641" y="4768761"/>
            <a:ext cx="0" cy="32725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AC234DD-E1FA-4A9E-9DA2-C3F2922878FC}"/>
              </a:ext>
            </a:extLst>
          </p:cNvPr>
          <p:cNvSpPr txBox="1"/>
          <p:nvPr/>
        </p:nvSpPr>
        <p:spPr>
          <a:xfrm>
            <a:off x="5875917" y="5519299"/>
            <a:ext cx="13857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 unique Dashboard that can be filtered by each of the 60 Account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BF6A80E-1EF5-4164-9243-5CE5BABAF5CA}"/>
              </a:ext>
            </a:extLst>
          </p:cNvPr>
          <p:cNvCxnSpPr>
            <a:cxnSpLocks/>
          </p:cNvCxnSpPr>
          <p:nvPr/>
        </p:nvCxnSpPr>
        <p:spPr>
          <a:xfrm flipV="1">
            <a:off x="6568779" y="5168871"/>
            <a:ext cx="0" cy="32725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6B8AE66-8F02-4E05-97FF-C7822138F362}"/>
              </a:ext>
            </a:extLst>
          </p:cNvPr>
          <p:cNvSpPr txBox="1"/>
          <p:nvPr/>
        </p:nvSpPr>
        <p:spPr>
          <a:xfrm>
            <a:off x="331825" y="1024514"/>
            <a:ext cx="557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latin typeface="Arial"/>
                <a:cs typeface="Arial"/>
              </a:rPr>
              <a:t>In Development – Target Feb 2023 </a:t>
            </a:r>
            <a:endParaRPr lang="en-US" sz="1600" i="1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C28E09-7587-4F05-B6A1-5093579142E8}"/>
              </a:ext>
            </a:extLst>
          </p:cNvPr>
          <p:cNvSpPr txBox="1"/>
          <p:nvPr/>
        </p:nvSpPr>
        <p:spPr>
          <a:xfrm>
            <a:off x="4678529" y="6391922"/>
            <a:ext cx="1953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>
                <a:solidFill>
                  <a:schemeClr val="tx2"/>
                </a:solidFill>
                <a:hlinkClick r:id="rId9"/>
              </a:rPr>
              <a:t>Link </a:t>
            </a:r>
            <a:r>
              <a:rPr lang="es-ES" sz="1600" err="1">
                <a:solidFill>
                  <a:schemeClr val="tx2"/>
                </a:solidFill>
                <a:hlinkClick r:id="rId9"/>
              </a:rPr>
              <a:t>to</a:t>
            </a:r>
            <a:r>
              <a:rPr lang="es-ES" sz="1600">
                <a:solidFill>
                  <a:schemeClr val="tx2"/>
                </a:solidFill>
                <a:hlinkClick r:id="rId9"/>
              </a:rPr>
              <a:t> </a:t>
            </a:r>
            <a:r>
              <a:rPr lang="es-ES" sz="1600" err="1">
                <a:solidFill>
                  <a:schemeClr val="tx2"/>
                </a:solidFill>
                <a:hlinkClick r:id="rId9"/>
              </a:rPr>
              <a:t>Dashboard</a:t>
            </a:r>
            <a:endParaRPr lang="es-ES" sz="1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43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Diagrama de flujo: operación manual 3">
            <a:extLst>
              <a:ext uri="{FF2B5EF4-FFF2-40B4-BE49-F238E27FC236}">
                <a16:creationId xmlns:a16="http://schemas.microsoft.com/office/drawing/2014/main" id="{CBE4CB9B-CDE8-48C4-A756-B6415B866B3E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37343B8-24E2-48D2-BE77-5E9626F23D40}"/>
              </a:ext>
            </a:extLst>
          </p:cNvPr>
          <p:cNvSpPr/>
          <p:nvPr/>
        </p:nvSpPr>
        <p:spPr>
          <a:xfrm>
            <a:off x="6071353" y="1844573"/>
            <a:ext cx="5337549" cy="2615325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50" name="Rectangle: Rounded Corners 28">
            <a:extLst>
              <a:ext uri="{FF2B5EF4-FFF2-40B4-BE49-F238E27FC236}">
                <a16:creationId xmlns:a16="http://schemas.microsoft.com/office/drawing/2014/main" id="{76899B09-544B-40F3-ACCB-E7CBE68CFF10}"/>
              </a:ext>
            </a:extLst>
          </p:cNvPr>
          <p:cNvSpPr/>
          <p:nvPr/>
        </p:nvSpPr>
        <p:spPr bwMode="auto">
          <a:xfrm>
            <a:off x="6977548" y="1749653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USINESS CAS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910E7FE-412F-496C-8DAD-D55E2A5CD075}"/>
              </a:ext>
            </a:extLst>
          </p:cNvPr>
          <p:cNvSpPr txBox="1"/>
          <p:nvPr/>
        </p:nvSpPr>
        <p:spPr>
          <a:xfrm>
            <a:off x="6130978" y="2280122"/>
            <a:ext cx="527792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2"/>
                </a:solidFill>
              </a:rPr>
              <a:t>The US Commercial Solutions team had a dashboard that required heavy manual effort in order to extract and consolidate data together on a timely basis.</a:t>
            </a:r>
          </a:p>
          <a:p>
            <a:endParaRPr lang="en-US" sz="1100">
              <a:solidFill>
                <a:schemeClr val="tx2"/>
              </a:solidFill>
            </a:endParaRPr>
          </a:p>
          <a:p>
            <a:r>
              <a:rPr lang="en-US" sz="1100">
                <a:solidFill>
                  <a:schemeClr val="tx2"/>
                </a:solidFill>
              </a:rPr>
              <a:t>The ED&amp;A team has been able </a:t>
            </a:r>
            <a:r>
              <a:rPr lang="en-US" sz="1100" b="1">
                <a:solidFill>
                  <a:schemeClr val="accent2"/>
                </a:solidFill>
              </a:rPr>
              <a:t>fully automate the extraction and consolidation process</a:t>
            </a:r>
            <a:r>
              <a:rPr lang="en-US" sz="1100">
                <a:solidFill>
                  <a:schemeClr val="tx2"/>
                </a:solidFill>
              </a:rPr>
              <a:t>, </a:t>
            </a:r>
            <a:r>
              <a:rPr lang="en-US" sz="1100" b="1">
                <a:solidFill>
                  <a:schemeClr val="accent2"/>
                </a:solidFill>
              </a:rPr>
              <a:t>avoiding the need for a 3</a:t>
            </a:r>
            <a:r>
              <a:rPr lang="en-US" sz="1100" b="1" baseline="30000">
                <a:solidFill>
                  <a:schemeClr val="accent2"/>
                </a:solidFill>
              </a:rPr>
              <a:t>rd</a:t>
            </a:r>
            <a:r>
              <a:rPr lang="en-US" sz="1100" b="1">
                <a:solidFill>
                  <a:schemeClr val="accent2"/>
                </a:solidFill>
              </a:rPr>
              <a:t> Party to implement a costly design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29D8EAB-61DA-44E4-8101-331AF0824E77}"/>
              </a:ext>
            </a:extLst>
          </p:cNvPr>
          <p:cNvSpPr/>
          <p:nvPr/>
        </p:nvSpPr>
        <p:spPr>
          <a:xfrm>
            <a:off x="466325" y="4791779"/>
            <a:ext cx="5277906" cy="1466086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16" name="Rectangle: Rounded Corners 28">
            <a:extLst>
              <a:ext uri="{FF2B5EF4-FFF2-40B4-BE49-F238E27FC236}">
                <a16:creationId xmlns:a16="http://schemas.microsoft.com/office/drawing/2014/main" id="{77EF360B-53A1-4241-A2EB-A3D56BFBFD94}"/>
              </a:ext>
            </a:extLst>
          </p:cNvPr>
          <p:cNvSpPr/>
          <p:nvPr/>
        </p:nvSpPr>
        <p:spPr bwMode="auto">
          <a:xfrm>
            <a:off x="1579314" y="4691005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ENEFITS</a:t>
            </a:r>
          </a:p>
        </p:txBody>
      </p:sp>
      <p:sp>
        <p:nvSpPr>
          <p:cNvPr id="52" name="Rectangle: Rounded Corners 28">
            <a:extLst>
              <a:ext uri="{FF2B5EF4-FFF2-40B4-BE49-F238E27FC236}">
                <a16:creationId xmlns:a16="http://schemas.microsoft.com/office/drawing/2014/main" id="{E59B06E0-AB3F-473F-8E67-BD21EEC083E3}"/>
              </a:ext>
            </a:extLst>
          </p:cNvPr>
          <p:cNvSpPr/>
          <p:nvPr/>
        </p:nvSpPr>
        <p:spPr bwMode="auto">
          <a:xfrm>
            <a:off x="6977548" y="4691502"/>
            <a:ext cx="3711862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EY METRIC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549CC13-C619-435A-B617-EBB202D2F995}"/>
              </a:ext>
            </a:extLst>
          </p:cNvPr>
          <p:cNvSpPr/>
          <p:nvPr/>
        </p:nvSpPr>
        <p:spPr>
          <a:xfrm>
            <a:off x="6990371" y="5400309"/>
            <a:ext cx="1581458" cy="7868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8EC48A7-1EA7-4B14-9157-6A023D99FB05}"/>
              </a:ext>
            </a:extLst>
          </p:cNvPr>
          <p:cNvSpPr/>
          <p:nvPr/>
        </p:nvSpPr>
        <p:spPr>
          <a:xfrm>
            <a:off x="6892060" y="5330202"/>
            <a:ext cx="1581458" cy="774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A6D241F-B800-4946-9397-153EDD7758B7}"/>
              </a:ext>
            </a:extLst>
          </p:cNvPr>
          <p:cNvSpPr txBox="1"/>
          <p:nvPr/>
        </p:nvSpPr>
        <p:spPr>
          <a:xfrm>
            <a:off x="6821535" y="5500055"/>
            <a:ext cx="17225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4 Reports</a:t>
            </a:r>
          </a:p>
          <a:p>
            <a:pPr algn="ctr"/>
            <a:r>
              <a:rPr lang="en-US" sz="1400" b="1">
                <a:solidFill>
                  <a:schemeClr val="accent5"/>
                </a:solidFill>
              </a:rPr>
              <a:t>refreshed daily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D250473-4CF8-41BF-B2EC-8100E9BED813}"/>
              </a:ext>
            </a:extLst>
          </p:cNvPr>
          <p:cNvSpPr/>
          <p:nvPr/>
        </p:nvSpPr>
        <p:spPr>
          <a:xfrm>
            <a:off x="9146247" y="5409411"/>
            <a:ext cx="1808551" cy="7868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EA648C0-4875-4956-8534-FC7F02BFFBC0}"/>
              </a:ext>
            </a:extLst>
          </p:cNvPr>
          <p:cNvSpPr/>
          <p:nvPr/>
        </p:nvSpPr>
        <p:spPr>
          <a:xfrm>
            <a:off x="9047936" y="5339304"/>
            <a:ext cx="1820819" cy="774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CE07229-CC37-43B5-8DF8-0C3D6788F3EC}"/>
              </a:ext>
            </a:extLst>
          </p:cNvPr>
          <p:cNvSpPr txBox="1"/>
          <p:nvPr/>
        </p:nvSpPr>
        <p:spPr>
          <a:xfrm>
            <a:off x="9047936" y="5500055"/>
            <a:ext cx="18208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1 Report</a:t>
            </a:r>
          </a:p>
          <a:p>
            <a:pPr algn="ctr"/>
            <a:r>
              <a:rPr lang="en-US" sz="1400" b="1">
                <a:solidFill>
                  <a:schemeClr val="accent2"/>
                </a:solidFill>
              </a:rPr>
              <a:t>refreshed monthly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D48E9B8-6724-4AB5-B41F-56858CE4B912}"/>
              </a:ext>
            </a:extLst>
          </p:cNvPr>
          <p:cNvSpPr/>
          <p:nvPr/>
        </p:nvSpPr>
        <p:spPr>
          <a:xfrm>
            <a:off x="2488107" y="95648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CSIH Data Access Improvements</a:t>
            </a:r>
            <a:endParaRPr lang="en-US" sz="2400" kern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FDD1A70-B2EF-4FF7-B254-3B005A48C7EA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10A14A4-F6CB-45DE-B6E1-A3DA7E36F837}"/>
              </a:ext>
            </a:extLst>
          </p:cNvPr>
          <p:cNvSpPr/>
          <p:nvPr/>
        </p:nvSpPr>
        <p:spPr>
          <a:xfrm>
            <a:off x="529553" y="1835110"/>
            <a:ext cx="2476095" cy="101021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00" name="Rectangle: Rounded Corners 28">
            <a:extLst>
              <a:ext uri="{FF2B5EF4-FFF2-40B4-BE49-F238E27FC236}">
                <a16:creationId xmlns:a16="http://schemas.microsoft.com/office/drawing/2014/main" id="{5092F700-CF47-48CD-96B9-E8BBC27D95BA}"/>
              </a:ext>
            </a:extLst>
          </p:cNvPr>
          <p:cNvSpPr/>
          <p:nvPr/>
        </p:nvSpPr>
        <p:spPr bwMode="auto">
          <a:xfrm>
            <a:off x="1102393" y="1736627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TEAM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0A2EAC0-10DD-4C33-9401-33636E60C0F1}"/>
              </a:ext>
            </a:extLst>
          </p:cNvPr>
          <p:cNvGrpSpPr/>
          <p:nvPr/>
        </p:nvGrpSpPr>
        <p:grpSpPr>
          <a:xfrm>
            <a:off x="355304" y="1942882"/>
            <a:ext cx="516734" cy="848788"/>
            <a:chOff x="423269" y="3504204"/>
            <a:chExt cx="1310876" cy="2478694"/>
          </a:xfrm>
        </p:grpSpPr>
        <p:sp>
          <p:nvSpPr>
            <p:cNvPr id="102" name="Freeform 3">
              <a:extLst>
                <a:ext uri="{FF2B5EF4-FFF2-40B4-BE49-F238E27FC236}">
                  <a16:creationId xmlns:a16="http://schemas.microsoft.com/office/drawing/2014/main" id="{60B3D97A-8D2B-4066-B50B-1E5ED83F3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269" y="3504204"/>
              <a:ext cx="538068" cy="2161714"/>
            </a:xfrm>
            <a:custGeom>
              <a:avLst/>
              <a:gdLst>
                <a:gd name="T0" fmla="*/ 280 w 287"/>
                <a:gd name="T1" fmla="*/ 271 h 1160"/>
                <a:gd name="T2" fmla="*/ 247 w 287"/>
                <a:gd name="T3" fmla="*/ 188 h 1160"/>
                <a:gd name="T4" fmla="*/ 213 w 287"/>
                <a:gd name="T5" fmla="*/ 135 h 1160"/>
                <a:gd name="T6" fmla="*/ 181 w 287"/>
                <a:gd name="T7" fmla="*/ 23 h 1160"/>
                <a:gd name="T8" fmla="*/ 82 w 287"/>
                <a:gd name="T9" fmla="*/ 57 h 1160"/>
                <a:gd name="T10" fmla="*/ 76 w 287"/>
                <a:gd name="T11" fmla="*/ 189 h 1160"/>
                <a:gd name="T12" fmla="*/ 40 w 287"/>
                <a:gd name="T13" fmla="*/ 237 h 1160"/>
                <a:gd name="T14" fmla="*/ 4 w 287"/>
                <a:gd name="T15" fmla="*/ 366 h 1160"/>
                <a:gd name="T16" fmla="*/ 7 w 287"/>
                <a:gd name="T17" fmla="*/ 412 h 1160"/>
                <a:gd name="T18" fmla="*/ 40 w 287"/>
                <a:gd name="T19" fmla="*/ 467 h 1160"/>
                <a:gd name="T20" fmla="*/ 35 w 287"/>
                <a:gd name="T21" fmla="*/ 546 h 1160"/>
                <a:gd name="T22" fmla="*/ 27 w 287"/>
                <a:gd name="T23" fmla="*/ 759 h 1160"/>
                <a:gd name="T24" fmla="*/ 47 w 287"/>
                <a:gd name="T25" fmla="*/ 843 h 1160"/>
                <a:gd name="T26" fmla="*/ 75 w 287"/>
                <a:gd name="T27" fmla="*/ 1036 h 1160"/>
                <a:gd name="T28" fmla="*/ 44 w 287"/>
                <a:gd name="T29" fmla="*/ 1127 h 1160"/>
                <a:gd name="T30" fmla="*/ 70 w 287"/>
                <a:gd name="T31" fmla="*/ 1155 h 1160"/>
                <a:gd name="T32" fmla="*/ 108 w 287"/>
                <a:gd name="T33" fmla="*/ 1107 h 1160"/>
                <a:gd name="T34" fmla="*/ 107 w 287"/>
                <a:gd name="T35" fmla="*/ 1141 h 1160"/>
                <a:gd name="T36" fmla="*/ 119 w 287"/>
                <a:gd name="T37" fmla="*/ 1132 h 1160"/>
                <a:gd name="T38" fmla="*/ 117 w 287"/>
                <a:gd name="T39" fmla="*/ 1050 h 1160"/>
                <a:gd name="T40" fmla="*/ 115 w 287"/>
                <a:gd name="T41" fmla="*/ 885 h 1160"/>
                <a:gd name="T42" fmla="*/ 167 w 287"/>
                <a:gd name="T43" fmla="*/ 851 h 1160"/>
                <a:gd name="T44" fmla="*/ 169 w 287"/>
                <a:gd name="T45" fmla="*/ 977 h 1160"/>
                <a:gd name="T46" fmla="*/ 154 w 287"/>
                <a:gd name="T47" fmla="*/ 1096 h 1160"/>
                <a:gd name="T48" fmla="*/ 148 w 287"/>
                <a:gd name="T49" fmla="*/ 1159 h 1160"/>
                <a:gd name="T50" fmla="*/ 205 w 287"/>
                <a:gd name="T51" fmla="*/ 1104 h 1160"/>
                <a:gd name="T52" fmla="*/ 202 w 287"/>
                <a:gd name="T53" fmla="*/ 1043 h 1160"/>
                <a:gd name="T54" fmla="*/ 234 w 287"/>
                <a:gd name="T55" fmla="*/ 852 h 1160"/>
                <a:gd name="T56" fmla="*/ 251 w 287"/>
                <a:gd name="T57" fmla="*/ 721 h 1160"/>
                <a:gd name="T58" fmla="*/ 265 w 287"/>
                <a:gd name="T59" fmla="*/ 535 h 1160"/>
                <a:gd name="T60" fmla="*/ 258 w 287"/>
                <a:gd name="T61" fmla="*/ 449 h 1160"/>
                <a:gd name="T62" fmla="*/ 244 w 287"/>
                <a:gd name="T63" fmla="*/ 388 h 1160"/>
                <a:gd name="T64" fmla="*/ 102 w 287"/>
                <a:gd name="T65" fmla="*/ 452 h 1160"/>
                <a:gd name="T66" fmla="*/ 114 w 287"/>
                <a:gd name="T67" fmla="*/ 452 h 1160"/>
                <a:gd name="T68" fmla="*/ 168 w 287"/>
                <a:gd name="T69" fmla="*/ 213 h 1160"/>
                <a:gd name="T70" fmla="*/ 117 w 287"/>
                <a:gd name="T71" fmla="*/ 344 h 1160"/>
                <a:gd name="T72" fmla="*/ 114 w 287"/>
                <a:gd name="T73" fmla="*/ 257 h 1160"/>
                <a:gd name="T74" fmla="*/ 102 w 287"/>
                <a:gd name="T75" fmla="*/ 205 h 1160"/>
                <a:gd name="T76" fmla="*/ 134 w 287"/>
                <a:gd name="T77" fmla="*/ 223 h 1160"/>
                <a:gd name="T78" fmla="*/ 152 w 287"/>
                <a:gd name="T79" fmla="*/ 222 h 1160"/>
                <a:gd name="T80" fmla="*/ 159 w 287"/>
                <a:gd name="T81" fmla="*/ 184 h 1160"/>
                <a:gd name="T82" fmla="*/ 189 w 287"/>
                <a:gd name="T83" fmla="*/ 176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1160">
                  <a:moveTo>
                    <a:pt x="257" y="366"/>
                  </a:moveTo>
                  <a:cubicBezTo>
                    <a:pt x="258" y="353"/>
                    <a:pt x="279" y="285"/>
                    <a:pt x="280" y="271"/>
                  </a:cubicBezTo>
                  <a:cubicBezTo>
                    <a:pt x="281" y="257"/>
                    <a:pt x="287" y="214"/>
                    <a:pt x="282" y="199"/>
                  </a:cubicBezTo>
                  <a:cubicBezTo>
                    <a:pt x="277" y="183"/>
                    <a:pt x="247" y="188"/>
                    <a:pt x="247" y="188"/>
                  </a:cubicBezTo>
                  <a:cubicBezTo>
                    <a:pt x="247" y="188"/>
                    <a:pt x="240" y="172"/>
                    <a:pt x="226" y="168"/>
                  </a:cubicBezTo>
                  <a:cubicBezTo>
                    <a:pt x="211" y="164"/>
                    <a:pt x="229" y="145"/>
                    <a:pt x="213" y="135"/>
                  </a:cubicBezTo>
                  <a:cubicBezTo>
                    <a:pt x="203" y="128"/>
                    <a:pt x="206" y="92"/>
                    <a:pt x="202" y="78"/>
                  </a:cubicBezTo>
                  <a:cubicBezTo>
                    <a:pt x="199" y="64"/>
                    <a:pt x="190" y="35"/>
                    <a:pt x="181" y="23"/>
                  </a:cubicBezTo>
                  <a:cubicBezTo>
                    <a:pt x="171" y="10"/>
                    <a:pt x="152" y="17"/>
                    <a:pt x="152" y="17"/>
                  </a:cubicBezTo>
                  <a:cubicBezTo>
                    <a:pt x="108" y="0"/>
                    <a:pt x="86" y="37"/>
                    <a:pt x="82" y="57"/>
                  </a:cubicBezTo>
                  <a:cubicBezTo>
                    <a:pt x="79" y="77"/>
                    <a:pt x="89" y="114"/>
                    <a:pt x="77" y="140"/>
                  </a:cubicBezTo>
                  <a:cubicBezTo>
                    <a:pt x="66" y="165"/>
                    <a:pt x="91" y="174"/>
                    <a:pt x="76" y="189"/>
                  </a:cubicBezTo>
                  <a:cubicBezTo>
                    <a:pt x="60" y="203"/>
                    <a:pt x="74" y="208"/>
                    <a:pt x="59" y="215"/>
                  </a:cubicBezTo>
                  <a:cubicBezTo>
                    <a:pt x="45" y="221"/>
                    <a:pt x="40" y="224"/>
                    <a:pt x="40" y="237"/>
                  </a:cubicBezTo>
                  <a:cubicBezTo>
                    <a:pt x="40" y="250"/>
                    <a:pt x="28" y="284"/>
                    <a:pt x="22" y="314"/>
                  </a:cubicBezTo>
                  <a:cubicBezTo>
                    <a:pt x="15" y="344"/>
                    <a:pt x="8" y="355"/>
                    <a:pt x="4" y="366"/>
                  </a:cubicBezTo>
                  <a:cubicBezTo>
                    <a:pt x="0" y="378"/>
                    <a:pt x="2" y="382"/>
                    <a:pt x="4" y="388"/>
                  </a:cubicBezTo>
                  <a:cubicBezTo>
                    <a:pt x="6" y="393"/>
                    <a:pt x="7" y="394"/>
                    <a:pt x="7" y="412"/>
                  </a:cubicBezTo>
                  <a:cubicBezTo>
                    <a:pt x="7" y="431"/>
                    <a:pt x="38" y="434"/>
                    <a:pt x="38" y="434"/>
                  </a:cubicBezTo>
                  <a:cubicBezTo>
                    <a:pt x="38" y="434"/>
                    <a:pt x="40" y="451"/>
                    <a:pt x="40" y="467"/>
                  </a:cubicBezTo>
                  <a:cubicBezTo>
                    <a:pt x="40" y="482"/>
                    <a:pt x="30" y="526"/>
                    <a:pt x="28" y="538"/>
                  </a:cubicBezTo>
                  <a:cubicBezTo>
                    <a:pt x="26" y="550"/>
                    <a:pt x="35" y="546"/>
                    <a:pt x="35" y="546"/>
                  </a:cubicBezTo>
                  <a:cubicBezTo>
                    <a:pt x="35" y="546"/>
                    <a:pt x="35" y="559"/>
                    <a:pt x="33" y="578"/>
                  </a:cubicBezTo>
                  <a:cubicBezTo>
                    <a:pt x="30" y="597"/>
                    <a:pt x="27" y="724"/>
                    <a:pt x="27" y="759"/>
                  </a:cubicBezTo>
                  <a:cubicBezTo>
                    <a:pt x="27" y="794"/>
                    <a:pt x="23" y="842"/>
                    <a:pt x="27" y="842"/>
                  </a:cubicBezTo>
                  <a:cubicBezTo>
                    <a:pt x="32" y="842"/>
                    <a:pt x="47" y="843"/>
                    <a:pt x="47" y="843"/>
                  </a:cubicBezTo>
                  <a:cubicBezTo>
                    <a:pt x="47" y="843"/>
                    <a:pt x="45" y="866"/>
                    <a:pt x="46" y="895"/>
                  </a:cubicBezTo>
                  <a:cubicBezTo>
                    <a:pt x="47" y="923"/>
                    <a:pt x="70" y="1014"/>
                    <a:pt x="75" y="1036"/>
                  </a:cubicBezTo>
                  <a:cubicBezTo>
                    <a:pt x="79" y="1059"/>
                    <a:pt x="78" y="1079"/>
                    <a:pt x="70" y="1091"/>
                  </a:cubicBezTo>
                  <a:cubicBezTo>
                    <a:pt x="63" y="1103"/>
                    <a:pt x="57" y="1118"/>
                    <a:pt x="44" y="1127"/>
                  </a:cubicBezTo>
                  <a:cubicBezTo>
                    <a:pt x="31" y="1137"/>
                    <a:pt x="26" y="1141"/>
                    <a:pt x="28" y="1150"/>
                  </a:cubicBezTo>
                  <a:cubicBezTo>
                    <a:pt x="30" y="1158"/>
                    <a:pt x="46" y="1156"/>
                    <a:pt x="70" y="1155"/>
                  </a:cubicBezTo>
                  <a:cubicBezTo>
                    <a:pt x="94" y="1154"/>
                    <a:pt x="91" y="1139"/>
                    <a:pt x="94" y="1132"/>
                  </a:cubicBezTo>
                  <a:cubicBezTo>
                    <a:pt x="97" y="1125"/>
                    <a:pt x="108" y="1107"/>
                    <a:pt x="108" y="1107"/>
                  </a:cubicBezTo>
                  <a:cubicBezTo>
                    <a:pt x="108" y="1107"/>
                    <a:pt x="111" y="1110"/>
                    <a:pt x="111" y="1118"/>
                  </a:cubicBezTo>
                  <a:cubicBezTo>
                    <a:pt x="111" y="1127"/>
                    <a:pt x="107" y="1141"/>
                    <a:pt x="107" y="1141"/>
                  </a:cubicBezTo>
                  <a:cubicBezTo>
                    <a:pt x="117" y="1141"/>
                    <a:pt x="117" y="1141"/>
                    <a:pt x="117" y="1141"/>
                  </a:cubicBezTo>
                  <a:cubicBezTo>
                    <a:pt x="117" y="1141"/>
                    <a:pt x="120" y="1140"/>
                    <a:pt x="119" y="1132"/>
                  </a:cubicBezTo>
                  <a:cubicBezTo>
                    <a:pt x="118" y="1124"/>
                    <a:pt x="123" y="1106"/>
                    <a:pt x="127" y="1091"/>
                  </a:cubicBezTo>
                  <a:cubicBezTo>
                    <a:pt x="132" y="1075"/>
                    <a:pt x="123" y="1057"/>
                    <a:pt x="117" y="1050"/>
                  </a:cubicBezTo>
                  <a:cubicBezTo>
                    <a:pt x="112" y="1044"/>
                    <a:pt x="114" y="1009"/>
                    <a:pt x="115" y="974"/>
                  </a:cubicBezTo>
                  <a:cubicBezTo>
                    <a:pt x="117" y="939"/>
                    <a:pt x="119" y="901"/>
                    <a:pt x="115" y="885"/>
                  </a:cubicBezTo>
                  <a:cubicBezTo>
                    <a:pt x="112" y="868"/>
                    <a:pt x="107" y="846"/>
                    <a:pt x="107" y="846"/>
                  </a:cubicBezTo>
                  <a:cubicBezTo>
                    <a:pt x="167" y="851"/>
                    <a:pt x="167" y="851"/>
                    <a:pt x="167" y="851"/>
                  </a:cubicBezTo>
                  <a:cubicBezTo>
                    <a:pt x="167" y="851"/>
                    <a:pt x="169" y="863"/>
                    <a:pt x="169" y="889"/>
                  </a:cubicBezTo>
                  <a:cubicBezTo>
                    <a:pt x="169" y="916"/>
                    <a:pt x="169" y="934"/>
                    <a:pt x="169" y="977"/>
                  </a:cubicBezTo>
                  <a:cubicBezTo>
                    <a:pt x="169" y="1019"/>
                    <a:pt x="165" y="1035"/>
                    <a:pt x="160" y="1051"/>
                  </a:cubicBezTo>
                  <a:cubicBezTo>
                    <a:pt x="156" y="1068"/>
                    <a:pt x="159" y="1080"/>
                    <a:pt x="154" y="1096"/>
                  </a:cubicBezTo>
                  <a:cubicBezTo>
                    <a:pt x="149" y="1113"/>
                    <a:pt x="140" y="1125"/>
                    <a:pt x="135" y="1134"/>
                  </a:cubicBezTo>
                  <a:cubicBezTo>
                    <a:pt x="129" y="1143"/>
                    <a:pt x="127" y="1158"/>
                    <a:pt x="148" y="1159"/>
                  </a:cubicBezTo>
                  <a:cubicBezTo>
                    <a:pt x="170" y="1160"/>
                    <a:pt x="196" y="1150"/>
                    <a:pt x="196" y="1140"/>
                  </a:cubicBezTo>
                  <a:cubicBezTo>
                    <a:pt x="196" y="1131"/>
                    <a:pt x="198" y="1119"/>
                    <a:pt x="205" y="1104"/>
                  </a:cubicBezTo>
                  <a:cubicBezTo>
                    <a:pt x="213" y="1088"/>
                    <a:pt x="206" y="1075"/>
                    <a:pt x="204" y="1069"/>
                  </a:cubicBezTo>
                  <a:cubicBezTo>
                    <a:pt x="201" y="1062"/>
                    <a:pt x="202" y="1055"/>
                    <a:pt x="202" y="1043"/>
                  </a:cubicBezTo>
                  <a:cubicBezTo>
                    <a:pt x="202" y="1031"/>
                    <a:pt x="213" y="991"/>
                    <a:pt x="225" y="947"/>
                  </a:cubicBezTo>
                  <a:cubicBezTo>
                    <a:pt x="237" y="903"/>
                    <a:pt x="234" y="852"/>
                    <a:pt x="234" y="852"/>
                  </a:cubicBezTo>
                  <a:cubicBezTo>
                    <a:pt x="243" y="852"/>
                    <a:pt x="243" y="852"/>
                    <a:pt x="243" y="852"/>
                  </a:cubicBezTo>
                  <a:cubicBezTo>
                    <a:pt x="243" y="852"/>
                    <a:pt x="244" y="787"/>
                    <a:pt x="251" y="721"/>
                  </a:cubicBezTo>
                  <a:cubicBezTo>
                    <a:pt x="258" y="654"/>
                    <a:pt x="248" y="585"/>
                    <a:pt x="248" y="566"/>
                  </a:cubicBezTo>
                  <a:cubicBezTo>
                    <a:pt x="248" y="547"/>
                    <a:pt x="255" y="539"/>
                    <a:pt x="265" y="535"/>
                  </a:cubicBezTo>
                  <a:cubicBezTo>
                    <a:pt x="276" y="530"/>
                    <a:pt x="277" y="528"/>
                    <a:pt x="272" y="510"/>
                  </a:cubicBezTo>
                  <a:cubicBezTo>
                    <a:pt x="266" y="492"/>
                    <a:pt x="258" y="449"/>
                    <a:pt x="258" y="449"/>
                  </a:cubicBezTo>
                  <a:cubicBezTo>
                    <a:pt x="258" y="449"/>
                    <a:pt x="257" y="443"/>
                    <a:pt x="251" y="424"/>
                  </a:cubicBezTo>
                  <a:cubicBezTo>
                    <a:pt x="244" y="406"/>
                    <a:pt x="244" y="388"/>
                    <a:pt x="244" y="388"/>
                  </a:cubicBezTo>
                  <a:cubicBezTo>
                    <a:pt x="244" y="388"/>
                    <a:pt x="256" y="378"/>
                    <a:pt x="257" y="366"/>
                  </a:cubicBezTo>
                  <a:close/>
                  <a:moveTo>
                    <a:pt x="102" y="452"/>
                  </a:moveTo>
                  <a:cubicBezTo>
                    <a:pt x="110" y="434"/>
                    <a:pt x="110" y="434"/>
                    <a:pt x="110" y="434"/>
                  </a:cubicBezTo>
                  <a:cubicBezTo>
                    <a:pt x="114" y="452"/>
                    <a:pt x="114" y="452"/>
                    <a:pt x="114" y="452"/>
                  </a:cubicBezTo>
                  <a:lnTo>
                    <a:pt x="102" y="452"/>
                  </a:lnTo>
                  <a:close/>
                  <a:moveTo>
                    <a:pt x="168" y="213"/>
                  </a:moveTo>
                  <a:cubicBezTo>
                    <a:pt x="158" y="230"/>
                    <a:pt x="141" y="260"/>
                    <a:pt x="135" y="285"/>
                  </a:cubicBezTo>
                  <a:cubicBezTo>
                    <a:pt x="128" y="309"/>
                    <a:pt x="117" y="344"/>
                    <a:pt x="117" y="344"/>
                  </a:cubicBezTo>
                  <a:cubicBezTo>
                    <a:pt x="117" y="344"/>
                    <a:pt x="116" y="338"/>
                    <a:pt x="115" y="329"/>
                  </a:cubicBezTo>
                  <a:cubicBezTo>
                    <a:pt x="114" y="320"/>
                    <a:pt x="114" y="277"/>
                    <a:pt x="114" y="257"/>
                  </a:cubicBezTo>
                  <a:cubicBezTo>
                    <a:pt x="114" y="237"/>
                    <a:pt x="115" y="220"/>
                    <a:pt x="112" y="219"/>
                  </a:cubicBezTo>
                  <a:cubicBezTo>
                    <a:pt x="108" y="217"/>
                    <a:pt x="102" y="205"/>
                    <a:pt x="102" y="205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17" y="218"/>
                    <a:pt x="129" y="210"/>
                    <a:pt x="134" y="223"/>
                  </a:cubicBezTo>
                  <a:cubicBezTo>
                    <a:pt x="138" y="236"/>
                    <a:pt x="133" y="269"/>
                    <a:pt x="136" y="253"/>
                  </a:cubicBezTo>
                  <a:cubicBezTo>
                    <a:pt x="138" y="238"/>
                    <a:pt x="146" y="237"/>
                    <a:pt x="152" y="222"/>
                  </a:cubicBezTo>
                  <a:cubicBezTo>
                    <a:pt x="159" y="207"/>
                    <a:pt x="139" y="196"/>
                    <a:pt x="139" y="196"/>
                  </a:cubicBezTo>
                  <a:cubicBezTo>
                    <a:pt x="139" y="196"/>
                    <a:pt x="150" y="192"/>
                    <a:pt x="159" y="184"/>
                  </a:cubicBezTo>
                  <a:cubicBezTo>
                    <a:pt x="169" y="175"/>
                    <a:pt x="182" y="164"/>
                    <a:pt x="182" y="164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89" y="176"/>
                    <a:pt x="178" y="196"/>
                    <a:pt x="168" y="21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  <p:sp>
          <p:nvSpPr>
            <p:cNvPr id="103" name="Freeform 4">
              <a:extLst>
                <a:ext uri="{FF2B5EF4-FFF2-40B4-BE49-F238E27FC236}">
                  <a16:creationId xmlns:a16="http://schemas.microsoft.com/office/drawing/2014/main" id="{6EAEE653-EDA3-463F-B3F4-7CDF013403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360" y="3692194"/>
              <a:ext cx="734785" cy="2290704"/>
            </a:xfrm>
            <a:custGeom>
              <a:avLst/>
              <a:gdLst>
                <a:gd name="T0" fmla="*/ 379 w 386"/>
                <a:gd name="T1" fmla="*/ 464 h 1210"/>
                <a:gd name="T2" fmla="*/ 364 w 386"/>
                <a:gd name="T3" fmla="*/ 267 h 1210"/>
                <a:gd name="T4" fmla="*/ 269 w 386"/>
                <a:gd name="T5" fmla="*/ 191 h 1210"/>
                <a:gd name="T6" fmla="*/ 251 w 386"/>
                <a:gd name="T7" fmla="*/ 145 h 1210"/>
                <a:gd name="T8" fmla="*/ 266 w 386"/>
                <a:gd name="T9" fmla="*/ 116 h 1210"/>
                <a:gd name="T10" fmla="*/ 263 w 386"/>
                <a:gd name="T11" fmla="*/ 82 h 1210"/>
                <a:gd name="T12" fmla="*/ 205 w 386"/>
                <a:gd name="T13" fmla="*/ 0 h 1210"/>
                <a:gd name="T14" fmla="*/ 155 w 386"/>
                <a:gd name="T15" fmla="*/ 90 h 1210"/>
                <a:gd name="T16" fmla="*/ 174 w 386"/>
                <a:gd name="T17" fmla="*/ 126 h 1210"/>
                <a:gd name="T18" fmla="*/ 176 w 386"/>
                <a:gd name="T19" fmla="*/ 167 h 1210"/>
                <a:gd name="T20" fmla="*/ 177 w 386"/>
                <a:gd name="T21" fmla="*/ 167 h 1210"/>
                <a:gd name="T22" fmla="*/ 156 w 386"/>
                <a:gd name="T23" fmla="*/ 186 h 1210"/>
                <a:gd name="T24" fmla="*/ 99 w 386"/>
                <a:gd name="T25" fmla="*/ 207 h 1210"/>
                <a:gd name="T26" fmla="*/ 57 w 386"/>
                <a:gd name="T27" fmla="*/ 370 h 1210"/>
                <a:gd name="T28" fmla="*/ 38 w 386"/>
                <a:gd name="T29" fmla="*/ 604 h 1210"/>
                <a:gd name="T30" fmla="*/ 68 w 386"/>
                <a:gd name="T31" fmla="*/ 598 h 1210"/>
                <a:gd name="T32" fmla="*/ 68 w 386"/>
                <a:gd name="T33" fmla="*/ 607 h 1210"/>
                <a:gd name="T34" fmla="*/ 41 w 386"/>
                <a:gd name="T35" fmla="*/ 619 h 1210"/>
                <a:gd name="T36" fmla="*/ 47 w 386"/>
                <a:gd name="T37" fmla="*/ 662 h 1210"/>
                <a:gd name="T38" fmla="*/ 3 w 386"/>
                <a:gd name="T39" fmla="*/ 849 h 1210"/>
                <a:gd name="T40" fmla="*/ 99 w 386"/>
                <a:gd name="T41" fmla="*/ 898 h 1210"/>
                <a:gd name="T42" fmla="*/ 118 w 386"/>
                <a:gd name="T43" fmla="*/ 899 h 1210"/>
                <a:gd name="T44" fmla="*/ 127 w 386"/>
                <a:gd name="T45" fmla="*/ 1051 h 1210"/>
                <a:gd name="T46" fmla="*/ 118 w 386"/>
                <a:gd name="T47" fmla="*/ 1153 h 1210"/>
                <a:gd name="T48" fmla="*/ 181 w 386"/>
                <a:gd name="T49" fmla="*/ 1159 h 1210"/>
                <a:gd name="T50" fmla="*/ 194 w 386"/>
                <a:gd name="T51" fmla="*/ 1084 h 1210"/>
                <a:gd name="T52" fmla="*/ 192 w 386"/>
                <a:gd name="T53" fmla="*/ 968 h 1210"/>
                <a:gd name="T54" fmla="*/ 222 w 386"/>
                <a:gd name="T55" fmla="*/ 712 h 1210"/>
                <a:gd name="T56" fmla="*/ 252 w 386"/>
                <a:gd name="T57" fmla="*/ 767 h 1210"/>
                <a:gd name="T58" fmla="*/ 285 w 386"/>
                <a:gd name="T59" fmla="*/ 1024 h 1210"/>
                <a:gd name="T60" fmla="*/ 277 w 386"/>
                <a:gd name="T61" fmla="*/ 1067 h 1210"/>
                <a:gd name="T62" fmla="*/ 298 w 386"/>
                <a:gd name="T63" fmla="*/ 1146 h 1210"/>
                <a:gd name="T64" fmla="*/ 355 w 386"/>
                <a:gd name="T65" fmla="*/ 1205 h 1210"/>
                <a:gd name="T66" fmla="*/ 347 w 386"/>
                <a:gd name="T67" fmla="*/ 1105 h 1210"/>
                <a:gd name="T68" fmla="*/ 351 w 386"/>
                <a:gd name="T69" fmla="*/ 1046 h 1210"/>
                <a:gd name="T70" fmla="*/ 356 w 386"/>
                <a:gd name="T71" fmla="*/ 829 h 1210"/>
                <a:gd name="T72" fmla="*/ 354 w 386"/>
                <a:gd name="T73" fmla="*/ 603 h 1210"/>
                <a:gd name="T74" fmla="*/ 367 w 386"/>
                <a:gd name="T75" fmla="*/ 565 h 1210"/>
                <a:gd name="T76" fmla="*/ 109 w 386"/>
                <a:gd name="T77" fmla="*/ 669 h 1210"/>
                <a:gd name="T78" fmla="*/ 91 w 386"/>
                <a:gd name="T79" fmla="*/ 666 h 1210"/>
                <a:gd name="T80" fmla="*/ 90 w 386"/>
                <a:gd name="T81" fmla="*/ 617 h 1210"/>
                <a:gd name="T82" fmla="*/ 101 w 386"/>
                <a:gd name="T83" fmla="*/ 628 h 1210"/>
                <a:gd name="T84" fmla="*/ 108 w 386"/>
                <a:gd name="T85" fmla="*/ 649 h 1210"/>
                <a:gd name="T86" fmla="*/ 223 w 386"/>
                <a:gd name="T87" fmla="*/ 505 h 1210"/>
                <a:gd name="T88" fmla="*/ 221 w 386"/>
                <a:gd name="T89" fmla="*/ 232 h 1210"/>
                <a:gd name="T90" fmla="*/ 215 w 386"/>
                <a:gd name="T91" fmla="*/ 208 h 1210"/>
                <a:gd name="T92" fmla="*/ 205 w 386"/>
                <a:gd name="T93" fmla="*/ 231 h 1210"/>
                <a:gd name="T94" fmla="*/ 199 w 386"/>
                <a:gd name="T95" fmla="*/ 505 h 1210"/>
                <a:gd name="T96" fmla="*/ 190 w 386"/>
                <a:gd name="T97" fmla="*/ 325 h 1210"/>
                <a:gd name="T98" fmla="*/ 173 w 386"/>
                <a:gd name="T99" fmla="*/ 188 h 1210"/>
                <a:gd name="T100" fmla="*/ 182 w 386"/>
                <a:gd name="T101" fmla="*/ 176 h 1210"/>
                <a:gd name="T102" fmla="*/ 248 w 386"/>
                <a:gd name="T103" fmla="*/ 179 h 1210"/>
                <a:gd name="T104" fmla="*/ 259 w 386"/>
                <a:gd name="T105" fmla="*/ 196 h 1210"/>
                <a:gd name="T106" fmla="*/ 258 w 386"/>
                <a:gd name="T107" fmla="*/ 201 h 1210"/>
                <a:gd name="T108" fmla="*/ 260 w 386"/>
                <a:gd name="T109" fmla="*/ 256 h 1210"/>
                <a:gd name="T110" fmla="*/ 301 w 386"/>
                <a:gd name="T111" fmla="*/ 488 h 1210"/>
                <a:gd name="T112" fmla="*/ 360 w 386"/>
                <a:gd name="T113" fmla="*/ 585 h 1210"/>
                <a:gd name="T114" fmla="*/ 328 w 386"/>
                <a:gd name="T115" fmla="*/ 554 h 1210"/>
                <a:gd name="T116" fmla="*/ 360 w 386"/>
                <a:gd name="T117" fmla="*/ 585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1210">
                  <a:moveTo>
                    <a:pt x="379" y="512"/>
                  </a:moveTo>
                  <a:cubicBezTo>
                    <a:pt x="385" y="497"/>
                    <a:pt x="386" y="471"/>
                    <a:pt x="379" y="464"/>
                  </a:cubicBezTo>
                  <a:cubicBezTo>
                    <a:pt x="372" y="456"/>
                    <a:pt x="383" y="413"/>
                    <a:pt x="376" y="380"/>
                  </a:cubicBezTo>
                  <a:cubicBezTo>
                    <a:pt x="370" y="347"/>
                    <a:pt x="365" y="295"/>
                    <a:pt x="364" y="267"/>
                  </a:cubicBezTo>
                  <a:cubicBezTo>
                    <a:pt x="364" y="239"/>
                    <a:pt x="362" y="219"/>
                    <a:pt x="326" y="210"/>
                  </a:cubicBezTo>
                  <a:cubicBezTo>
                    <a:pt x="302" y="204"/>
                    <a:pt x="282" y="197"/>
                    <a:pt x="269" y="191"/>
                  </a:cubicBezTo>
                  <a:cubicBezTo>
                    <a:pt x="269" y="191"/>
                    <a:pt x="255" y="179"/>
                    <a:pt x="252" y="168"/>
                  </a:cubicBezTo>
                  <a:cubicBezTo>
                    <a:pt x="251" y="159"/>
                    <a:pt x="251" y="150"/>
                    <a:pt x="251" y="145"/>
                  </a:cubicBezTo>
                  <a:cubicBezTo>
                    <a:pt x="253" y="136"/>
                    <a:pt x="253" y="129"/>
                    <a:pt x="253" y="124"/>
                  </a:cubicBezTo>
                  <a:cubicBezTo>
                    <a:pt x="253" y="118"/>
                    <a:pt x="264" y="126"/>
                    <a:pt x="266" y="116"/>
                  </a:cubicBezTo>
                  <a:cubicBezTo>
                    <a:pt x="269" y="107"/>
                    <a:pt x="271" y="85"/>
                    <a:pt x="269" y="84"/>
                  </a:cubicBezTo>
                  <a:cubicBezTo>
                    <a:pt x="267" y="82"/>
                    <a:pt x="265" y="82"/>
                    <a:pt x="263" y="82"/>
                  </a:cubicBezTo>
                  <a:cubicBezTo>
                    <a:pt x="263" y="79"/>
                    <a:pt x="265" y="59"/>
                    <a:pt x="263" y="38"/>
                  </a:cubicBezTo>
                  <a:cubicBezTo>
                    <a:pt x="262" y="18"/>
                    <a:pt x="242" y="2"/>
                    <a:pt x="205" y="0"/>
                  </a:cubicBezTo>
                  <a:cubicBezTo>
                    <a:pt x="184" y="0"/>
                    <a:pt x="160" y="16"/>
                    <a:pt x="157" y="38"/>
                  </a:cubicBezTo>
                  <a:cubicBezTo>
                    <a:pt x="154" y="60"/>
                    <a:pt x="155" y="90"/>
                    <a:pt x="155" y="90"/>
                  </a:cubicBezTo>
                  <a:cubicBezTo>
                    <a:pt x="155" y="90"/>
                    <a:pt x="148" y="105"/>
                    <a:pt x="154" y="117"/>
                  </a:cubicBezTo>
                  <a:cubicBezTo>
                    <a:pt x="160" y="129"/>
                    <a:pt x="174" y="126"/>
                    <a:pt x="174" y="126"/>
                  </a:cubicBezTo>
                  <a:cubicBezTo>
                    <a:pt x="174" y="126"/>
                    <a:pt x="177" y="145"/>
                    <a:pt x="177" y="155"/>
                  </a:cubicBezTo>
                  <a:cubicBezTo>
                    <a:pt x="177" y="160"/>
                    <a:pt x="177" y="164"/>
                    <a:pt x="176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7" y="167"/>
                    <a:pt x="177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64" y="182"/>
                    <a:pt x="156" y="186"/>
                  </a:cubicBezTo>
                  <a:cubicBezTo>
                    <a:pt x="143" y="192"/>
                    <a:pt x="123" y="200"/>
                    <a:pt x="107" y="205"/>
                  </a:cubicBezTo>
                  <a:cubicBezTo>
                    <a:pt x="104" y="206"/>
                    <a:pt x="102" y="206"/>
                    <a:pt x="99" y="207"/>
                  </a:cubicBezTo>
                  <a:cubicBezTo>
                    <a:pt x="80" y="213"/>
                    <a:pt x="65" y="218"/>
                    <a:pt x="65" y="244"/>
                  </a:cubicBezTo>
                  <a:cubicBezTo>
                    <a:pt x="64" y="274"/>
                    <a:pt x="61" y="331"/>
                    <a:pt x="57" y="370"/>
                  </a:cubicBezTo>
                  <a:cubicBezTo>
                    <a:pt x="53" y="408"/>
                    <a:pt x="41" y="490"/>
                    <a:pt x="41" y="516"/>
                  </a:cubicBezTo>
                  <a:cubicBezTo>
                    <a:pt x="40" y="542"/>
                    <a:pt x="37" y="598"/>
                    <a:pt x="38" y="604"/>
                  </a:cubicBezTo>
                  <a:cubicBezTo>
                    <a:pt x="38" y="609"/>
                    <a:pt x="42" y="609"/>
                    <a:pt x="42" y="615"/>
                  </a:cubicBezTo>
                  <a:cubicBezTo>
                    <a:pt x="43" y="612"/>
                    <a:pt x="48" y="598"/>
                    <a:pt x="68" y="598"/>
                  </a:cubicBezTo>
                  <a:cubicBezTo>
                    <a:pt x="90" y="598"/>
                    <a:pt x="90" y="614"/>
                    <a:pt x="90" y="614"/>
                  </a:cubicBezTo>
                  <a:cubicBezTo>
                    <a:pt x="83" y="607"/>
                    <a:pt x="83" y="607"/>
                    <a:pt x="68" y="607"/>
                  </a:cubicBezTo>
                  <a:cubicBezTo>
                    <a:pt x="54" y="606"/>
                    <a:pt x="43" y="614"/>
                    <a:pt x="42" y="615"/>
                  </a:cubicBezTo>
                  <a:cubicBezTo>
                    <a:pt x="42" y="616"/>
                    <a:pt x="42" y="618"/>
                    <a:pt x="41" y="619"/>
                  </a:cubicBezTo>
                  <a:cubicBezTo>
                    <a:pt x="39" y="630"/>
                    <a:pt x="39" y="639"/>
                    <a:pt x="45" y="646"/>
                  </a:cubicBezTo>
                  <a:cubicBezTo>
                    <a:pt x="50" y="653"/>
                    <a:pt x="47" y="662"/>
                    <a:pt x="47" y="662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849"/>
                    <a:pt x="3" y="849"/>
                    <a:pt x="3" y="849"/>
                  </a:cubicBezTo>
                  <a:cubicBezTo>
                    <a:pt x="78" y="907"/>
                    <a:pt x="78" y="907"/>
                    <a:pt x="78" y="907"/>
                  </a:cubicBezTo>
                  <a:cubicBezTo>
                    <a:pt x="78" y="907"/>
                    <a:pt x="89" y="899"/>
                    <a:pt x="99" y="898"/>
                  </a:cubicBezTo>
                  <a:cubicBezTo>
                    <a:pt x="100" y="898"/>
                    <a:pt x="101" y="898"/>
                    <a:pt x="101" y="898"/>
                  </a:cubicBezTo>
                  <a:cubicBezTo>
                    <a:pt x="112" y="898"/>
                    <a:pt x="118" y="899"/>
                    <a:pt x="118" y="899"/>
                  </a:cubicBezTo>
                  <a:cubicBezTo>
                    <a:pt x="118" y="899"/>
                    <a:pt x="115" y="955"/>
                    <a:pt x="115" y="977"/>
                  </a:cubicBezTo>
                  <a:cubicBezTo>
                    <a:pt x="115" y="1000"/>
                    <a:pt x="117" y="1035"/>
                    <a:pt x="127" y="1051"/>
                  </a:cubicBezTo>
                  <a:cubicBezTo>
                    <a:pt x="136" y="1067"/>
                    <a:pt x="138" y="1073"/>
                    <a:pt x="138" y="1087"/>
                  </a:cubicBezTo>
                  <a:cubicBezTo>
                    <a:pt x="138" y="1101"/>
                    <a:pt x="117" y="1140"/>
                    <a:pt x="118" y="1153"/>
                  </a:cubicBezTo>
                  <a:cubicBezTo>
                    <a:pt x="118" y="1166"/>
                    <a:pt x="121" y="1186"/>
                    <a:pt x="143" y="1186"/>
                  </a:cubicBezTo>
                  <a:cubicBezTo>
                    <a:pt x="165" y="1185"/>
                    <a:pt x="181" y="1176"/>
                    <a:pt x="181" y="1159"/>
                  </a:cubicBezTo>
                  <a:cubicBezTo>
                    <a:pt x="181" y="1141"/>
                    <a:pt x="178" y="1130"/>
                    <a:pt x="185" y="1124"/>
                  </a:cubicBezTo>
                  <a:cubicBezTo>
                    <a:pt x="193" y="1117"/>
                    <a:pt x="181" y="1101"/>
                    <a:pt x="194" y="1084"/>
                  </a:cubicBezTo>
                  <a:cubicBezTo>
                    <a:pt x="206" y="1067"/>
                    <a:pt x="193" y="1066"/>
                    <a:pt x="196" y="1050"/>
                  </a:cubicBezTo>
                  <a:cubicBezTo>
                    <a:pt x="199" y="1034"/>
                    <a:pt x="193" y="987"/>
                    <a:pt x="192" y="968"/>
                  </a:cubicBezTo>
                  <a:cubicBezTo>
                    <a:pt x="191" y="949"/>
                    <a:pt x="194" y="926"/>
                    <a:pt x="204" y="846"/>
                  </a:cubicBezTo>
                  <a:cubicBezTo>
                    <a:pt x="213" y="765"/>
                    <a:pt x="219" y="729"/>
                    <a:pt x="222" y="712"/>
                  </a:cubicBezTo>
                  <a:cubicBezTo>
                    <a:pt x="225" y="694"/>
                    <a:pt x="229" y="672"/>
                    <a:pt x="229" y="672"/>
                  </a:cubicBezTo>
                  <a:cubicBezTo>
                    <a:pt x="229" y="672"/>
                    <a:pt x="242" y="748"/>
                    <a:pt x="252" y="767"/>
                  </a:cubicBezTo>
                  <a:cubicBezTo>
                    <a:pt x="262" y="785"/>
                    <a:pt x="274" y="879"/>
                    <a:pt x="277" y="907"/>
                  </a:cubicBezTo>
                  <a:cubicBezTo>
                    <a:pt x="280" y="934"/>
                    <a:pt x="278" y="1015"/>
                    <a:pt x="285" y="1024"/>
                  </a:cubicBezTo>
                  <a:cubicBezTo>
                    <a:pt x="291" y="1032"/>
                    <a:pt x="294" y="1044"/>
                    <a:pt x="294" y="1044"/>
                  </a:cubicBezTo>
                  <a:cubicBezTo>
                    <a:pt x="294" y="1044"/>
                    <a:pt x="277" y="1054"/>
                    <a:pt x="277" y="1067"/>
                  </a:cubicBezTo>
                  <a:cubicBezTo>
                    <a:pt x="277" y="1081"/>
                    <a:pt x="290" y="1092"/>
                    <a:pt x="289" y="1110"/>
                  </a:cubicBezTo>
                  <a:cubicBezTo>
                    <a:pt x="289" y="1128"/>
                    <a:pt x="291" y="1143"/>
                    <a:pt x="298" y="1146"/>
                  </a:cubicBezTo>
                  <a:cubicBezTo>
                    <a:pt x="305" y="1150"/>
                    <a:pt x="304" y="1180"/>
                    <a:pt x="313" y="1191"/>
                  </a:cubicBezTo>
                  <a:cubicBezTo>
                    <a:pt x="322" y="1201"/>
                    <a:pt x="337" y="1210"/>
                    <a:pt x="355" y="1205"/>
                  </a:cubicBezTo>
                  <a:cubicBezTo>
                    <a:pt x="373" y="1199"/>
                    <a:pt x="373" y="1175"/>
                    <a:pt x="364" y="1152"/>
                  </a:cubicBezTo>
                  <a:cubicBezTo>
                    <a:pt x="355" y="1129"/>
                    <a:pt x="344" y="1114"/>
                    <a:pt x="347" y="1105"/>
                  </a:cubicBezTo>
                  <a:cubicBezTo>
                    <a:pt x="351" y="1096"/>
                    <a:pt x="354" y="1082"/>
                    <a:pt x="345" y="1073"/>
                  </a:cubicBezTo>
                  <a:cubicBezTo>
                    <a:pt x="336" y="1064"/>
                    <a:pt x="345" y="1054"/>
                    <a:pt x="351" y="1046"/>
                  </a:cubicBezTo>
                  <a:cubicBezTo>
                    <a:pt x="357" y="1038"/>
                    <a:pt x="356" y="1002"/>
                    <a:pt x="356" y="982"/>
                  </a:cubicBezTo>
                  <a:cubicBezTo>
                    <a:pt x="357" y="962"/>
                    <a:pt x="354" y="864"/>
                    <a:pt x="356" y="829"/>
                  </a:cubicBezTo>
                  <a:cubicBezTo>
                    <a:pt x="357" y="793"/>
                    <a:pt x="360" y="685"/>
                    <a:pt x="355" y="655"/>
                  </a:cubicBezTo>
                  <a:cubicBezTo>
                    <a:pt x="350" y="625"/>
                    <a:pt x="354" y="603"/>
                    <a:pt x="354" y="603"/>
                  </a:cubicBezTo>
                  <a:cubicBezTo>
                    <a:pt x="354" y="603"/>
                    <a:pt x="366" y="609"/>
                    <a:pt x="366" y="597"/>
                  </a:cubicBezTo>
                  <a:cubicBezTo>
                    <a:pt x="366" y="586"/>
                    <a:pt x="362" y="584"/>
                    <a:pt x="367" y="565"/>
                  </a:cubicBezTo>
                  <a:cubicBezTo>
                    <a:pt x="372" y="545"/>
                    <a:pt x="373" y="527"/>
                    <a:pt x="379" y="512"/>
                  </a:cubicBezTo>
                  <a:close/>
                  <a:moveTo>
                    <a:pt x="109" y="669"/>
                  </a:moveTo>
                  <a:cubicBezTo>
                    <a:pt x="99" y="668"/>
                    <a:pt x="99" y="668"/>
                    <a:pt x="99" y="668"/>
                  </a:cubicBezTo>
                  <a:cubicBezTo>
                    <a:pt x="91" y="666"/>
                    <a:pt x="91" y="666"/>
                    <a:pt x="91" y="666"/>
                  </a:cubicBezTo>
                  <a:cubicBezTo>
                    <a:pt x="91" y="666"/>
                    <a:pt x="93" y="653"/>
                    <a:pt x="90" y="644"/>
                  </a:cubicBezTo>
                  <a:cubicBezTo>
                    <a:pt x="87" y="635"/>
                    <a:pt x="88" y="627"/>
                    <a:pt x="90" y="617"/>
                  </a:cubicBezTo>
                  <a:cubicBezTo>
                    <a:pt x="90" y="617"/>
                    <a:pt x="93" y="627"/>
                    <a:pt x="99" y="628"/>
                  </a:cubicBezTo>
                  <a:cubicBezTo>
                    <a:pt x="100" y="628"/>
                    <a:pt x="100" y="628"/>
                    <a:pt x="101" y="628"/>
                  </a:cubicBezTo>
                  <a:cubicBezTo>
                    <a:pt x="108" y="628"/>
                    <a:pt x="111" y="629"/>
                    <a:pt x="111" y="629"/>
                  </a:cubicBezTo>
                  <a:cubicBezTo>
                    <a:pt x="111" y="629"/>
                    <a:pt x="108" y="640"/>
                    <a:pt x="108" y="649"/>
                  </a:cubicBezTo>
                  <a:cubicBezTo>
                    <a:pt x="108" y="659"/>
                    <a:pt x="109" y="669"/>
                    <a:pt x="109" y="669"/>
                  </a:cubicBezTo>
                  <a:close/>
                  <a:moveTo>
                    <a:pt x="223" y="505"/>
                  </a:moveTo>
                  <a:cubicBezTo>
                    <a:pt x="225" y="464"/>
                    <a:pt x="224" y="347"/>
                    <a:pt x="223" y="322"/>
                  </a:cubicBezTo>
                  <a:cubicBezTo>
                    <a:pt x="223" y="296"/>
                    <a:pt x="218" y="239"/>
                    <a:pt x="221" y="232"/>
                  </a:cubicBezTo>
                  <a:cubicBezTo>
                    <a:pt x="224" y="224"/>
                    <a:pt x="232" y="218"/>
                    <a:pt x="241" y="223"/>
                  </a:cubicBezTo>
                  <a:cubicBezTo>
                    <a:pt x="241" y="223"/>
                    <a:pt x="231" y="208"/>
                    <a:pt x="215" y="208"/>
                  </a:cubicBezTo>
                  <a:cubicBezTo>
                    <a:pt x="199" y="208"/>
                    <a:pt x="188" y="223"/>
                    <a:pt x="188" y="223"/>
                  </a:cubicBezTo>
                  <a:cubicBezTo>
                    <a:pt x="188" y="223"/>
                    <a:pt x="206" y="219"/>
                    <a:pt x="205" y="231"/>
                  </a:cubicBezTo>
                  <a:cubicBezTo>
                    <a:pt x="205" y="243"/>
                    <a:pt x="199" y="305"/>
                    <a:pt x="199" y="346"/>
                  </a:cubicBezTo>
                  <a:cubicBezTo>
                    <a:pt x="199" y="383"/>
                    <a:pt x="196" y="472"/>
                    <a:pt x="199" y="505"/>
                  </a:cubicBezTo>
                  <a:cubicBezTo>
                    <a:pt x="187" y="504"/>
                    <a:pt x="183" y="503"/>
                    <a:pt x="183" y="503"/>
                  </a:cubicBezTo>
                  <a:cubicBezTo>
                    <a:pt x="183" y="503"/>
                    <a:pt x="194" y="386"/>
                    <a:pt x="190" y="325"/>
                  </a:cubicBezTo>
                  <a:cubicBezTo>
                    <a:pt x="186" y="279"/>
                    <a:pt x="178" y="220"/>
                    <a:pt x="173" y="188"/>
                  </a:cubicBezTo>
                  <a:cubicBezTo>
                    <a:pt x="173" y="188"/>
                    <a:pt x="173" y="188"/>
                    <a:pt x="173" y="188"/>
                  </a:cubicBezTo>
                  <a:cubicBezTo>
                    <a:pt x="173" y="188"/>
                    <a:pt x="178" y="170"/>
                    <a:pt x="182" y="176"/>
                  </a:cubicBezTo>
                  <a:cubicBezTo>
                    <a:pt x="182" y="176"/>
                    <a:pt x="182" y="176"/>
                    <a:pt x="182" y="176"/>
                  </a:cubicBezTo>
                  <a:cubicBezTo>
                    <a:pt x="190" y="189"/>
                    <a:pt x="203" y="204"/>
                    <a:pt x="212" y="204"/>
                  </a:cubicBezTo>
                  <a:cubicBezTo>
                    <a:pt x="222" y="204"/>
                    <a:pt x="238" y="193"/>
                    <a:pt x="248" y="179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48" y="179"/>
                    <a:pt x="258" y="182"/>
                    <a:pt x="259" y="196"/>
                  </a:cubicBezTo>
                  <a:cubicBezTo>
                    <a:pt x="259" y="197"/>
                    <a:pt x="258" y="199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13"/>
                    <a:pt x="258" y="230"/>
                    <a:pt x="260" y="256"/>
                  </a:cubicBezTo>
                  <a:cubicBezTo>
                    <a:pt x="263" y="335"/>
                    <a:pt x="277" y="429"/>
                    <a:pt x="284" y="450"/>
                  </a:cubicBezTo>
                  <a:cubicBezTo>
                    <a:pt x="292" y="472"/>
                    <a:pt x="301" y="488"/>
                    <a:pt x="301" y="488"/>
                  </a:cubicBezTo>
                  <a:cubicBezTo>
                    <a:pt x="301" y="488"/>
                    <a:pt x="251" y="504"/>
                    <a:pt x="223" y="505"/>
                  </a:cubicBezTo>
                  <a:close/>
                  <a:moveTo>
                    <a:pt x="360" y="585"/>
                  </a:moveTo>
                  <a:cubicBezTo>
                    <a:pt x="358" y="573"/>
                    <a:pt x="361" y="568"/>
                    <a:pt x="352" y="561"/>
                  </a:cubicBezTo>
                  <a:cubicBezTo>
                    <a:pt x="343" y="554"/>
                    <a:pt x="328" y="554"/>
                    <a:pt x="328" y="554"/>
                  </a:cubicBezTo>
                  <a:cubicBezTo>
                    <a:pt x="328" y="554"/>
                    <a:pt x="350" y="545"/>
                    <a:pt x="360" y="557"/>
                  </a:cubicBezTo>
                  <a:cubicBezTo>
                    <a:pt x="369" y="570"/>
                    <a:pt x="360" y="585"/>
                    <a:pt x="360" y="58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E76E050-2422-4DC7-903B-5E405C53FAA8}"/>
              </a:ext>
            </a:extLst>
          </p:cNvPr>
          <p:cNvSpPr/>
          <p:nvPr/>
        </p:nvSpPr>
        <p:spPr>
          <a:xfrm>
            <a:off x="3133165" y="1835110"/>
            <a:ext cx="2575926" cy="101057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pic>
        <p:nvPicPr>
          <p:cNvPr id="106" name="Picture 3" descr="Salesforce logo">
            <a:extLst>
              <a:ext uri="{FF2B5EF4-FFF2-40B4-BE49-F238E27FC236}">
                <a16:creationId xmlns:a16="http://schemas.microsoft.com/office/drawing/2014/main" id="{20C699C7-85AD-4FC9-8033-BDEBF20F8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380" y="2165535"/>
            <a:ext cx="698164" cy="46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0D548263-2095-40C2-99A6-C65E56F8E021}"/>
              </a:ext>
            </a:extLst>
          </p:cNvPr>
          <p:cNvSpPr/>
          <p:nvPr/>
        </p:nvSpPr>
        <p:spPr bwMode="auto">
          <a:xfrm>
            <a:off x="3792435" y="1750249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TA SOURCE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CD59763-5A6D-4CFC-ABFF-D575511AF534}"/>
              </a:ext>
            </a:extLst>
          </p:cNvPr>
          <p:cNvSpPr/>
          <p:nvPr/>
        </p:nvSpPr>
        <p:spPr>
          <a:xfrm>
            <a:off x="466325" y="3204496"/>
            <a:ext cx="5277906" cy="1255403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11" name="Rectangle: Rounded Corners 28">
            <a:extLst>
              <a:ext uri="{FF2B5EF4-FFF2-40B4-BE49-F238E27FC236}">
                <a16:creationId xmlns:a16="http://schemas.microsoft.com/office/drawing/2014/main" id="{41A0F59D-6751-4324-942C-A595A0D85D30}"/>
              </a:ext>
            </a:extLst>
          </p:cNvPr>
          <p:cNvSpPr/>
          <p:nvPr/>
        </p:nvSpPr>
        <p:spPr bwMode="auto">
          <a:xfrm>
            <a:off x="1579314" y="3080645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SOLUTION</a:t>
            </a:r>
          </a:p>
        </p:txBody>
      </p:sp>
      <p:pic>
        <p:nvPicPr>
          <p:cNvPr id="57" name="Picture 8" descr="Modern Project &amp; Work Management Platform | Smartsheet">
            <a:extLst>
              <a:ext uri="{FF2B5EF4-FFF2-40B4-BE49-F238E27FC236}">
                <a16:creationId xmlns:a16="http://schemas.microsoft.com/office/drawing/2014/main" id="{A359DA72-9D6A-4B53-AED7-C7B526F35C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2854" y="2176570"/>
            <a:ext cx="498968" cy="498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3" descr="Salesforce logo">
            <a:extLst>
              <a:ext uri="{FF2B5EF4-FFF2-40B4-BE49-F238E27FC236}">
                <a16:creationId xmlns:a16="http://schemas.microsoft.com/office/drawing/2014/main" id="{F890C61E-1156-45E7-966E-7148FBB0A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80" y="3389580"/>
            <a:ext cx="618434" cy="412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" descr="The Python Logo | Python Software Foundation">
            <a:extLst>
              <a:ext uri="{FF2B5EF4-FFF2-40B4-BE49-F238E27FC236}">
                <a16:creationId xmlns:a16="http://schemas.microsoft.com/office/drawing/2014/main" id="{26D080CE-01A2-4FA9-83B3-31D3F60E66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837" y="3700410"/>
            <a:ext cx="1011090" cy="33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31F3149A-C920-43B9-9F72-1F6C128C7268}"/>
              </a:ext>
            </a:extLst>
          </p:cNvPr>
          <p:cNvCxnSpPr>
            <a:cxnSpLocks/>
          </p:cNvCxnSpPr>
          <p:nvPr/>
        </p:nvCxnSpPr>
        <p:spPr>
          <a:xfrm>
            <a:off x="1225445" y="3554945"/>
            <a:ext cx="668181" cy="290931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08214B39-C80C-42C7-A811-A1B78B32F056}"/>
              </a:ext>
            </a:extLst>
          </p:cNvPr>
          <p:cNvCxnSpPr>
            <a:cxnSpLocks/>
          </p:cNvCxnSpPr>
          <p:nvPr/>
        </p:nvCxnSpPr>
        <p:spPr>
          <a:xfrm flipV="1">
            <a:off x="1225445" y="3836277"/>
            <a:ext cx="668181" cy="290932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285D5FF9-018E-4A3E-B388-953055D42DB7}"/>
              </a:ext>
            </a:extLst>
          </p:cNvPr>
          <p:cNvCxnSpPr>
            <a:cxnSpLocks/>
          </p:cNvCxnSpPr>
          <p:nvPr/>
        </p:nvCxnSpPr>
        <p:spPr>
          <a:xfrm flipV="1">
            <a:off x="2789867" y="3845876"/>
            <a:ext cx="519895" cy="1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Graphic 81" descr="Envelope outline">
            <a:extLst>
              <a:ext uri="{FF2B5EF4-FFF2-40B4-BE49-F238E27FC236}">
                <a16:creationId xmlns:a16="http://schemas.microsoft.com/office/drawing/2014/main" id="{E4A2B5D8-DB61-4F85-9BF0-6669D694D5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20332" y="3644553"/>
            <a:ext cx="402645" cy="402645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F71569A0-0F73-42F9-90BF-31C45BC75A16}"/>
              </a:ext>
            </a:extLst>
          </p:cNvPr>
          <p:cNvSpPr txBox="1"/>
          <p:nvPr/>
        </p:nvSpPr>
        <p:spPr>
          <a:xfrm>
            <a:off x="4872852" y="3652845"/>
            <a:ext cx="10437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tx2"/>
                </a:solidFill>
              </a:rPr>
              <a:t>Daily alert email to stakeholders</a:t>
            </a:r>
          </a:p>
        </p:txBody>
      </p:sp>
      <p:pic>
        <p:nvPicPr>
          <p:cNvPr id="84" name="Picture 8" descr="Modern Project &amp; Work Management Platform | Smartsheet">
            <a:extLst>
              <a:ext uri="{FF2B5EF4-FFF2-40B4-BE49-F238E27FC236}">
                <a16:creationId xmlns:a16="http://schemas.microsoft.com/office/drawing/2014/main" id="{D80F5A64-5205-4C8E-B054-8CD115B68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79" y="3836277"/>
            <a:ext cx="498968" cy="498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5D922C9F-CD86-4242-AA36-A1F852854AD9}"/>
              </a:ext>
            </a:extLst>
          </p:cNvPr>
          <p:cNvCxnSpPr>
            <a:cxnSpLocks/>
          </p:cNvCxnSpPr>
          <p:nvPr/>
        </p:nvCxnSpPr>
        <p:spPr>
          <a:xfrm flipV="1">
            <a:off x="3837898" y="3870229"/>
            <a:ext cx="519895" cy="1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c 85" descr="Database with solid fill">
            <a:extLst>
              <a:ext uri="{FF2B5EF4-FFF2-40B4-BE49-F238E27FC236}">
                <a16:creationId xmlns:a16="http://schemas.microsoft.com/office/drawing/2014/main" id="{447596B8-E131-407B-B542-5016D112F6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28861" y="3474413"/>
            <a:ext cx="637494" cy="637494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F604E8B6-E5E3-440D-9FC3-E3BB2B16F79F}"/>
              </a:ext>
            </a:extLst>
          </p:cNvPr>
          <p:cNvSpPr txBox="1"/>
          <p:nvPr/>
        </p:nvSpPr>
        <p:spPr>
          <a:xfrm>
            <a:off x="2971738" y="4038817"/>
            <a:ext cx="14481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tx2"/>
                </a:solidFill>
              </a:rPr>
              <a:t>CSIH SQL Database</a:t>
            </a:r>
          </a:p>
        </p:txBody>
      </p:sp>
      <p:sp>
        <p:nvSpPr>
          <p:cNvPr id="88" name="Rectángulo 2">
            <a:extLst>
              <a:ext uri="{FF2B5EF4-FFF2-40B4-BE49-F238E27FC236}">
                <a16:creationId xmlns:a16="http://schemas.microsoft.com/office/drawing/2014/main" id="{553715DF-43AB-49A9-874A-EF3457492CF0}"/>
              </a:ext>
            </a:extLst>
          </p:cNvPr>
          <p:cNvSpPr/>
          <p:nvPr/>
        </p:nvSpPr>
        <p:spPr>
          <a:xfrm>
            <a:off x="803009" y="5048755"/>
            <a:ext cx="163378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106 hours </a:t>
            </a:r>
            <a:r>
              <a:rPr lang="en-US" sz="1200">
                <a:solidFill>
                  <a:schemeClr val="tx2"/>
                </a:solidFill>
                <a:cs typeface="Segoe UI" panose="020B0502040204020203" pitchFamily="34" charset="0"/>
              </a:rPr>
              <a:t>saved per month </a:t>
            </a:r>
            <a:endParaRPr lang="es-ES">
              <a:solidFill>
                <a:schemeClr val="tx2"/>
              </a:solidFill>
            </a:endParaRPr>
          </a:p>
        </p:txBody>
      </p:sp>
      <p:sp>
        <p:nvSpPr>
          <p:cNvPr id="89" name="Rectángulo 2">
            <a:extLst>
              <a:ext uri="{FF2B5EF4-FFF2-40B4-BE49-F238E27FC236}">
                <a16:creationId xmlns:a16="http://schemas.microsoft.com/office/drawing/2014/main" id="{F9A918F6-8C9C-47AD-BED8-B6690858EB0E}"/>
              </a:ext>
            </a:extLst>
          </p:cNvPr>
          <p:cNvSpPr/>
          <p:nvPr/>
        </p:nvSpPr>
        <p:spPr>
          <a:xfrm>
            <a:off x="812894" y="5819035"/>
            <a:ext cx="16337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$40K </a:t>
            </a:r>
            <a:r>
              <a:rPr lang="en-US" sz="1200">
                <a:solidFill>
                  <a:schemeClr val="tx2"/>
                </a:solidFill>
                <a:cs typeface="Segoe UI" panose="020B0502040204020203" pitchFamily="34" charset="0"/>
              </a:rPr>
              <a:t>yearly savings</a:t>
            </a:r>
            <a:endParaRPr lang="es-ES" sz="1600">
              <a:solidFill>
                <a:schemeClr val="tx2"/>
              </a:solidFill>
            </a:endParaRPr>
          </a:p>
        </p:txBody>
      </p:sp>
      <p:sp>
        <p:nvSpPr>
          <p:cNvPr id="90" name="Arrow: Down 89">
            <a:extLst>
              <a:ext uri="{FF2B5EF4-FFF2-40B4-BE49-F238E27FC236}">
                <a16:creationId xmlns:a16="http://schemas.microsoft.com/office/drawing/2014/main" id="{B939DFD7-46CC-4F0C-BFDB-3470CBA8165F}"/>
              </a:ext>
            </a:extLst>
          </p:cNvPr>
          <p:cNvSpPr/>
          <p:nvPr/>
        </p:nvSpPr>
        <p:spPr>
          <a:xfrm>
            <a:off x="1477441" y="5556642"/>
            <a:ext cx="304689" cy="233592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91" name="Rectángulo 2">
            <a:extLst>
              <a:ext uri="{FF2B5EF4-FFF2-40B4-BE49-F238E27FC236}">
                <a16:creationId xmlns:a16="http://schemas.microsoft.com/office/drawing/2014/main" id="{457D6F4E-6C04-45EA-979B-88CB1D1E6F50}"/>
              </a:ext>
            </a:extLst>
          </p:cNvPr>
          <p:cNvSpPr/>
          <p:nvPr/>
        </p:nvSpPr>
        <p:spPr>
          <a:xfrm>
            <a:off x="2750969" y="5218871"/>
            <a:ext cx="224488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Higher PSA &amp; Smartsheet delivery frequency </a:t>
            </a:r>
            <a:r>
              <a:rPr lang="en-US" sz="1100">
                <a:solidFill>
                  <a:schemeClr val="tx2"/>
                </a:solidFill>
                <a:cs typeface="Segoe UI" panose="020B0502040204020203" pitchFamily="34" charset="0"/>
              </a:rPr>
              <a:t>and availability</a:t>
            </a:r>
            <a:endParaRPr lang="es-ES" sz="1200">
              <a:solidFill>
                <a:schemeClr val="tx2"/>
              </a:solidFill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B8A03C6F-E3F1-4501-BF2D-13C7A8BEBF48}"/>
              </a:ext>
            </a:extLst>
          </p:cNvPr>
          <p:cNvSpPr/>
          <p:nvPr/>
        </p:nvSpPr>
        <p:spPr>
          <a:xfrm>
            <a:off x="7152296" y="3475830"/>
            <a:ext cx="1313375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BFBD028-80BF-4F82-B6BD-E2FA71A8EF43}"/>
              </a:ext>
            </a:extLst>
          </p:cNvPr>
          <p:cNvSpPr txBox="1"/>
          <p:nvPr/>
        </p:nvSpPr>
        <p:spPr>
          <a:xfrm>
            <a:off x="7230740" y="3523266"/>
            <a:ext cx="11442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Manual work avoidance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70471963-36C0-4BAB-B6EE-2B923037CE2C}"/>
              </a:ext>
            </a:extLst>
          </p:cNvPr>
          <p:cNvSpPr/>
          <p:nvPr/>
        </p:nvSpPr>
        <p:spPr>
          <a:xfrm>
            <a:off x="8837276" y="3477129"/>
            <a:ext cx="1580441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A0625FE-40EF-4920-A00B-C2EC5E583777}"/>
              </a:ext>
            </a:extLst>
          </p:cNvPr>
          <p:cNvSpPr txBox="1"/>
          <p:nvPr/>
        </p:nvSpPr>
        <p:spPr>
          <a:xfrm>
            <a:off x="8913181" y="3590043"/>
            <a:ext cx="15045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Report shared daily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68C8DC5-4F3E-43F4-92EF-2C0645524106}"/>
              </a:ext>
            </a:extLst>
          </p:cNvPr>
          <p:cNvSpPr txBox="1"/>
          <p:nvPr/>
        </p:nvSpPr>
        <p:spPr>
          <a:xfrm>
            <a:off x="894527" y="2027875"/>
            <a:ext cx="2265910" cy="71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2"/>
                </a:solidFill>
              </a:rPr>
              <a:t>CSIH – Op. Effectiveness</a:t>
            </a:r>
          </a:p>
          <a:p>
            <a:pPr>
              <a:lnSpc>
                <a:spcPct val="150000"/>
              </a:lnSpc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Key Sponsor: </a:t>
            </a:r>
            <a:r>
              <a:rPr lang="en-US" sz="900" b="1" i="1" err="1">
                <a:solidFill>
                  <a:schemeClr val="bg1">
                    <a:lumMod val="50000"/>
                  </a:schemeClr>
                </a:solidFill>
              </a:rPr>
              <a:t>Navin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 Rana, </a:t>
            </a:r>
          </a:p>
          <a:p>
            <a:pPr>
              <a:lnSpc>
                <a:spcPct val="150000"/>
              </a:lnSpc>
            </a:pP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Sr Director, Operational Effectivenes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134AD76-DCD5-4996-97D8-94768B1BC5A2}"/>
              </a:ext>
            </a:extLst>
          </p:cNvPr>
          <p:cNvSpPr txBox="1"/>
          <p:nvPr/>
        </p:nvSpPr>
        <p:spPr>
          <a:xfrm>
            <a:off x="355304" y="1056764"/>
            <a:ext cx="5530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COMPLETED – Feb 2023</a:t>
            </a:r>
            <a:endParaRPr lang="en-US" sz="1600" i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09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35952B-7D58-4000-B955-053953287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75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35952B-7D58-4000-B955-053953287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5D5DA1-DACE-4236-B2A5-D674B23E4F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D&amp;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939B1C-B629-486C-A94D-A6F4822083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DATA</a:t>
            </a: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38B849EC-15CF-4C0A-8979-2C9F48437E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950" y="5518150"/>
            <a:ext cx="6350000" cy="669925"/>
          </a:xfrm>
        </p:spPr>
        <p:txBody>
          <a:bodyPr/>
          <a:lstStyle/>
          <a:p>
            <a:r>
              <a:rPr lang="en-US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12961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676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7B62C1C5-6F9E-4E2C-8CAD-D658D507BB89}"/>
              </a:ext>
            </a:extLst>
          </p:cNvPr>
          <p:cNvSpPr/>
          <p:nvPr/>
        </p:nvSpPr>
        <p:spPr>
          <a:xfrm>
            <a:off x="2455361" y="112844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s-ES" sz="2400"/>
              <a:t>Data </a:t>
            </a:r>
            <a:r>
              <a:rPr lang="es-ES" sz="2400" err="1"/>
              <a:t>Sources</a:t>
            </a:r>
            <a:endParaRPr lang="es-ES" sz="2400" kern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68C7573-9D66-4DAD-B343-B290B6CBFEA7}"/>
              </a:ext>
            </a:extLst>
          </p:cNvPr>
          <p:cNvSpPr/>
          <p:nvPr/>
        </p:nvSpPr>
        <p:spPr>
          <a:xfrm>
            <a:off x="-5290" y="116403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98" name="Rectángulo 2">
            <a:extLst>
              <a:ext uri="{FF2B5EF4-FFF2-40B4-BE49-F238E27FC236}">
                <a16:creationId xmlns:a16="http://schemas.microsoft.com/office/drawing/2014/main" id="{65CBAD66-2B5B-4AE5-B913-43914A3AEAB2}"/>
              </a:ext>
            </a:extLst>
          </p:cNvPr>
          <p:cNvSpPr/>
          <p:nvPr/>
        </p:nvSpPr>
        <p:spPr>
          <a:xfrm>
            <a:off x="464299" y="1564213"/>
            <a:ext cx="2412000" cy="4712299"/>
          </a:xfrm>
          <a:prstGeom prst="rect">
            <a:avLst/>
          </a:prstGeom>
          <a:solidFill>
            <a:schemeClr val="bg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142875" dist="9525" algn="bl" rotWithShape="0">
              <a:srgbClr val="000000">
                <a:alpha val="14000"/>
              </a:srgb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99" name="Rectángulo 2">
            <a:extLst>
              <a:ext uri="{FF2B5EF4-FFF2-40B4-BE49-F238E27FC236}">
                <a16:creationId xmlns:a16="http://schemas.microsoft.com/office/drawing/2014/main" id="{FDFDCDCD-6912-4201-B5E5-67FF7140FA8E}"/>
              </a:ext>
            </a:extLst>
          </p:cNvPr>
          <p:cNvSpPr/>
          <p:nvPr/>
        </p:nvSpPr>
        <p:spPr>
          <a:xfrm>
            <a:off x="3328163" y="1564211"/>
            <a:ext cx="2412000" cy="4712299"/>
          </a:xfrm>
          <a:prstGeom prst="rect">
            <a:avLst/>
          </a:prstGeom>
          <a:solidFill>
            <a:schemeClr val="bg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142875" dist="9525" algn="bl" rotWithShape="0">
              <a:srgbClr val="000000">
                <a:alpha val="14000"/>
              </a:srgb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0" name="Rectángulo 2">
            <a:extLst>
              <a:ext uri="{FF2B5EF4-FFF2-40B4-BE49-F238E27FC236}">
                <a16:creationId xmlns:a16="http://schemas.microsoft.com/office/drawing/2014/main" id="{6723469C-2E30-43F8-8B97-15681796CD5A}"/>
              </a:ext>
            </a:extLst>
          </p:cNvPr>
          <p:cNvSpPr/>
          <p:nvPr/>
        </p:nvSpPr>
        <p:spPr>
          <a:xfrm>
            <a:off x="6192027" y="1564210"/>
            <a:ext cx="2412000" cy="4712298"/>
          </a:xfrm>
          <a:prstGeom prst="rect">
            <a:avLst/>
          </a:prstGeom>
          <a:solidFill>
            <a:schemeClr val="bg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142875" dist="9525" algn="bl" rotWithShape="0">
              <a:srgbClr val="000000">
                <a:alpha val="14000"/>
              </a:srgb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1" name="Rectángulo 2">
            <a:extLst>
              <a:ext uri="{FF2B5EF4-FFF2-40B4-BE49-F238E27FC236}">
                <a16:creationId xmlns:a16="http://schemas.microsoft.com/office/drawing/2014/main" id="{C2A2EABC-EF3D-423A-A724-3C0C29AE0DFC}"/>
              </a:ext>
            </a:extLst>
          </p:cNvPr>
          <p:cNvSpPr/>
          <p:nvPr/>
        </p:nvSpPr>
        <p:spPr>
          <a:xfrm>
            <a:off x="9055891" y="1564209"/>
            <a:ext cx="2412000" cy="4712298"/>
          </a:xfrm>
          <a:prstGeom prst="rect">
            <a:avLst/>
          </a:prstGeom>
          <a:solidFill>
            <a:schemeClr val="bg1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142875" dist="9525" algn="bl" rotWithShape="0">
              <a:srgbClr val="000000">
                <a:alpha val="14000"/>
              </a:srgb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2" name="Google Shape;789;p134">
            <a:extLst>
              <a:ext uri="{FF2B5EF4-FFF2-40B4-BE49-F238E27FC236}">
                <a16:creationId xmlns:a16="http://schemas.microsoft.com/office/drawing/2014/main" id="{AC571002-ADB6-414E-8949-7531056C4958}"/>
              </a:ext>
            </a:extLst>
          </p:cNvPr>
          <p:cNvSpPr txBox="1"/>
          <p:nvPr/>
        </p:nvSpPr>
        <p:spPr>
          <a:xfrm>
            <a:off x="530133" y="1624692"/>
            <a:ext cx="2239037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/>
              <a:t>Data Sources</a:t>
            </a:r>
            <a:endParaRPr lang="en-US" sz="1200"/>
          </a:p>
        </p:txBody>
      </p:sp>
      <p:cxnSp>
        <p:nvCxnSpPr>
          <p:cNvPr id="103" name="Conector recto 214">
            <a:extLst>
              <a:ext uri="{FF2B5EF4-FFF2-40B4-BE49-F238E27FC236}">
                <a16:creationId xmlns:a16="http://schemas.microsoft.com/office/drawing/2014/main" id="{8E47C368-5987-4738-A654-2A1295F58130}"/>
              </a:ext>
            </a:extLst>
          </p:cNvPr>
          <p:cNvCxnSpPr>
            <a:cxnSpLocks/>
          </p:cNvCxnSpPr>
          <p:nvPr/>
        </p:nvCxnSpPr>
        <p:spPr>
          <a:xfrm>
            <a:off x="530133" y="1869492"/>
            <a:ext cx="2239037" cy="0"/>
          </a:xfrm>
          <a:prstGeom prst="line">
            <a:avLst/>
          </a:prstGeom>
          <a:ln w="1905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04" name="Picture 4" descr="About - FinancialForce">
            <a:extLst>
              <a:ext uri="{FF2B5EF4-FFF2-40B4-BE49-F238E27FC236}">
                <a16:creationId xmlns:a16="http://schemas.microsoft.com/office/drawing/2014/main" id="{6F4952E9-E41B-430D-901B-3184786B2C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42" y="5161530"/>
            <a:ext cx="583039" cy="40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1F64CCBC-BEB4-415D-BEC5-47B97F66A6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3011" y="2470344"/>
            <a:ext cx="613276" cy="344968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9C0E47EA-A7A6-451F-866D-0E06581450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7810" y="2885640"/>
            <a:ext cx="743678" cy="338210"/>
          </a:xfrm>
          <a:prstGeom prst="rect">
            <a:avLst/>
          </a:prstGeom>
        </p:spPr>
      </p:pic>
      <p:pic>
        <p:nvPicPr>
          <p:cNvPr id="107" name="Picture 10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44E491B-2905-4487-9855-2320C995C9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1593" y="5710668"/>
            <a:ext cx="700614" cy="34797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292804A1-3BD2-41DA-992C-83EA3234154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9110" b="33320"/>
          <a:stretch/>
        </p:blipFill>
        <p:spPr>
          <a:xfrm>
            <a:off x="590028" y="5782161"/>
            <a:ext cx="1019572" cy="266911"/>
          </a:xfrm>
          <a:prstGeom prst="rect">
            <a:avLst/>
          </a:prstGeom>
        </p:spPr>
      </p:pic>
      <p:pic>
        <p:nvPicPr>
          <p:cNvPr id="109" name="Picture 4" descr="Oracle Hyperion Financial Management - Gestión Financiera - Qualita">
            <a:extLst>
              <a:ext uri="{FF2B5EF4-FFF2-40B4-BE49-F238E27FC236}">
                <a16:creationId xmlns:a16="http://schemas.microsoft.com/office/drawing/2014/main" id="{613D7137-CE41-469B-8906-3E32386D6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478" y="1929971"/>
            <a:ext cx="1469463" cy="43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0" name="Google Shape;789;p134">
            <a:extLst>
              <a:ext uri="{FF2B5EF4-FFF2-40B4-BE49-F238E27FC236}">
                <a16:creationId xmlns:a16="http://schemas.microsoft.com/office/drawing/2014/main" id="{CA6B4F63-FCF2-483F-BF15-129AD6A209A3}"/>
              </a:ext>
            </a:extLst>
          </p:cNvPr>
          <p:cNvSpPr txBox="1"/>
          <p:nvPr/>
        </p:nvSpPr>
        <p:spPr>
          <a:xfrm>
            <a:off x="3344585" y="1624692"/>
            <a:ext cx="2239037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/>
              <a:t>Data Types</a:t>
            </a:r>
            <a:endParaRPr lang="en-US" sz="1200"/>
          </a:p>
        </p:txBody>
      </p:sp>
      <p:cxnSp>
        <p:nvCxnSpPr>
          <p:cNvPr id="111" name="Conector recto 214">
            <a:extLst>
              <a:ext uri="{FF2B5EF4-FFF2-40B4-BE49-F238E27FC236}">
                <a16:creationId xmlns:a16="http://schemas.microsoft.com/office/drawing/2014/main" id="{CB7FFF87-3D87-4A3B-AA17-0C557FDF67D2}"/>
              </a:ext>
            </a:extLst>
          </p:cNvPr>
          <p:cNvCxnSpPr>
            <a:cxnSpLocks/>
          </p:cNvCxnSpPr>
          <p:nvPr/>
        </p:nvCxnSpPr>
        <p:spPr>
          <a:xfrm>
            <a:off x="3412586" y="1869492"/>
            <a:ext cx="2239037" cy="0"/>
          </a:xfrm>
          <a:prstGeom prst="line">
            <a:avLst/>
          </a:prstGeom>
          <a:ln w="1905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2" name="Google Shape;789;p134">
            <a:extLst>
              <a:ext uri="{FF2B5EF4-FFF2-40B4-BE49-F238E27FC236}">
                <a16:creationId xmlns:a16="http://schemas.microsoft.com/office/drawing/2014/main" id="{6758EBD3-5C0D-45D9-9734-66ED4584D0F6}"/>
              </a:ext>
            </a:extLst>
          </p:cNvPr>
          <p:cNvSpPr txBox="1"/>
          <p:nvPr/>
        </p:nvSpPr>
        <p:spPr>
          <a:xfrm>
            <a:off x="6159037" y="1624692"/>
            <a:ext cx="2443039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/>
              <a:t>Projects to Date KPI’s</a:t>
            </a:r>
            <a:endParaRPr lang="en-US" sz="1200"/>
          </a:p>
        </p:txBody>
      </p:sp>
      <p:cxnSp>
        <p:nvCxnSpPr>
          <p:cNvPr id="113" name="Conector recto 214">
            <a:extLst>
              <a:ext uri="{FF2B5EF4-FFF2-40B4-BE49-F238E27FC236}">
                <a16:creationId xmlns:a16="http://schemas.microsoft.com/office/drawing/2014/main" id="{D02A653B-6139-4BF6-ABB5-174A162AABC3}"/>
              </a:ext>
            </a:extLst>
          </p:cNvPr>
          <p:cNvCxnSpPr>
            <a:cxnSpLocks/>
          </p:cNvCxnSpPr>
          <p:nvPr/>
        </p:nvCxnSpPr>
        <p:spPr>
          <a:xfrm>
            <a:off x="6295039" y="1869492"/>
            <a:ext cx="2239037" cy="0"/>
          </a:xfrm>
          <a:prstGeom prst="line">
            <a:avLst/>
          </a:prstGeom>
          <a:ln w="1905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4" name="Google Shape;789;p134">
            <a:extLst>
              <a:ext uri="{FF2B5EF4-FFF2-40B4-BE49-F238E27FC236}">
                <a16:creationId xmlns:a16="http://schemas.microsoft.com/office/drawing/2014/main" id="{D8047237-C9B4-4F19-9372-3730A3724DDC}"/>
              </a:ext>
            </a:extLst>
          </p:cNvPr>
          <p:cNvSpPr txBox="1"/>
          <p:nvPr/>
        </p:nvSpPr>
        <p:spPr>
          <a:xfrm>
            <a:off x="9177491" y="1624692"/>
            <a:ext cx="2239037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/>
              <a:t>Future Data Sources</a:t>
            </a:r>
            <a:endParaRPr lang="en-US" sz="1200"/>
          </a:p>
        </p:txBody>
      </p:sp>
      <p:cxnSp>
        <p:nvCxnSpPr>
          <p:cNvPr id="115" name="Conector recto 214">
            <a:extLst>
              <a:ext uri="{FF2B5EF4-FFF2-40B4-BE49-F238E27FC236}">
                <a16:creationId xmlns:a16="http://schemas.microsoft.com/office/drawing/2014/main" id="{53D9D581-2864-4A5E-88AB-226C0506FA86}"/>
              </a:ext>
            </a:extLst>
          </p:cNvPr>
          <p:cNvCxnSpPr>
            <a:cxnSpLocks/>
          </p:cNvCxnSpPr>
          <p:nvPr/>
        </p:nvCxnSpPr>
        <p:spPr>
          <a:xfrm>
            <a:off x="9177491" y="1869492"/>
            <a:ext cx="2239037" cy="0"/>
          </a:xfrm>
          <a:prstGeom prst="line">
            <a:avLst/>
          </a:prstGeom>
          <a:ln w="1905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EB62742-61D8-4859-BF6D-E68B662CCE7B}"/>
              </a:ext>
            </a:extLst>
          </p:cNvPr>
          <p:cNvSpPr txBox="1"/>
          <p:nvPr/>
        </p:nvSpPr>
        <p:spPr>
          <a:xfrm>
            <a:off x="3412586" y="2063773"/>
            <a:ext cx="227197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Total Contract Value (“TCV”)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Opportunity Pipeline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I/S Details for Actuals and Forecast: Revenue, Expenses, and EBITDA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Global Headcount (MRA)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Global Compensation (not by FTE)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Translations Operational Data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Customer and GL Master Data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36A27D4-6058-4ECC-9461-3D3461EA1ED2}"/>
              </a:ext>
            </a:extLst>
          </p:cNvPr>
          <p:cNvSpPr txBox="1"/>
          <p:nvPr/>
        </p:nvSpPr>
        <p:spPr>
          <a:xfrm>
            <a:off x="6264030" y="2063773"/>
            <a:ext cx="2316065" cy="3303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Opportunity Win/Loss Rate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Sales/Revenue vs Target %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Opportunity Pipeline by PIC, RBU, GBU, and Stage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I/S Details by RBU/GBU and Cost Center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Headcount and Compensation Reporting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Gross Margins by RBU/GBU</a:t>
            </a:r>
          </a:p>
        </p:txBody>
      </p:sp>
      <p:pic>
        <p:nvPicPr>
          <p:cNvPr id="35" name="Picture 8" descr="Workday Enterprise Management Cloud | Finance, HR, Planning, Spend">
            <a:extLst>
              <a:ext uri="{FF2B5EF4-FFF2-40B4-BE49-F238E27FC236}">
                <a16:creationId xmlns:a16="http://schemas.microsoft.com/office/drawing/2014/main" id="{D51AFA13-560F-4EE3-850E-74CF60C394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5300" y="2392113"/>
            <a:ext cx="1169158" cy="635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" descr="TIBCO EBX, líder por cuarta vez consecutiva | IT-NOVA">
            <a:extLst>
              <a:ext uri="{FF2B5EF4-FFF2-40B4-BE49-F238E27FC236}">
                <a16:creationId xmlns:a16="http://schemas.microsoft.com/office/drawing/2014/main" id="{65579B54-9B52-4985-870E-B5ED7176A7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69" t="41000" r="17226" b="44906"/>
          <a:stretch/>
        </p:blipFill>
        <p:spPr bwMode="auto">
          <a:xfrm>
            <a:off x="1798761" y="5249057"/>
            <a:ext cx="846278" cy="19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>
            <a:extLst>
              <a:ext uri="{FF2B5EF4-FFF2-40B4-BE49-F238E27FC236}">
                <a16:creationId xmlns:a16="http://schemas.microsoft.com/office/drawing/2014/main" id="{0D4D7AA3-7EDF-4B6A-B123-1D0F37EB995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52861" y="3323774"/>
            <a:ext cx="936005" cy="447675"/>
          </a:xfrm>
          <a:prstGeom prst="rect">
            <a:avLst/>
          </a:prstGeom>
        </p:spPr>
      </p:pic>
      <p:pic>
        <p:nvPicPr>
          <p:cNvPr id="38" name="Picture 13">
            <a:extLst>
              <a:ext uri="{FF2B5EF4-FFF2-40B4-BE49-F238E27FC236}">
                <a16:creationId xmlns:a16="http://schemas.microsoft.com/office/drawing/2014/main" id="{35F1198A-F902-46A3-86AD-A0E10841DF0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52861" y="4269966"/>
            <a:ext cx="934147" cy="233711"/>
          </a:xfrm>
          <a:prstGeom prst="rect">
            <a:avLst/>
          </a:prstGeom>
        </p:spPr>
      </p:pic>
      <p:pic>
        <p:nvPicPr>
          <p:cNvPr id="39" name="Picture 14">
            <a:extLst>
              <a:ext uri="{FF2B5EF4-FFF2-40B4-BE49-F238E27FC236}">
                <a16:creationId xmlns:a16="http://schemas.microsoft.com/office/drawing/2014/main" id="{6BC5B668-8967-4EDA-96D7-A894BA3BCE0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52861" y="3898396"/>
            <a:ext cx="931127" cy="241957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3CF944E-CB80-4F20-A23F-BA7F7E1BEA1B}"/>
              </a:ext>
            </a:extLst>
          </p:cNvPr>
          <p:cNvSpPr txBox="1"/>
          <p:nvPr/>
        </p:nvSpPr>
        <p:spPr>
          <a:xfrm>
            <a:off x="9136586" y="1984222"/>
            <a:ext cx="2250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bg1">
                    <a:lumMod val="65000"/>
                  </a:schemeClr>
                </a:solidFill>
              </a:rPr>
              <a:t>Estimated Timing: TB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8A1BCE-AFCA-4D23-9EC8-A07382C222D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25242" y="4658028"/>
            <a:ext cx="1048815" cy="250804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A6F55AF9-C52E-4063-86A4-60171F2A6860}"/>
              </a:ext>
            </a:extLst>
          </p:cNvPr>
          <p:cNvSpPr/>
          <p:nvPr/>
        </p:nvSpPr>
        <p:spPr>
          <a:xfrm>
            <a:off x="590028" y="5042514"/>
            <a:ext cx="2179142" cy="108307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CE2BB19-5BF6-4560-85D4-76839C7476D0}"/>
              </a:ext>
            </a:extLst>
          </p:cNvPr>
          <p:cNvCxnSpPr>
            <a:cxnSpLocks/>
          </p:cNvCxnSpPr>
          <p:nvPr/>
        </p:nvCxnSpPr>
        <p:spPr>
          <a:xfrm>
            <a:off x="1663141" y="4880913"/>
            <a:ext cx="0" cy="161601"/>
          </a:xfrm>
          <a:prstGeom prst="line">
            <a:avLst/>
          </a:prstGeom>
          <a:noFill/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40" name="Graphic 39">
            <a:extLst>
              <a:ext uri="{FF2B5EF4-FFF2-40B4-BE49-F238E27FC236}">
                <a16:creationId xmlns:a16="http://schemas.microsoft.com/office/drawing/2014/main" id="{99106F31-E17D-482C-99F6-03E50C1BA29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989741" y="3190418"/>
            <a:ext cx="618585" cy="331824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436F1B5A-DDE6-44CD-9D16-DA3DD776340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813761" y="3637403"/>
            <a:ext cx="849050" cy="265241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C34FA977-4898-2F94-216F-14082D351FC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712842" y="4096943"/>
            <a:ext cx="1183759" cy="17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2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35952B-7D58-4000-B955-053953287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35952B-7D58-4000-B955-053953287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5D5DA1-DACE-4236-B2A5-D674B23E4F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D&amp;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939B1C-B629-486C-A94D-A6F4822083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Projects</a:t>
            </a: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38B849EC-15CF-4C0A-8979-2C9F48437E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950" y="5518150"/>
            <a:ext cx="6350000" cy="669925"/>
          </a:xfrm>
        </p:spPr>
        <p:txBody>
          <a:bodyPr/>
          <a:lstStyle/>
          <a:p>
            <a:r>
              <a:rPr lang="en-US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09971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B249BA-954E-43DA-94E9-E6B2DCB3E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B249BA-954E-43DA-94E9-E6B2DCB3E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E5FD42-0776-4C89-BCA4-60BEBD028C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D&amp;A Projects LTD</a:t>
            </a:r>
          </a:p>
        </p:txBody>
      </p:sp>
      <p:graphicFrame>
        <p:nvGraphicFramePr>
          <p:cNvPr id="8" name="Tabla 18">
            <a:extLst>
              <a:ext uri="{FF2B5EF4-FFF2-40B4-BE49-F238E27FC236}">
                <a16:creationId xmlns:a16="http://schemas.microsoft.com/office/drawing/2014/main" id="{7654D579-2346-48CB-B5DC-D6C04BAAFE1A}"/>
              </a:ext>
            </a:extLst>
          </p:cNvPr>
          <p:cNvGraphicFramePr>
            <a:graphicFrameLocks noGrp="1"/>
          </p:cNvGraphicFramePr>
          <p:nvPr/>
        </p:nvGraphicFramePr>
        <p:xfrm>
          <a:off x="425700" y="1590864"/>
          <a:ext cx="11064334" cy="4832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42568">
                  <a:extLst>
                    <a:ext uri="{9D8B030D-6E8A-4147-A177-3AD203B41FA5}">
                      <a16:colId xmlns:a16="http://schemas.microsoft.com/office/drawing/2014/main" val="640640856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3530920236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2958556297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4140811939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1890942664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2007806403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3517480777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1478219234"/>
                    </a:ext>
                  </a:extLst>
                </a:gridCol>
              </a:tblGrid>
              <a:tr h="31279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Project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934994"/>
                  </a:ext>
                </a:extLst>
              </a:tr>
              <a:tr h="343725">
                <a:tc vMerge="1">
                  <a:txBody>
                    <a:bodyPr/>
                    <a:lstStyle/>
                    <a:p>
                      <a:pPr algn="ctr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Nov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De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J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Fe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Marc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Apri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Ma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6476887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88365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3963989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63865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                                          </a:t>
                      </a:r>
                      <a:endParaRPr lang="en-US" sz="10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803283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21161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05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411636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97458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673649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8641B23-409C-41BB-AB2E-39E5D9E862B0}"/>
              </a:ext>
            </a:extLst>
          </p:cNvPr>
          <p:cNvGrpSpPr/>
          <p:nvPr/>
        </p:nvGrpSpPr>
        <p:grpSpPr>
          <a:xfrm>
            <a:off x="8291482" y="935425"/>
            <a:ext cx="3143217" cy="557932"/>
            <a:chOff x="7516008" y="400357"/>
            <a:chExt cx="3143217" cy="55793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CF780-8536-46B9-9F31-FC94D0701C58}"/>
                </a:ext>
              </a:extLst>
            </p:cNvPr>
            <p:cNvSpPr/>
            <p:nvPr/>
          </p:nvSpPr>
          <p:spPr>
            <a:xfrm>
              <a:off x="7634591" y="685104"/>
              <a:ext cx="216000" cy="18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1A24CCF-5846-418C-BA20-8D417AF4520C}"/>
                </a:ext>
              </a:extLst>
            </p:cNvPr>
            <p:cNvSpPr txBox="1"/>
            <p:nvPr/>
          </p:nvSpPr>
          <p:spPr>
            <a:xfrm>
              <a:off x="7808437" y="660162"/>
              <a:ext cx="152695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Not Starte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685A7A-DDA0-42EC-9035-C7FF3785C4C5}"/>
                </a:ext>
              </a:extLst>
            </p:cNvPr>
            <p:cNvSpPr/>
            <p:nvPr/>
          </p:nvSpPr>
          <p:spPr>
            <a:xfrm>
              <a:off x="8683771" y="685104"/>
              <a:ext cx="216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FC6C925-3E14-44CF-B998-F3EA257AEE54}"/>
                </a:ext>
              </a:extLst>
            </p:cNvPr>
            <p:cNvSpPr txBox="1"/>
            <p:nvPr/>
          </p:nvSpPr>
          <p:spPr>
            <a:xfrm>
              <a:off x="8846683" y="650716"/>
              <a:ext cx="152695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Ongoing </a:t>
              </a:r>
            </a:p>
          </p:txBody>
        </p:sp>
        <p:sp>
          <p:nvSpPr>
            <p:cNvPr id="18" name="Rectangle: Single Corner Snipped 17">
              <a:extLst>
                <a:ext uri="{FF2B5EF4-FFF2-40B4-BE49-F238E27FC236}">
                  <a16:creationId xmlns:a16="http://schemas.microsoft.com/office/drawing/2014/main" id="{2EFCBE25-83AA-4B8A-BE58-5FEA0271333D}"/>
                </a:ext>
              </a:extLst>
            </p:cNvPr>
            <p:cNvSpPr/>
            <p:nvPr/>
          </p:nvSpPr>
          <p:spPr>
            <a:xfrm>
              <a:off x="7516008" y="543046"/>
              <a:ext cx="3143217" cy="415243"/>
            </a:xfrm>
            <a:prstGeom prst="snip1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2E40CD1-16F7-4218-8EAF-011600A0B277}"/>
                </a:ext>
              </a:extLst>
            </p:cNvPr>
            <p:cNvSpPr txBox="1"/>
            <p:nvPr/>
          </p:nvSpPr>
          <p:spPr>
            <a:xfrm>
              <a:off x="8702684" y="400357"/>
              <a:ext cx="769863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tx2"/>
                  </a:solidFill>
                </a:rPr>
                <a:t>Legend</a:t>
              </a:r>
            </a:p>
          </p:txBody>
        </p:sp>
      </p:grpSp>
      <p:sp>
        <p:nvSpPr>
          <p:cNvPr id="21" name="Arrow: Pentagon 145">
            <a:extLst>
              <a:ext uri="{FF2B5EF4-FFF2-40B4-BE49-F238E27FC236}">
                <a16:creationId xmlns:a16="http://schemas.microsoft.com/office/drawing/2014/main" id="{0BA1B85E-11BC-4688-8CAB-3B4FA4CAACB9}"/>
              </a:ext>
            </a:extLst>
          </p:cNvPr>
          <p:cNvSpPr/>
          <p:nvPr/>
        </p:nvSpPr>
        <p:spPr bwMode="auto">
          <a:xfrm>
            <a:off x="2586036" y="3419465"/>
            <a:ext cx="3480029" cy="273458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n Dashboard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97AF4AAC-0660-4130-88A5-E1CA15F0531B}"/>
              </a:ext>
            </a:extLst>
          </p:cNvPr>
          <p:cNvSpPr/>
          <p:nvPr/>
        </p:nvSpPr>
        <p:spPr>
          <a:xfrm>
            <a:off x="5957867" y="3418926"/>
            <a:ext cx="1394278" cy="272159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lity Check /Analytics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793B441E-A7FA-49AD-BB3F-DE529D18ECD5}"/>
              </a:ext>
            </a:extLst>
          </p:cNvPr>
          <p:cNvSpPr/>
          <p:nvPr/>
        </p:nvSpPr>
        <p:spPr>
          <a:xfrm>
            <a:off x="7279072" y="346259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8" name="Arrow: Pentagon 145">
            <a:extLst>
              <a:ext uri="{FF2B5EF4-FFF2-40B4-BE49-F238E27FC236}">
                <a16:creationId xmlns:a16="http://schemas.microsoft.com/office/drawing/2014/main" id="{28E8B7FD-2C13-4CAE-B7BB-220395E59A4E}"/>
              </a:ext>
            </a:extLst>
          </p:cNvPr>
          <p:cNvSpPr/>
          <p:nvPr/>
        </p:nvSpPr>
        <p:spPr bwMode="auto">
          <a:xfrm>
            <a:off x="2578225" y="3981623"/>
            <a:ext cx="2103619" cy="272159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e Dashboard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052333B-8C71-49A0-8405-FECD1793CD2D}"/>
              </a:ext>
            </a:extLst>
          </p:cNvPr>
          <p:cNvSpPr/>
          <p:nvPr/>
        </p:nvSpPr>
        <p:spPr>
          <a:xfrm>
            <a:off x="4576615" y="3981623"/>
            <a:ext cx="2775529" cy="272159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Dashboard + QC Report</a:t>
            </a:r>
          </a:p>
        </p:txBody>
      </p:sp>
      <p:sp>
        <p:nvSpPr>
          <p:cNvPr id="31" name="Arrow: Pentagon 145">
            <a:extLst>
              <a:ext uri="{FF2B5EF4-FFF2-40B4-BE49-F238E27FC236}">
                <a16:creationId xmlns:a16="http://schemas.microsoft.com/office/drawing/2014/main" id="{C60BE094-E73E-4D96-BC41-31C9C150220E}"/>
              </a:ext>
            </a:extLst>
          </p:cNvPr>
          <p:cNvSpPr/>
          <p:nvPr/>
        </p:nvSpPr>
        <p:spPr bwMode="auto">
          <a:xfrm>
            <a:off x="2593327" y="4507372"/>
            <a:ext cx="1234255" cy="274755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al Slides Dashboard</a:t>
            </a: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54D15F65-8064-4FEB-8C25-B163D3BF6FE5}"/>
              </a:ext>
            </a:extLst>
          </p:cNvPr>
          <p:cNvSpPr/>
          <p:nvPr/>
        </p:nvSpPr>
        <p:spPr>
          <a:xfrm>
            <a:off x="3722068" y="4510961"/>
            <a:ext cx="1448048" cy="273457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s recreation</a:t>
            </a:r>
          </a:p>
        </p:txBody>
      </p:sp>
      <p:sp>
        <p:nvSpPr>
          <p:cNvPr id="41" name="Arrow: Pentagon 145">
            <a:extLst>
              <a:ext uri="{FF2B5EF4-FFF2-40B4-BE49-F238E27FC236}">
                <a16:creationId xmlns:a16="http://schemas.microsoft.com/office/drawing/2014/main" id="{5D46BD6C-96C0-4F2D-AE10-AD5865B871E0}"/>
              </a:ext>
            </a:extLst>
          </p:cNvPr>
          <p:cNvSpPr/>
          <p:nvPr/>
        </p:nvSpPr>
        <p:spPr bwMode="auto">
          <a:xfrm>
            <a:off x="3751862" y="2389058"/>
            <a:ext cx="1942913" cy="252025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 Report Automation</a:t>
            </a:r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E16742D3-415E-4EB0-AB72-4B95FB3BCF41}"/>
              </a:ext>
            </a:extLst>
          </p:cNvPr>
          <p:cNvSpPr/>
          <p:nvPr/>
        </p:nvSpPr>
        <p:spPr>
          <a:xfrm>
            <a:off x="3722068" y="4539092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44" name="Arrow: Pentagon 145">
            <a:extLst>
              <a:ext uri="{FF2B5EF4-FFF2-40B4-BE49-F238E27FC236}">
                <a16:creationId xmlns:a16="http://schemas.microsoft.com/office/drawing/2014/main" id="{520BBBEB-C59A-4EEE-B691-70F18C1E464B}"/>
              </a:ext>
            </a:extLst>
          </p:cNvPr>
          <p:cNvSpPr/>
          <p:nvPr/>
        </p:nvSpPr>
        <p:spPr bwMode="auto">
          <a:xfrm>
            <a:off x="3888623" y="5008263"/>
            <a:ext cx="5006802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Lake – Raw Data</a:t>
            </a: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225AE903-0496-40E9-B86B-F940CFAB3923}"/>
              </a:ext>
            </a:extLst>
          </p:cNvPr>
          <p:cNvSpPr/>
          <p:nvPr/>
        </p:nvSpPr>
        <p:spPr>
          <a:xfrm>
            <a:off x="6372116" y="4504863"/>
            <a:ext cx="4854639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ity 2 &amp; 3 Metr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53986CE-FB13-4F4D-91AA-6542B3434E88}"/>
              </a:ext>
            </a:extLst>
          </p:cNvPr>
          <p:cNvCxnSpPr>
            <a:cxnSpLocks/>
          </p:cNvCxnSpPr>
          <p:nvPr/>
        </p:nvCxnSpPr>
        <p:spPr>
          <a:xfrm>
            <a:off x="7789821" y="2247081"/>
            <a:ext cx="0" cy="4421079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2EF9D24-DE8B-421D-AB1E-2502C940C044}"/>
              </a:ext>
            </a:extLst>
          </p:cNvPr>
          <p:cNvSpPr txBox="1"/>
          <p:nvPr/>
        </p:nvSpPr>
        <p:spPr>
          <a:xfrm>
            <a:off x="7060212" y="6521136"/>
            <a:ext cx="825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Today</a:t>
            </a:r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1F11478E-48F7-4A79-96D0-CB5466D90AFA}"/>
              </a:ext>
            </a:extLst>
          </p:cNvPr>
          <p:cNvSpPr/>
          <p:nvPr/>
        </p:nvSpPr>
        <p:spPr>
          <a:xfrm>
            <a:off x="5636710" y="242628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7" name="Star: 5 Points 36">
            <a:extLst>
              <a:ext uri="{FF2B5EF4-FFF2-40B4-BE49-F238E27FC236}">
                <a16:creationId xmlns:a16="http://schemas.microsoft.com/office/drawing/2014/main" id="{5F481878-00E0-4902-A101-A4B716807EB4}"/>
              </a:ext>
            </a:extLst>
          </p:cNvPr>
          <p:cNvSpPr/>
          <p:nvPr/>
        </p:nvSpPr>
        <p:spPr>
          <a:xfrm>
            <a:off x="5941747" y="3460180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9B278E25-DDD0-428B-A9DF-B5B224A3A796}"/>
              </a:ext>
            </a:extLst>
          </p:cNvPr>
          <p:cNvSpPr/>
          <p:nvPr/>
        </p:nvSpPr>
        <p:spPr>
          <a:xfrm>
            <a:off x="4569793" y="402326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6" name="Arrow: Pentagon 145">
            <a:extLst>
              <a:ext uri="{FF2B5EF4-FFF2-40B4-BE49-F238E27FC236}">
                <a16:creationId xmlns:a16="http://schemas.microsoft.com/office/drawing/2014/main" id="{1A82FE8E-4DC3-420E-95EB-150FF21502DF}"/>
              </a:ext>
            </a:extLst>
          </p:cNvPr>
          <p:cNvSpPr/>
          <p:nvPr/>
        </p:nvSpPr>
        <p:spPr bwMode="auto">
          <a:xfrm>
            <a:off x="6066065" y="5502868"/>
            <a:ext cx="5160690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lines TBC</a:t>
            </a: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19A339F4-EF1A-4B45-9E07-42B0CD7FDF0B}"/>
              </a:ext>
            </a:extLst>
          </p:cNvPr>
          <p:cNvSpPr/>
          <p:nvPr/>
        </p:nvSpPr>
        <p:spPr>
          <a:xfrm>
            <a:off x="5056839" y="4501076"/>
            <a:ext cx="1431383" cy="285753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1 metrics</a:t>
            </a:r>
          </a:p>
        </p:txBody>
      </p:sp>
      <p:sp>
        <p:nvSpPr>
          <p:cNvPr id="45" name="Star: 5 Points 44">
            <a:extLst>
              <a:ext uri="{FF2B5EF4-FFF2-40B4-BE49-F238E27FC236}">
                <a16:creationId xmlns:a16="http://schemas.microsoft.com/office/drawing/2014/main" id="{B4C665C6-E3FC-4EF8-9EBE-50FB12B64DEB}"/>
              </a:ext>
            </a:extLst>
          </p:cNvPr>
          <p:cNvSpPr/>
          <p:nvPr/>
        </p:nvSpPr>
        <p:spPr>
          <a:xfrm>
            <a:off x="6368205" y="454691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43" name="Arrow: Pentagon 145">
            <a:extLst>
              <a:ext uri="{FF2B5EF4-FFF2-40B4-BE49-F238E27FC236}">
                <a16:creationId xmlns:a16="http://schemas.microsoft.com/office/drawing/2014/main" id="{00D14504-182C-4836-ACDC-42B346D5EF0B}"/>
              </a:ext>
            </a:extLst>
          </p:cNvPr>
          <p:cNvSpPr/>
          <p:nvPr/>
        </p:nvSpPr>
        <p:spPr bwMode="auto">
          <a:xfrm>
            <a:off x="7161028" y="6032844"/>
            <a:ext cx="4065727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lines TBC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24089FD-AC3B-49A2-B982-81F1FBD9A5B7}"/>
              </a:ext>
            </a:extLst>
          </p:cNvPr>
          <p:cNvSpPr/>
          <p:nvPr/>
        </p:nvSpPr>
        <p:spPr>
          <a:xfrm>
            <a:off x="10455450" y="1215866"/>
            <a:ext cx="216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A2158D1-0904-4EF2-8B22-E07ECDA182B0}"/>
              </a:ext>
            </a:extLst>
          </p:cNvPr>
          <p:cNvSpPr txBox="1"/>
          <p:nvPr/>
        </p:nvSpPr>
        <p:spPr>
          <a:xfrm>
            <a:off x="10618250" y="1216613"/>
            <a:ext cx="823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Completed</a:t>
            </a: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D04B3D25-495A-4FBF-A497-63A1C8782F53}"/>
              </a:ext>
            </a:extLst>
          </p:cNvPr>
          <p:cNvSpPr/>
          <p:nvPr/>
        </p:nvSpPr>
        <p:spPr>
          <a:xfrm>
            <a:off x="7260421" y="3981622"/>
            <a:ext cx="613901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49ED8644-E487-4060-8707-80620298C4A1}"/>
              </a:ext>
            </a:extLst>
          </p:cNvPr>
          <p:cNvSpPr/>
          <p:nvPr/>
        </p:nvSpPr>
        <p:spPr>
          <a:xfrm>
            <a:off x="7260421" y="401750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1F95E96-4E90-4A1A-A8C5-A87BF839BC59}"/>
              </a:ext>
            </a:extLst>
          </p:cNvPr>
          <p:cNvSpPr txBox="1"/>
          <p:nvPr/>
        </p:nvSpPr>
        <p:spPr>
          <a:xfrm>
            <a:off x="895068" y="2407218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USBU POD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9E6F6D0-1E16-49FE-9D70-19C757D1C660}"/>
              </a:ext>
            </a:extLst>
          </p:cNvPr>
          <p:cNvSpPr txBox="1"/>
          <p:nvPr/>
        </p:nvSpPr>
        <p:spPr>
          <a:xfrm>
            <a:off x="895068" y="3363767"/>
            <a:ext cx="15578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MedSci Opportunity Tracke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9CF5F08-36B8-420A-979C-FF113DE6B273}"/>
              </a:ext>
            </a:extLst>
          </p:cNvPr>
          <p:cNvSpPr txBox="1"/>
          <p:nvPr/>
        </p:nvSpPr>
        <p:spPr>
          <a:xfrm>
            <a:off x="895068" y="3894097"/>
            <a:ext cx="15578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GSE Monthly Account Dashboar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8D788AA-2198-48F7-9ED8-8BFC468D5AE5}"/>
              </a:ext>
            </a:extLst>
          </p:cNvPr>
          <p:cNvSpPr txBox="1"/>
          <p:nvPr/>
        </p:nvSpPr>
        <p:spPr>
          <a:xfrm>
            <a:off x="895068" y="4490185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USCAN</a:t>
            </a:r>
          </a:p>
        </p:txBody>
      </p:sp>
      <p:sp>
        <p:nvSpPr>
          <p:cNvPr id="62" name="Star: 5 Points 61">
            <a:extLst>
              <a:ext uri="{FF2B5EF4-FFF2-40B4-BE49-F238E27FC236}">
                <a16:creationId xmlns:a16="http://schemas.microsoft.com/office/drawing/2014/main" id="{A02D33AB-4DE9-4C21-89D4-6E328FC16478}"/>
              </a:ext>
            </a:extLst>
          </p:cNvPr>
          <p:cNvSpPr/>
          <p:nvPr/>
        </p:nvSpPr>
        <p:spPr>
          <a:xfrm>
            <a:off x="5061436" y="4556436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9D2A553-3E4B-4CD0-A705-7EF469E43629}"/>
              </a:ext>
            </a:extLst>
          </p:cNvPr>
          <p:cNvSpPr txBox="1"/>
          <p:nvPr/>
        </p:nvSpPr>
        <p:spPr>
          <a:xfrm>
            <a:off x="895068" y="4974489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ITS Data Warehous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8587CB7-2257-4CCC-A6F6-647704F5B587}"/>
              </a:ext>
            </a:extLst>
          </p:cNvPr>
          <p:cNvSpPr txBox="1"/>
          <p:nvPr/>
        </p:nvSpPr>
        <p:spPr>
          <a:xfrm>
            <a:off x="895068" y="5524646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Atlas Internal Project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E18ADDF-63A2-4BA8-AAF0-EE18E0633730}"/>
              </a:ext>
            </a:extLst>
          </p:cNvPr>
          <p:cNvSpPr txBox="1"/>
          <p:nvPr/>
        </p:nvSpPr>
        <p:spPr>
          <a:xfrm>
            <a:off x="895068" y="6028110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LAUNCH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AAFAD23-0762-4EA1-ACBB-71AD09EE87BD}"/>
              </a:ext>
            </a:extLst>
          </p:cNvPr>
          <p:cNvSpPr/>
          <p:nvPr/>
        </p:nvSpPr>
        <p:spPr>
          <a:xfrm>
            <a:off x="2464238" y="96392"/>
            <a:ext cx="7398853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Overall Projects Roadmap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E77A0E7-FB8C-4529-B10F-E8F1CA428D80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FFDA6BD-96D6-4D7E-917F-0D1E5540F21A}"/>
              </a:ext>
            </a:extLst>
          </p:cNvPr>
          <p:cNvSpPr txBox="1"/>
          <p:nvPr/>
        </p:nvSpPr>
        <p:spPr>
          <a:xfrm>
            <a:off x="895068" y="2888975"/>
            <a:ext cx="1061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CSIH</a:t>
            </a:r>
          </a:p>
        </p:txBody>
      </p:sp>
      <p:sp>
        <p:nvSpPr>
          <p:cNvPr id="73" name="Arrow: Pentagon 145">
            <a:extLst>
              <a:ext uri="{FF2B5EF4-FFF2-40B4-BE49-F238E27FC236}">
                <a16:creationId xmlns:a16="http://schemas.microsoft.com/office/drawing/2014/main" id="{05B922BB-CDEC-47C6-B136-2F2485B0552A}"/>
              </a:ext>
            </a:extLst>
          </p:cNvPr>
          <p:cNvSpPr/>
          <p:nvPr/>
        </p:nvSpPr>
        <p:spPr bwMode="auto">
          <a:xfrm>
            <a:off x="2586037" y="2911043"/>
            <a:ext cx="4146565" cy="269669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SA/ Smartsheet integration </a:t>
            </a:r>
          </a:p>
        </p:txBody>
      </p:sp>
      <p:sp>
        <p:nvSpPr>
          <p:cNvPr id="74" name="Star: 5 Points 73">
            <a:extLst>
              <a:ext uri="{FF2B5EF4-FFF2-40B4-BE49-F238E27FC236}">
                <a16:creationId xmlns:a16="http://schemas.microsoft.com/office/drawing/2014/main" id="{5F38E3CB-CFF3-46E1-9FF3-696936D44B57}"/>
              </a:ext>
            </a:extLst>
          </p:cNvPr>
          <p:cNvSpPr/>
          <p:nvPr/>
        </p:nvSpPr>
        <p:spPr>
          <a:xfrm>
            <a:off x="6633655" y="2943136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7F14CB-10C4-4015-BDE5-ECCD7510D1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51443" y="131916"/>
            <a:ext cx="1694449" cy="806738"/>
          </a:xfrm>
          <a:prstGeom prst="rect">
            <a:avLst/>
          </a:prstGeom>
        </p:spPr>
      </p:pic>
      <p:sp>
        <p:nvSpPr>
          <p:cNvPr id="75" name="Star: 5 Points 74">
            <a:extLst>
              <a:ext uri="{FF2B5EF4-FFF2-40B4-BE49-F238E27FC236}">
                <a16:creationId xmlns:a16="http://schemas.microsoft.com/office/drawing/2014/main" id="{BB886E92-470B-4FC4-9A1E-538F4F80EBB8}"/>
              </a:ext>
            </a:extLst>
          </p:cNvPr>
          <p:cNvSpPr/>
          <p:nvPr/>
        </p:nvSpPr>
        <p:spPr>
          <a:xfrm>
            <a:off x="7793814" y="401750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866B159A-A05F-4586-A6AF-8B8B92C9C6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363" y="2801461"/>
            <a:ext cx="645518" cy="4680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1B230BCF-293A-4086-ABA6-2826C25C09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363" y="2272842"/>
            <a:ext cx="645517" cy="468000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AFD52839-BE67-4AD6-B1DD-40D722BD57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0230" y="3328590"/>
            <a:ext cx="645518" cy="468000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32B920F4-B9EF-4245-8135-B229846B941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9757" y="3848910"/>
            <a:ext cx="645518" cy="468000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1393039B-C33D-49CF-868E-5177BE5FE38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0595" y="4371866"/>
            <a:ext cx="714680" cy="46800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829506D7-235D-45BC-AD71-1C376D06DBC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230" y="4887283"/>
            <a:ext cx="645517" cy="468000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F033DFF-F460-4D11-9A6A-BE66724D4D8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1598" y="5406459"/>
            <a:ext cx="647823" cy="4680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9759A512-6587-4FCE-9671-1793D305A85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1644" y="5935404"/>
            <a:ext cx="647823" cy="468000"/>
          </a:xfrm>
          <a:prstGeom prst="rect">
            <a:avLst/>
          </a:prstGeom>
        </p:spPr>
      </p:pic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75C42308-C866-4A8C-B6ED-907E45D243B4}"/>
              </a:ext>
            </a:extLst>
          </p:cNvPr>
          <p:cNvSpPr/>
          <p:nvPr/>
        </p:nvSpPr>
        <p:spPr>
          <a:xfrm>
            <a:off x="8792129" y="5006233"/>
            <a:ext cx="1518047" cy="252025"/>
          </a:xfrm>
          <a:prstGeom prst="chevron">
            <a:avLst/>
          </a:prstGeom>
          <a:solidFill>
            <a:schemeClr val="bg1">
              <a:lumMod val="65000"/>
            </a:schemeClr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Warehouse – Curated Data</a:t>
            </a:r>
          </a:p>
        </p:txBody>
      </p:sp>
      <p:sp>
        <p:nvSpPr>
          <p:cNvPr id="63" name="Arrow: Chevron 62">
            <a:extLst>
              <a:ext uri="{FF2B5EF4-FFF2-40B4-BE49-F238E27FC236}">
                <a16:creationId xmlns:a16="http://schemas.microsoft.com/office/drawing/2014/main" id="{633C0FA5-7BD9-44B6-A8B7-75A7B48DE2B7}"/>
              </a:ext>
            </a:extLst>
          </p:cNvPr>
          <p:cNvSpPr/>
          <p:nvPr/>
        </p:nvSpPr>
        <p:spPr>
          <a:xfrm>
            <a:off x="10205207" y="5006232"/>
            <a:ext cx="1236339" cy="252025"/>
          </a:xfrm>
          <a:prstGeom prst="chevron">
            <a:avLst/>
          </a:prstGeom>
          <a:solidFill>
            <a:schemeClr val="bg1">
              <a:lumMod val="65000"/>
            </a:schemeClr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shboard creation</a:t>
            </a:r>
          </a:p>
        </p:txBody>
      </p:sp>
      <p:pic>
        <p:nvPicPr>
          <p:cNvPr id="4" name="Graphic 3" descr="Star with solid fill">
            <a:extLst>
              <a:ext uri="{FF2B5EF4-FFF2-40B4-BE49-F238E27FC236}">
                <a16:creationId xmlns:a16="http://schemas.microsoft.com/office/drawing/2014/main" id="{AED6BCC4-38C6-4AB6-A38F-721D1EC1658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2446109"/>
            <a:ext cx="175463" cy="175463"/>
          </a:xfrm>
          <a:prstGeom prst="rect">
            <a:avLst/>
          </a:prstGeom>
        </p:spPr>
      </p:pic>
      <p:pic>
        <p:nvPicPr>
          <p:cNvPr id="65" name="Graphic 64" descr="Star with solid fill">
            <a:extLst>
              <a:ext uri="{FF2B5EF4-FFF2-40B4-BE49-F238E27FC236}">
                <a16:creationId xmlns:a16="http://schemas.microsoft.com/office/drawing/2014/main" id="{5C8A1BF5-CD0B-47C0-B1FA-D62E225B4E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3389156"/>
            <a:ext cx="175463" cy="175463"/>
          </a:xfrm>
          <a:prstGeom prst="rect">
            <a:avLst/>
          </a:prstGeom>
        </p:spPr>
      </p:pic>
      <p:pic>
        <p:nvPicPr>
          <p:cNvPr id="69" name="Graphic 68" descr="Star with solid fill">
            <a:extLst>
              <a:ext uri="{FF2B5EF4-FFF2-40B4-BE49-F238E27FC236}">
                <a16:creationId xmlns:a16="http://schemas.microsoft.com/office/drawing/2014/main" id="{0699F5C1-1503-4BB5-94C5-908014CFFE3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4528789"/>
            <a:ext cx="175463" cy="175463"/>
          </a:xfrm>
          <a:prstGeom prst="rect">
            <a:avLst/>
          </a:prstGeom>
        </p:spPr>
      </p:pic>
      <p:pic>
        <p:nvPicPr>
          <p:cNvPr id="71" name="Graphic 70" descr="Star with solid fill">
            <a:extLst>
              <a:ext uri="{FF2B5EF4-FFF2-40B4-BE49-F238E27FC236}">
                <a16:creationId xmlns:a16="http://schemas.microsoft.com/office/drawing/2014/main" id="{F12B4984-190D-4BEF-98A2-D0A77C66B05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1975" y="6561737"/>
            <a:ext cx="175463" cy="17546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8E3580F-00BB-463F-B449-8DDE39D99CC7}"/>
              </a:ext>
            </a:extLst>
          </p:cNvPr>
          <p:cNvSpPr txBox="1"/>
          <p:nvPr/>
        </p:nvSpPr>
        <p:spPr>
          <a:xfrm>
            <a:off x="565215" y="6512018"/>
            <a:ext cx="37986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tx2"/>
                </a:solidFill>
              </a:rPr>
              <a:t>Deep-dive in following slides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8EA0653E-5044-4F30-8B57-025B616E46E6}"/>
              </a:ext>
            </a:extLst>
          </p:cNvPr>
          <p:cNvSpPr/>
          <p:nvPr/>
        </p:nvSpPr>
        <p:spPr>
          <a:xfrm>
            <a:off x="7804714" y="3426510"/>
            <a:ext cx="613901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</a:t>
            </a:r>
            <a:r>
              <a:rPr lang="en-US" sz="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Report</a:t>
            </a:r>
          </a:p>
        </p:txBody>
      </p:sp>
    </p:spTree>
    <p:extLst>
      <p:ext uri="{BB962C8B-B14F-4D97-AF65-F5344CB8AC3E}">
        <p14:creationId xmlns:p14="http://schemas.microsoft.com/office/powerpoint/2010/main" val="130770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B249BA-954E-43DA-94E9-E6B2DCB3EB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B249BA-954E-43DA-94E9-E6B2DCB3E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E5FD42-0776-4C89-BCA4-60BEBD028C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D&amp;A Projects LTD</a:t>
            </a:r>
          </a:p>
        </p:txBody>
      </p:sp>
      <p:graphicFrame>
        <p:nvGraphicFramePr>
          <p:cNvPr id="8" name="Tabla 18">
            <a:extLst>
              <a:ext uri="{FF2B5EF4-FFF2-40B4-BE49-F238E27FC236}">
                <a16:creationId xmlns:a16="http://schemas.microsoft.com/office/drawing/2014/main" id="{7654D579-2346-48CB-B5DC-D6C04BAAFE1A}"/>
              </a:ext>
            </a:extLst>
          </p:cNvPr>
          <p:cNvGraphicFramePr>
            <a:graphicFrameLocks noGrp="1"/>
          </p:cNvGraphicFramePr>
          <p:nvPr/>
        </p:nvGraphicFramePr>
        <p:xfrm>
          <a:off x="425700" y="1590864"/>
          <a:ext cx="11064334" cy="4832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42568">
                  <a:extLst>
                    <a:ext uri="{9D8B030D-6E8A-4147-A177-3AD203B41FA5}">
                      <a16:colId xmlns:a16="http://schemas.microsoft.com/office/drawing/2014/main" val="640640856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3530920236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2958556297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4140811939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1890942664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2007806403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3517480777"/>
                    </a:ext>
                  </a:extLst>
                </a:gridCol>
                <a:gridCol w="1274538">
                  <a:extLst>
                    <a:ext uri="{9D8B030D-6E8A-4147-A177-3AD203B41FA5}">
                      <a16:colId xmlns:a16="http://schemas.microsoft.com/office/drawing/2014/main" val="1478219234"/>
                    </a:ext>
                  </a:extLst>
                </a:gridCol>
              </a:tblGrid>
              <a:tr h="31279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Project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u="none" strike="noStrike" kern="1200" noProof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1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934994"/>
                  </a:ext>
                </a:extLst>
              </a:tr>
              <a:tr h="343725">
                <a:tc vMerge="1">
                  <a:txBody>
                    <a:bodyPr/>
                    <a:lstStyle/>
                    <a:p>
                      <a:pPr algn="ctr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Nov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De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J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Fe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Marc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Apri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Ma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6476887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888365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3963989"/>
                  </a:ext>
                </a:extLst>
              </a:tr>
              <a:tr h="528356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63865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                                          </a:t>
                      </a:r>
                      <a:endParaRPr lang="en-US" sz="100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803283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21161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algn="l" fontAlgn="ctr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endParaRPr lang="en-US" sz="105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411636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974589"/>
                  </a:ext>
                </a:extLst>
              </a:tr>
              <a:tr h="5182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17" marR="3017" marT="3017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673649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8641B23-409C-41BB-AB2E-39E5D9E862B0}"/>
              </a:ext>
            </a:extLst>
          </p:cNvPr>
          <p:cNvGrpSpPr/>
          <p:nvPr/>
        </p:nvGrpSpPr>
        <p:grpSpPr>
          <a:xfrm>
            <a:off x="8291482" y="935425"/>
            <a:ext cx="3143217" cy="557932"/>
            <a:chOff x="7516008" y="400357"/>
            <a:chExt cx="3143217" cy="55793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DCF780-8536-46B9-9F31-FC94D0701C58}"/>
                </a:ext>
              </a:extLst>
            </p:cNvPr>
            <p:cNvSpPr/>
            <p:nvPr/>
          </p:nvSpPr>
          <p:spPr>
            <a:xfrm>
              <a:off x="7634591" y="685104"/>
              <a:ext cx="216000" cy="18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1A24CCF-5846-418C-BA20-8D417AF4520C}"/>
                </a:ext>
              </a:extLst>
            </p:cNvPr>
            <p:cNvSpPr txBox="1"/>
            <p:nvPr/>
          </p:nvSpPr>
          <p:spPr>
            <a:xfrm>
              <a:off x="7808437" y="660162"/>
              <a:ext cx="152695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Not Starte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685A7A-DDA0-42EC-9035-C7FF3785C4C5}"/>
                </a:ext>
              </a:extLst>
            </p:cNvPr>
            <p:cNvSpPr/>
            <p:nvPr/>
          </p:nvSpPr>
          <p:spPr>
            <a:xfrm>
              <a:off x="8683771" y="685104"/>
              <a:ext cx="216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FC6C925-3E14-44CF-B998-F3EA257AEE54}"/>
                </a:ext>
              </a:extLst>
            </p:cNvPr>
            <p:cNvSpPr txBox="1"/>
            <p:nvPr/>
          </p:nvSpPr>
          <p:spPr>
            <a:xfrm>
              <a:off x="8846683" y="650716"/>
              <a:ext cx="152695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tx2"/>
                  </a:solidFill>
                </a:rPr>
                <a:t>Ongoing </a:t>
              </a:r>
            </a:p>
          </p:txBody>
        </p:sp>
        <p:sp>
          <p:nvSpPr>
            <p:cNvPr id="18" name="Rectangle: Single Corner Snipped 17">
              <a:extLst>
                <a:ext uri="{FF2B5EF4-FFF2-40B4-BE49-F238E27FC236}">
                  <a16:creationId xmlns:a16="http://schemas.microsoft.com/office/drawing/2014/main" id="{2EFCBE25-83AA-4B8A-BE58-5FEA0271333D}"/>
                </a:ext>
              </a:extLst>
            </p:cNvPr>
            <p:cNvSpPr/>
            <p:nvPr/>
          </p:nvSpPr>
          <p:spPr>
            <a:xfrm>
              <a:off x="7516008" y="543046"/>
              <a:ext cx="3143217" cy="415243"/>
            </a:xfrm>
            <a:prstGeom prst="snip1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2E40CD1-16F7-4218-8EAF-011600A0B277}"/>
                </a:ext>
              </a:extLst>
            </p:cNvPr>
            <p:cNvSpPr txBox="1"/>
            <p:nvPr/>
          </p:nvSpPr>
          <p:spPr>
            <a:xfrm>
              <a:off x="8702684" y="400357"/>
              <a:ext cx="769863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tx2"/>
                  </a:solidFill>
                </a:rPr>
                <a:t>Legend</a:t>
              </a:r>
            </a:p>
          </p:txBody>
        </p:sp>
      </p:grpSp>
      <p:sp>
        <p:nvSpPr>
          <p:cNvPr id="21" name="Arrow: Pentagon 145">
            <a:extLst>
              <a:ext uri="{FF2B5EF4-FFF2-40B4-BE49-F238E27FC236}">
                <a16:creationId xmlns:a16="http://schemas.microsoft.com/office/drawing/2014/main" id="{0BA1B85E-11BC-4688-8CAB-3B4FA4CAACB9}"/>
              </a:ext>
            </a:extLst>
          </p:cNvPr>
          <p:cNvSpPr/>
          <p:nvPr/>
        </p:nvSpPr>
        <p:spPr bwMode="auto">
          <a:xfrm>
            <a:off x="2586036" y="3419465"/>
            <a:ext cx="3480029" cy="273458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n Dashboard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97AF4AAC-0660-4130-88A5-E1CA15F0531B}"/>
              </a:ext>
            </a:extLst>
          </p:cNvPr>
          <p:cNvSpPr/>
          <p:nvPr/>
        </p:nvSpPr>
        <p:spPr>
          <a:xfrm>
            <a:off x="5957867" y="3418926"/>
            <a:ext cx="1394278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lity Check /Analytics &amp; individualized reporting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793B441E-A7FA-49AD-BB3F-DE529D18ECD5}"/>
              </a:ext>
            </a:extLst>
          </p:cNvPr>
          <p:cNvSpPr/>
          <p:nvPr/>
        </p:nvSpPr>
        <p:spPr>
          <a:xfrm>
            <a:off x="7279072" y="346259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28" name="Arrow: Pentagon 145">
            <a:extLst>
              <a:ext uri="{FF2B5EF4-FFF2-40B4-BE49-F238E27FC236}">
                <a16:creationId xmlns:a16="http://schemas.microsoft.com/office/drawing/2014/main" id="{28E8B7FD-2C13-4CAE-B7BB-220395E59A4E}"/>
              </a:ext>
            </a:extLst>
          </p:cNvPr>
          <p:cNvSpPr/>
          <p:nvPr/>
        </p:nvSpPr>
        <p:spPr bwMode="auto">
          <a:xfrm>
            <a:off x="2578225" y="3981623"/>
            <a:ext cx="2103619" cy="272159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e Dashboard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052333B-8C71-49A0-8405-FECD1793CD2D}"/>
              </a:ext>
            </a:extLst>
          </p:cNvPr>
          <p:cNvSpPr/>
          <p:nvPr/>
        </p:nvSpPr>
        <p:spPr>
          <a:xfrm>
            <a:off x="4576615" y="3981623"/>
            <a:ext cx="2775529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Dashboard + QC Report</a:t>
            </a:r>
          </a:p>
        </p:txBody>
      </p:sp>
      <p:sp>
        <p:nvSpPr>
          <p:cNvPr id="31" name="Arrow: Pentagon 145">
            <a:extLst>
              <a:ext uri="{FF2B5EF4-FFF2-40B4-BE49-F238E27FC236}">
                <a16:creationId xmlns:a16="http://schemas.microsoft.com/office/drawing/2014/main" id="{C60BE094-E73E-4D96-BC41-31C9C150220E}"/>
              </a:ext>
            </a:extLst>
          </p:cNvPr>
          <p:cNvSpPr/>
          <p:nvPr/>
        </p:nvSpPr>
        <p:spPr bwMode="auto">
          <a:xfrm>
            <a:off x="2593327" y="4507372"/>
            <a:ext cx="1234255" cy="274755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al Slides Dashboard</a:t>
            </a: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54D15F65-8064-4FEB-8C25-B163D3BF6FE5}"/>
              </a:ext>
            </a:extLst>
          </p:cNvPr>
          <p:cNvSpPr/>
          <p:nvPr/>
        </p:nvSpPr>
        <p:spPr>
          <a:xfrm>
            <a:off x="3722068" y="4510961"/>
            <a:ext cx="1448048" cy="273457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s recreation</a:t>
            </a:r>
          </a:p>
        </p:txBody>
      </p:sp>
      <p:sp>
        <p:nvSpPr>
          <p:cNvPr id="41" name="Arrow: Pentagon 145">
            <a:extLst>
              <a:ext uri="{FF2B5EF4-FFF2-40B4-BE49-F238E27FC236}">
                <a16:creationId xmlns:a16="http://schemas.microsoft.com/office/drawing/2014/main" id="{5D46BD6C-96C0-4F2D-AE10-AD5865B871E0}"/>
              </a:ext>
            </a:extLst>
          </p:cNvPr>
          <p:cNvSpPr/>
          <p:nvPr/>
        </p:nvSpPr>
        <p:spPr bwMode="auto">
          <a:xfrm>
            <a:off x="3751862" y="2389058"/>
            <a:ext cx="1942913" cy="252025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 Report Automation</a:t>
            </a:r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E16742D3-415E-4EB0-AB72-4B95FB3BCF41}"/>
              </a:ext>
            </a:extLst>
          </p:cNvPr>
          <p:cNvSpPr/>
          <p:nvPr/>
        </p:nvSpPr>
        <p:spPr>
          <a:xfrm>
            <a:off x="3722068" y="4539092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44" name="Arrow: Pentagon 145">
            <a:extLst>
              <a:ext uri="{FF2B5EF4-FFF2-40B4-BE49-F238E27FC236}">
                <a16:creationId xmlns:a16="http://schemas.microsoft.com/office/drawing/2014/main" id="{520BBBEB-C59A-4EEE-B691-70F18C1E464B}"/>
              </a:ext>
            </a:extLst>
          </p:cNvPr>
          <p:cNvSpPr/>
          <p:nvPr/>
        </p:nvSpPr>
        <p:spPr bwMode="auto">
          <a:xfrm>
            <a:off x="3888623" y="5008263"/>
            <a:ext cx="5006802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Lake – Raw Data</a:t>
            </a: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225AE903-0496-40E9-B86B-F940CFAB3923}"/>
              </a:ext>
            </a:extLst>
          </p:cNvPr>
          <p:cNvSpPr/>
          <p:nvPr/>
        </p:nvSpPr>
        <p:spPr>
          <a:xfrm>
            <a:off x="6372116" y="4504863"/>
            <a:ext cx="4854639" cy="272159"/>
          </a:xfrm>
          <a:prstGeom prst="chevron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ity 2 &amp; 3 Metr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53986CE-FB13-4F4D-91AA-6542B3434E88}"/>
              </a:ext>
            </a:extLst>
          </p:cNvPr>
          <p:cNvCxnSpPr>
            <a:cxnSpLocks/>
          </p:cNvCxnSpPr>
          <p:nvPr/>
        </p:nvCxnSpPr>
        <p:spPr>
          <a:xfrm>
            <a:off x="7229014" y="2290536"/>
            <a:ext cx="0" cy="4421079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2EF9D24-DE8B-421D-AB1E-2502C940C044}"/>
              </a:ext>
            </a:extLst>
          </p:cNvPr>
          <p:cNvSpPr txBox="1"/>
          <p:nvPr/>
        </p:nvSpPr>
        <p:spPr>
          <a:xfrm>
            <a:off x="7060212" y="6521136"/>
            <a:ext cx="825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chemeClr val="accent2"/>
                </a:solidFill>
              </a:rPr>
              <a:t>Today</a:t>
            </a:r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1F11478E-48F7-4A79-96D0-CB5466D90AFA}"/>
              </a:ext>
            </a:extLst>
          </p:cNvPr>
          <p:cNvSpPr/>
          <p:nvPr/>
        </p:nvSpPr>
        <p:spPr>
          <a:xfrm>
            <a:off x="5636710" y="242628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7" name="Star: 5 Points 36">
            <a:extLst>
              <a:ext uri="{FF2B5EF4-FFF2-40B4-BE49-F238E27FC236}">
                <a16:creationId xmlns:a16="http://schemas.microsoft.com/office/drawing/2014/main" id="{5F481878-00E0-4902-A101-A4B716807EB4}"/>
              </a:ext>
            </a:extLst>
          </p:cNvPr>
          <p:cNvSpPr/>
          <p:nvPr/>
        </p:nvSpPr>
        <p:spPr>
          <a:xfrm>
            <a:off x="5941747" y="3460180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9B278E25-DDD0-428B-A9DF-B5B224A3A796}"/>
              </a:ext>
            </a:extLst>
          </p:cNvPr>
          <p:cNvSpPr/>
          <p:nvPr/>
        </p:nvSpPr>
        <p:spPr>
          <a:xfrm>
            <a:off x="4569793" y="402326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46" name="Arrow: Pentagon 145">
            <a:extLst>
              <a:ext uri="{FF2B5EF4-FFF2-40B4-BE49-F238E27FC236}">
                <a16:creationId xmlns:a16="http://schemas.microsoft.com/office/drawing/2014/main" id="{1A82FE8E-4DC3-420E-95EB-150FF21502DF}"/>
              </a:ext>
            </a:extLst>
          </p:cNvPr>
          <p:cNvSpPr/>
          <p:nvPr/>
        </p:nvSpPr>
        <p:spPr bwMode="auto">
          <a:xfrm>
            <a:off x="6066065" y="5502868"/>
            <a:ext cx="5160690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lines TBC</a:t>
            </a: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19A339F4-EF1A-4B45-9E07-42B0CD7FDF0B}"/>
              </a:ext>
            </a:extLst>
          </p:cNvPr>
          <p:cNvSpPr/>
          <p:nvPr/>
        </p:nvSpPr>
        <p:spPr>
          <a:xfrm>
            <a:off x="5056839" y="4501076"/>
            <a:ext cx="1431383" cy="285753"/>
          </a:xfrm>
          <a:prstGeom prst="chevron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1 metrics</a:t>
            </a:r>
          </a:p>
        </p:txBody>
      </p:sp>
      <p:sp>
        <p:nvSpPr>
          <p:cNvPr id="45" name="Star: 5 Points 44">
            <a:extLst>
              <a:ext uri="{FF2B5EF4-FFF2-40B4-BE49-F238E27FC236}">
                <a16:creationId xmlns:a16="http://schemas.microsoft.com/office/drawing/2014/main" id="{B4C665C6-E3FC-4EF8-9EBE-50FB12B64DEB}"/>
              </a:ext>
            </a:extLst>
          </p:cNvPr>
          <p:cNvSpPr/>
          <p:nvPr/>
        </p:nvSpPr>
        <p:spPr>
          <a:xfrm>
            <a:off x="6368205" y="4546914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43" name="Arrow: Pentagon 145">
            <a:extLst>
              <a:ext uri="{FF2B5EF4-FFF2-40B4-BE49-F238E27FC236}">
                <a16:creationId xmlns:a16="http://schemas.microsoft.com/office/drawing/2014/main" id="{00D14504-182C-4836-ACDC-42B346D5EF0B}"/>
              </a:ext>
            </a:extLst>
          </p:cNvPr>
          <p:cNvSpPr/>
          <p:nvPr/>
        </p:nvSpPr>
        <p:spPr bwMode="auto">
          <a:xfrm>
            <a:off x="7161028" y="6032844"/>
            <a:ext cx="4065727" cy="252025"/>
          </a:xfrm>
          <a:prstGeom prst="homePlate">
            <a:avLst/>
          </a:prstGeom>
          <a:solidFill>
            <a:schemeClr val="accent1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lines TBC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24089FD-AC3B-49A2-B982-81F1FBD9A5B7}"/>
              </a:ext>
            </a:extLst>
          </p:cNvPr>
          <p:cNvSpPr/>
          <p:nvPr/>
        </p:nvSpPr>
        <p:spPr>
          <a:xfrm>
            <a:off x="10455450" y="1215866"/>
            <a:ext cx="216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A2158D1-0904-4EF2-8B22-E07ECDA182B0}"/>
              </a:ext>
            </a:extLst>
          </p:cNvPr>
          <p:cNvSpPr txBox="1"/>
          <p:nvPr/>
        </p:nvSpPr>
        <p:spPr>
          <a:xfrm>
            <a:off x="10618250" y="1216613"/>
            <a:ext cx="823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Completed</a:t>
            </a: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D04B3D25-495A-4FBF-A497-63A1C8782F53}"/>
              </a:ext>
            </a:extLst>
          </p:cNvPr>
          <p:cNvSpPr/>
          <p:nvPr/>
        </p:nvSpPr>
        <p:spPr>
          <a:xfrm>
            <a:off x="7260421" y="3981622"/>
            <a:ext cx="613901" cy="272159"/>
          </a:xfrm>
          <a:prstGeom prst="chevron">
            <a:avLst/>
          </a:prstGeom>
          <a:solidFill>
            <a:srgbClr val="A6A6A6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llel Run</a:t>
            </a:r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49ED8644-E487-4060-8707-80620298C4A1}"/>
              </a:ext>
            </a:extLst>
          </p:cNvPr>
          <p:cNvSpPr/>
          <p:nvPr/>
        </p:nvSpPr>
        <p:spPr>
          <a:xfrm>
            <a:off x="7260421" y="401750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1F95E96-4E90-4A1A-A8C5-A87BF839BC59}"/>
              </a:ext>
            </a:extLst>
          </p:cNvPr>
          <p:cNvSpPr txBox="1"/>
          <p:nvPr/>
        </p:nvSpPr>
        <p:spPr>
          <a:xfrm>
            <a:off x="895068" y="2407218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USBU POD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9E6F6D0-1E16-49FE-9D70-19C757D1C660}"/>
              </a:ext>
            </a:extLst>
          </p:cNvPr>
          <p:cNvSpPr txBox="1"/>
          <p:nvPr/>
        </p:nvSpPr>
        <p:spPr>
          <a:xfrm>
            <a:off x="895068" y="3363767"/>
            <a:ext cx="15578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MedSci Opportunity Tracke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9CF5F08-36B8-420A-979C-FF113DE6B273}"/>
              </a:ext>
            </a:extLst>
          </p:cNvPr>
          <p:cNvSpPr txBox="1"/>
          <p:nvPr/>
        </p:nvSpPr>
        <p:spPr>
          <a:xfrm>
            <a:off x="895068" y="3894097"/>
            <a:ext cx="15578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GSE Monthly Account Dashboar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8D788AA-2198-48F7-9ED8-8BFC468D5AE5}"/>
              </a:ext>
            </a:extLst>
          </p:cNvPr>
          <p:cNvSpPr txBox="1"/>
          <p:nvPr/>
        </p:nvSpPr>
        <p:spPr>
          <a:xfrm>
            <a:off x="895068" y="4490185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USCAN</a:t>
            </a:r>
          </a:p>
        </p:txBody>
      </p:sp>
      <p:sp>
        <p:nvSpPr>
          <p:cNvPr id="62" name="Star: 5 Points 61">
            <a:extLst>
              <a:ext uri="{FF2B5EF4-FFF2-40B4-BE49-F238E27FC236}">
                <a16:creationId xmlns:a16="http://schemas.microsoft.com/office/drawing/2014/main" id="{A02D33AB-4DE9-4C21-89D4-6E328FC16478}"/>
              </a:ext>
            </a:extLst>
          </p:cNvPr>
          <p:cNvSpPr/>
          <p:nvPr/>
        </p:nvSpPr>
        <p:spPr>
          <a:xfrm>
            <a:off x="5061436" y="4556436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9D2A553-3E4B-4CD0-A705-7EF469E43629}"/>
              </a:ext>
            </a:extLst>
          </p:cNvPr>
          <p:cNvSpPr txBox="1"/>
          <p:nvPr/>
        </p:nvSpPr>
        <p:spPr>
          <a:xfrm>
            <a:off x="895068" y="4974489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ITS Data Warehous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8587CB7-2257-4CCC-A6F6-647704F5B587}"/>
              </a:ext>
            </a:extLst>
          </p:cNvPr>
          <p:cNvSpPr txBox="1"/>
          <p:nvPr/>
        </p:nvSpPr>
        <p:spPr>
          <a:xfrm>
            <a:off x="895068" y="5524646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Atlas Internal Project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E18ADDF-63A2-4BA8-AAF0-EE18E0633730}"/>
              </a:ext>
            </a:extLst>
          </p:cNvPr>
          <p:cNvSpPr txBox="1"/>
          <p:nvPr/>
        </p:nvSpPr>
        <p:spPr>
          <a:xfrm>
            <a:off x="895068" y="6028110"/>
            <a:ext cx="15578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</a:rPr>
              <a:t>LAUNCH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AAFAD23-0762-4EA1-ACBB-71AD09EE87BD}"/>
              </a:ext>
            </a:extLst>
          </p:cNvPr>
          <p:cNvSpPr/>
          <p:nvPr/>
        </p:nvSpPr>
        <p:spPr>
          <a:xfrm>
            <a:off x="2464238" y="96392"/>
            <a:ext cx="7398853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Overall Projects Roadmap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E77A0E7-FB8C-4529-B10F-E8F1CA428D80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FFDA6BD-96D6-4D7E-917F-0D1E5540F21A}"/>
              </a:ext>
            </a:extLst>
          </p:cNvPr>
          <p:cNvSpPr txBox="1"/>
          <p:nvPr/>
        </p:nvSpPr>
        <p:spPr>
          <a:xfrm>
            <a:off x="895068" y="2888975"/>
            <a:ext cx="1061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CSIH</a:t>
            </a:r>
          </a:p>
        </p:txBody>
      </p:sp>
      <p:sp>
        <p:nvSpPr>
          <p:cNvPr id="73" name="Arrow: Pentagon 145">
            <a:extLst>
              <a:ext uri="{FF2B5EF4-FFF2-40B4-BE49-F238E27FC236}">
                <a16:creationId xmlns:a16="http://schemas.microsoft.com/office/drawing/2014/main" id="{05B922BB-CDEC-47C6-B136-2F2485B0552A}"/>
              </a:ext>
            </a:extLst>
          </p:cNvPr>
          <p:cNvSpPr/>
          <p:nvPr/>
        </p:nvSpPr>
        <p:spPr bwMode="auto">
          <a:xfrm>
            <a:off x="2586037" y="2911043"/>
            <a:ext cx="4146565" cy="269669"/>
          </a:xfrm>
          <a:prstGeom prst="homePlate">
            <a:avLst/>
          </a:prstGeom>
          <a:solidFill>
            <a:srgbClr val="0070C0"/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SA/ Smartsheet integration </a:t>
            </a:r>
          </a:p>
        </p:txBody>
      </p:sp>
      <p:sp>
        <p:nvSpPr>
          <p:cNvPr id="74" name="Star: 5 Points 73">
            <a:extLst>
              <a:ext uri="{FF2B5EF4-FFF2-40B4-BE49-F238E27FC236}">
                <a16:creationId xmlns:a16="http://schemas.microsoft.com/office/drawing/2014/main" id="{5F38E3CB-CFF3-46E1-9FF3-696936D44B57}"/>
              </a:ext>
            </a:extLst>
          </p:cNvPr>
          <p:cNvSpPr/>
          <p:nvPr/>
        </p:nvSpPr>
        <p:spPr>
          <a:xfrm>
            <a:off x="6633655" y="2943136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7F14CB-10C4-4015-BDE5-ECCD7510D1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51443" y="131916"/>
            <a:ext cx="1694449" cy="806738"/>
          </a:xfrm>
          <a:prstGeom prst="rect">
            <a:avLst/>
          </a:prstGeom>
        </p:spPr>
      </p:pic>
      <p:sp>
        <p:nvSpPr>
          <p:cNvPr id="75" name="Star: 5 Points 74">
            <a:extLst>
              <a:ext uri="{FF2B5EF4-FFF2-40B4-BE49-F238E27FC236}">
                <a16:creationId xmlns:a16="http://schemas.microsoft.com/office/drawing/2014/main" id="{BB886E92-470B-4FC4-9A1E-538F4F80EBB8}"/>
              </a:ext>
            </a:extLst>
          </p:cNvPr>
          <p:cNvSpPr/>
          <p:nvPr/>
        </p:nvSpPr>
        <p:spPr>
          <a:xfrm>
            <a:off x="7793814" y="4017508"/>
            <a:ext cx="177553" cy="168676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866B159A-A05F-4586-A6AF-8B8B92C9C6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363" y="2801461"/>
            <a:ext cx="645518" cy="4680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1B230BCF-293A-4086-ABA6-2826C25C09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363" y="2272842"/>
            <a:ext cx="645517" cy="468000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AFD52839-BE67-4AD6-B1DD-40D722BD57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0230" y="3328590"/>
            <a:ext cx="645518" cy="468000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32B920F4-B9EF-4245-8135-B229846B941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9757" y="3848910"/>
            <a:ext cx="645518" cy="468000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1393039B-C33D-49CF-868E-5177BE5FE38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0595" y="4371866"/>
            <a:ext cx="714680" cy="46800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829506D7-235D-45BC-AD71-1C376D06DBC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230" y="4887283"/>
            <a:ext cx="645517" cy="468000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F033DFF-F460-4D11-9A6A-BE66724D4D8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1598" y="5406459"/>
            <a:ext cx="647823" cy="4680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9759A512-6587-4FCE-9671-1793D305A85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1644" y="5935404"/>
            <a:ext cx="647823" cy="468000"/>
          </a:xfrm>
          <a:prstGeom prst="rect">
            <a:avLst/>
          </a:prstGeom>
        </p:spPr>
      </p:pic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75C42308-C866-4A8C-B6ED-907E45D243B4}"/>
              </a:ext>
            </a:extLst>
          </p:cNvPr>
          <p:cNvSpPr/>
          <p:nvPr/>
        </p:nvSpPr>
        <p:spPr>
          <a:xfrm>
            <a:off x="8792129" y="5006233"/>
            <a:ext cx="1518047" cy="252025"/>
          </a:xfrm>
          <a:prstGeom prst="chevron">
            <a:avLst/>
          </a:prstGeom>
          <a:solidFill>
            <a:schemeClr val="bg1">
              <a:lumMod val="65000"/>
            </a:schemeClr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Warehouse – Curated Data</a:t>
            </a:r>
          </a:p>
        </p:txBody>
      </p:sp>
      <p:sp>
        <p:nvSpPr>
          <p:cNvPr id="63" name="Arrow: Chevron 62">
            <a:extLst>
              <a:ext uri="{FF2B5EF4-FFF2-40B4-BE49-F238E27FC236}">
                <a16:creationId xmlns:a16="http://schemas.microsoft.com/office/drawing/2014/main" id="{633C0FA5-7BD9-44B6-A8B7-75A7B48DE2B7}"/>
              </a:ext>
            </a:extLst>
          </p:cNvPr>
          <p:cNvSpPr/>
          <p:nvPr/>
        </p:nvSpPr>
        <p:spPr>
          <a:xfrm>
            <a:off x="10205207" y="5006232"/>
            <a:ext cx="1236339" cy="252025"/>
          </a:xfrm>
          <a:prstGeom prst="chevron">
            <a:avLst/>
          </a:prstGeom>
          <a:solidFill>
            <a:schemeClr val="bg1">
              <a:lumMod val="65000"/>
            </a:schemeClr>
          </a:solidFill>
          <a:ln w="28575">
            <a:noFill/>
            <a:prstDash val="solid"/>
          </a:ln>
        </p:spPr>
        <p:txBody>
          <a:bodyPr lIns="0" tIns="107923" rIns="0" bIns="107923" anchor="ctr"/>
          <a:lstStyle/>
          <a:p>
            <a:pPr indent="-228403" algn="ctr" defTabSz="1017939">
              <a:spcAft>
                <a:spcPts val="599"/>
              </a:spcAft>
              <a:buClr>
                <a:srgbClr val="000000"/>
              </a:buClr>
            </a:pPr>
            <a:r>
              <a:rPr lang="en-US" sz="8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shboard creation</a:t>
            </a:r>
          </a:p>
        </p:txBody>
      </p:sp>
      <p:pic>
        <p:nvPicPr>
          <p:cNvPr id="4" name="Graphic 3" descr="Star with solid fill">
            <a:extLst>
              <a:ext uri="{FF2B5EF4-FFF2-40B4-BE49-F238E27FC236}">
                <a16:creationId xmlns:a16="http://schemas.microsoft.com/office/drawing/2014/main" id="{AED6BCC4-38C6-4AB6-A38F-721D1EC1658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2446109"/>
            <a:ext cx="175463" cy="175463"/>
          </a:xfrm>
          <a:prstGeom prst="rect">
            <a:avLst/>
          </a:prstGeom>
        </p:spPr>
      </p:pic>
      <p:pic>
        <p:nvPicPr>
          <p:cNvPr id="65" name="Graphic 64" descr="Star with solid fill">
            <a:extLst>
              <a:ext uri="{FF2B5EF4-FFF2-40B4-BE49-F238E27FC236}">
                <a16:creationId xmlns:a16="http://schemas.microsoft.com/office/drawing/2014/main" id="{5C8A1BF5-CD0B-47C0-B1FA-D62E225B4E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3389156"/>
            <a:ext cx="175463" cy="175463"/>
          </a:xfrm>
          <a:prstGeom prst="rect">
            <a:avLst/>
          </a:prstGeom>
        </p:spPr>
      </p:pic>
      <p:pic>
        <p:nvPicPr>
          <p:cNvPr id="69" name="Graphic 68" descr="Star with solid fill">
            <a:extLst>
              <a:ext uri="{FF2B5EF4-FFF2-40B4-BE49-F238E27FC236}">
                <a16:creationId xmlns:a16="http://schemas.microsoft.com/office/drawing/2014/main" id="{0699F5C1-1503-4BB5-94C5-908014CFFE3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60752" y="4528789"/>
            <a:ext cx="175463" cy="175463"/>
          </a:xfrm>
          <a:prstGeom prst="rect">
            <a:avLst/>
          </a:prstGeom>
        </p:spPr>
      </p:pic>
      <p:pic>
        <p:nvPicPr>
          <p:cNvPr id="71" name="Graphic 70" descr="Star with solid fill">
            <a:extLst>
              <a:ext uri="{FF2B5EF4-FFF2-40B4-BE49-F238E27FC236}">
                <a16:creationId xmlns:a16="http://schemas.microsoft.com/office/drawing/2014/main" id="{F12B4984-190D-4BEF-98A2-D0A77C66B05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1975" y="6561737"/>
            <a:ext cx="175463" cy="17546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8E3580F-00BB-463F-B449-8DDE39D99CC7}"/>
              </a:ext>
            </a:extLst>
          </p:cNvPr>
          <p:cNvSpPr txBox="1"/>
          <p:nvPr/>
        </p:nvSpPr>
        <p:spPr>
          <a:xfrm>
            <a:off x="565215" y="6512018"/>
            <a:ext cx="37986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tx2"/>
                </a:solidFill>
              </a:rPr>
              <a:t>Deep-dive in following slides</a:t>
            </a:r>
          </a:p>
        </p:txBody>
      </p:sp>
    </p:spTree>
    <p:extLst>
      <p:ext uri="{BB962C8B-B14F-4D97-AF65-F5344CB8AC3E}">
        <p14:creationId xmlns:p14="http://schemas.microsoft.com/office/powerpoint/2010/main" val="264277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916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Diagrama de flujo: operación manual 3">
            <a:extLst>
              <a:ext uri="{FF2B5EF4-FFF2-40B4-BE49-F238E27FC236}">
                <a16:creationId xmlns:a16="http://schemas.microsoft.com/office/drawing/2014/main" id="{CBE4CB9B-CDE8-48C4-A756-B6415B866B3E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2EFEAC7-94B9-40EE-B0F7-A95B8E048F1C}"/>
              </a:ext>
            </a:extLst>
          </p:cNvPr>
          <p:cNvSpPr/>
          <p:nvPr/>
        </p:nvSpPr>
        <p:spPr>
          <a:xfrm>
            <a:off x="7446169" y="3494289"/>
            <a:ext cx="976047" cy="5222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E2F3163A-21F5-4221-8CA6-A93A32223A20}"/>
              </a:ext>
            </a:extLst>
          </p:cNvPr>
          <p:cNvSpPr/>
          <p:nvPr/>
        </p:nvSpPr>
        <p:spPr>
          <a:xfrm>
            <a:off x="6223185" y="3503090"/>
            <a:ext cx="1043713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37343B8-24E2-48D2-BE77-5E9626F23D40}"/>
              </a:ext>
            </a:extLst>
          </p:cNvPr>
          <p:cNvSpPr/>
          <p:nvPr/>
        </p:nvSpPr>
        <p:spPr>
          <a:xfrm>
            <a:off x="6071353" y="1844573"/>
            <a:ext cx="5337549" cy="2615325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50" name="Rectangle: Rounded Corners 28">
            <a:extLst>
              <a:ext uri="{FF2B5EF4-FFF2-40B4-BE49-F238E27FC236}">
                <a16:creationId xmlns:a16="http://schemas.microsoft.com/office/drawing/2014/main" id="{76899B09-544B-40F3-ACCB-E7CBE68CFF10}"/>
              </a:ext>
            </a:extLst>
          </p:cNvPr>
          <p:cNvSpPr/>
          <p:nvPr/>
        </p:nvSpPr>
        <p:spPr bwMode="auto">
          <a:xfrm>
            <a:off x="6977548" y="1749653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USINESS CAS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910E7FE-412F-496C-8DAD-D55E2A5CD075}"/>
              </a:ext>
            </a:extLst>
          </p:cNvPr>
          <p:cNvSpPr txBox="1"/>
          <p:nvPr/>
        </p:nvSpPr>
        <p:spPr>
          <a:xfrm>
            <a:off x="6183440" y="2130351"/>
            <a:ext cx="511337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tx2"/>
                </a:solidFill>
              </a:rPr>
              <a:t>The US BU Commercial Operations team was performing a </a:t>
            </a:r>
            <a:r>
              <a:rPr lang="en-US" sz="1100">
                <a:solidFill>
                  <a:srgbClr val="FF0000"/>
                </a:solidFill>
              </a:rPr>
              <a:t>highly manual process</a:t>
            </a:r>
            <a:r>
              <a:rPr lang="en-US" sz="1100">
                <a:solidFill>
                  <a:schemeClr val="tx2"/>
                </a:solidFill>
              </a:rPr>
              <a:t> in order to compile and share a daily POD Report via </a:t>
            </a:r>
            <a:r>
              <a:rPr lang="en-US" sz="1100" err="1">
                <a:solidFill>
                  <a:schemeClr val="tx2"/>
                </a:solidFill>
              </a:rPr>
              <a:t>Sharepoint</a:t>
            </a:r>
            <a:r>
              <a:rPr lang="en-US" sz="1100">
                <a:solidFill>
                  <a:schemeClr val="tx2"/>
                </a:solidFill>
              </a:rPr>
              <a:t>, highlighting projects requiring proof of delivery. </a:t>
            </a:r>
          </a:p>
          <a:p>
            <a:endParaRPr lang="en-US" sz="1100">
              <a:solidFill>
                <a:schemeClr val="tx2"/>
              </a:solidFill>
            </a:endParaRPr>
          </a:p>
          <a:p>
            <a:r>
              <a:rPr lang="en-US" sz="1100">
                <a:solidFill>
                  <a:schemeClr val="tx2"/>
                </a:solidFill>
              </a:rPr>
              <a:t>After a </a:t>
            </a:r>
            <a:r>
              <a:rPr lang="en-US" sz="1100" b="1">
                <a:solidFill>
                  <a:schemeClr val="accent2"/>
                </a:solidFill>
              </a:rPr>
              <a:t>2-month engagement </a:t>
            </a:r>
            <a:r>
              <a:rPr lang="en-US" sz="1100">
                <a:solidFill>
                  <a:schemeClr val="tx2"/>
                </a:solidFill>
              </a:rPr>
              <a:t>with the ED&amp;A team, the </a:t>
            </a:r>
            <a:r>
              <a:rPr lang="en-US" sz="1100" b="1" u="sng">
                <a:solidFill>
                  <a:schemeClr val="accent2"/>
                </a:solidFill>
              </a:rPr>
              <a:t>report generation and distribution has been fully automated</a:t>
            </a:r>
            <a:r>
              <a:rPr lang="en-US" sz="1100" b="1">
                <a:solidFill>
                  <a:schemeClr val="tx2"/>
                </a:solidFill>
              </a:rPr>
              <a:t>.</a:t>
            </a:r>
            <a:endParaRPr lang="en-US" sz="1100">
              <a:solidFill>
                <a:schemeClr val="accent2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E0BE256-D30B-4006-A430-800E452B4F9B}"/>
              </a:ext>
            </a:extLst>
          </p:cNvPr>
          <p:cNvSpPr txBox="1"/>
          <p:nvPr/>
        </p:nvSpPr>
        <p:spPr>
          <a:xfrm>
            <a:off x="6223185" y="3552745"/>
            <a:ext cx="104371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Manual work avoida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70A39CB-AF79-4B78-B4C9-0362B442072F}"/>
              </a:ext>
            </a:extLst>
          </p:cNvPr>
          <p:cNvSpPr txBox="1"/>
          <p:nvPr/>
        </p:nvSpPr>
        <p:spPr>
          <a:xfrm>
            <a:off x="7382531" y="3518943"/>
            <a:ext cx="11182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Accurate Reporting 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48E800C1-60D5-4507-96B1-997EE484C8B8}"/>
              </a:ext>
            </a:extLst>
          </p:cNvPr>
          <p:cNvSpPr/>
          <p:nvPr/>
        </p:nvSpPr>
        <p:spPr>
          <a:xfrm>
            <a:off x="8652096" y="3495214"/>
            <a:ext cx="2684462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F30005-1E10-48C8-B4AA-31D8C6484F5C}"/>
              </a:ext>
            </a:extLst>
          </p:cNvPr>
          <p:cNvSpPr txBox="1"/>
          <p:nvPr/>
        </p:nvSpPr>
        <p:spPr>
          <a:xfrm>
            <a:off x="8688065" y="3541981"/>
            <a:ext cx="27209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2"/>
                </a:solidFill>
              </a:rPr>
              <a:t>Report shared daily and 2X per day + weekend/holidays during MEC period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29D8EAB-61DA-44E4-8101-331AF0824E77}"/>
              </a:ext>
            </a:extLst>
          </p:cNvPr>
          <p:cNvSpPr/>
          <p:nvPr/>
        </p:nvSpPr>
        <p:spPr>
          <a:xfrm>
            <a:off x="466325" y="4791779"/>
            <a:ext cx="5277906" cy="1466086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16" name="Rectangle: Rounded Corners 28">
            <a:extLst>
              <a:ext uri="{FF2B5EF4-FFF2-40B4-BE49-F238E27FC236}">
                <a16:creationId xmlns:a16="http://schemas.microsoft.com/office/drawing/2014/main" id="{77EF360B-53A1-4241-A2EB-A3D56BFBFD94}"/>
              </a:ext>
            </a:extLst>
          </p:cNvPr>
          <p:cNvSpPr/>
          <p:nvPr/>
        </p:nvSpPr>
        <p:spPr bwMode="auto">
          <a:xfrm>
            <a:off x="1325863" y="4691502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BENEFITS</a:t>
            </a:r>
          </a:p>
        </p:txBody>
      </p:sp>
      <p:sp>
        <p:nvSpPr>
          <p:cNvPr id="117" name="Rectángulo 2">
            <a:extLst>
              <a:ext uri="{FF2B5EF4-FFF2-40B4-BE49-F238E27FC236}">
                <a16:creationId xmlns:a16="http://schemas.microsoft.com/office/drawing/2014/main" id="{2450BD17-656A-4299-AC34-F2F2260281D0}"/>
              </a:ext>
            </a:extLst>
          </p:cNvPr>
          <p:cNvSpPr/>
          <p:nvPr/>
        </p:nvSpPr>
        <p:spPr>
          <a:xfrm>
            <a:off x="550848" y="5150171"/>
            <a:ext cx="23385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35 hours </a:t>
            </a:r>
            <a:r>
              <a:rPr lang="en-US" sz="1100">
                <a:solidFill>
                  <a:schemeClr val="tx2"/>
                </a:solidFill>
                <a:cs typeface="Segoe UI" panose="020B0502040204020203" pitchFamily="34" charset="0"/>
              </a:rPr>
              <a:t>saved per month </a:t>
            </a:r>
            <a:endParaRPr lang="es-ES">
              <a:solidFill>
                <a:schemeClr val="tx2"/>
              </a:solidFill>
            </a:endParaRPr>
          </a:p>
        </p:txBody>
      </p:sp>
      <p:sp>
        <p:nvSpPr>
          <p:cNvPr id="118" name="Rectángulo 2">
            <a:extLst>
              <a:ext uri="{FF2B5EF4-FFF2-40B4-BE49-F238E27FC236}">
                <a16:creationId xmlns:a16="http://schemas.microsoft.com/office/drawing/2014/main" id="{2EEA2CE5-2FDA-4874-BC99-E651463B6471}"/>
              </a:ext>
            </a:extLst>
          </p:cNvPr>
          <p:cNvSpPr/>
          <p:nvPr/>
        </p:nvSpPr>
        <p:spPr>
          <a:xfrm>
            <a:off x="3509366" y="5142726"/>
            <a:ext cx="17043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$14K* </a:t>
            </a:r>
            <a:r>
              <a:rPr lang="en-US" sz="1200">
                <a:solidFill>
                  <a:schemeClr val="tx2"/>
                </a:solidFill>
                <a:cs typeface="Segoe UI" panose="020B0502040204020203" pitchFamily="34" charset="0"/>
              </a:rPr>
              <a:t>yearly savings</a:t>
            </a:r>
            <a:endParaRPr lang="es-ES" sz="1600">
              <a:solidFill>
                <a:schemeClr val="tx2"/>
              </a:solidFill>
            </a:endParaRPr>
          </a:p>
        </p:txBody>
      </p:sp>
      <p:sp>
        <p:nvSpPr>
          <p:cNvPr id="119" name="Arrow: Down 118">
            <a:extLst>
              <a:ext uri="{FF2B5EF4-FFF2-40B4-BE49-F238E27FC236}">
                <a16:creationId xmlns:a16="http://schemas.microsoft.com/office/drawing/2014/main" id="{CCF8BCC5-B32B-4F4D-A5A8-4D9E6E7441B8}"/>
              </a:ext>
            </a:extLst>
          </p:cNvPr>
          <p:cNvSpPr/>
          <p:nvPr/>
        </p:nvSpPr>
        <p:spPr>
          <a:xfrm rot="16200000">
            <a:off x="3039840" y="5002002"/>
            <a:ext cx="249360" cy="59860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120" name="Rectángulo 2">
            <a:extLst>
              <a:ext uri="{FF2B5EF4-FFF2-40B4-BE49-F238E27FC236}">
                <a16:creationId xmlns:a16="http://schemas.microsoft.com/office/drawing/2014/main" id="{04EADD87-D2A2-4C9B-AB9F-28A609B3CD6C}"/>
              </a:ext>
            </a:extLst>
          </p:cNvPr>
          <p:cNvSpPr/>
          <p:nvPr/>
        </p:nvSpPr>
        <p:spPr>
          <a:xfrm>
            <a:off x="550848" y="5621347"/>
            <a:ext cx="22893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Higher POD delivery frequency </a:t>
            </a:r>
            <a:r>
              <a:rPr lang="en-US" sz="1100">
                <a:solidFill>
                  <a:schemeClr val="tx2"/>
                </a:solidFill>
                <a:cs typeface="Segoe UI" panose="020B0502040204020203" pitchFamily="34" charset="0"/>
              </a:rPr>
              <a:t>and availability</a:t>
            </a:r>
            <a:endParaRPr lang="es-ES" sz="1200">
              <a:solidFill>
                <a:schemeClr val="tx2"/>
              </a:solidFill>
            </a:endParaRPr>
          </a:p>
        </p:txBody>
      </p:sp>
      <p:sp>
        <p:nvSpPr>
          <p:cNvPr id="124" name="Rectángulo 2">
            <a:extLst>
              <a:ext uri="{FF2B5EF4-FFF2-40B4-BE49-F238E27FC236}">
                <a16:creationId xmlns:a16="http://schemas.microsoft.com/office/drawing/2014/main" id="{B5F0A8F3-376E-4155-A743-00D43BBE51AC}"/>
              </a:ext>
            </a:extLst>
          </p:cNvPr>
          <p:cNvSpPr/>
          <p:nvPr/>
        </p:nvSpPr>
        <p:spPr>
          <a:xfrm>
            <a:off x="3509367" y="5561759"/>
            <a:ext cx="222353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cs typeface="Segoe UI" panose="020B0502040204020203" pitchFamily="34" charset="0"/>
              </a:rPr>
              <a:t>Business to track POD </a:t>
            </a:r>
            <a:r>
              <a:rPr lang="en-US" sz="11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timely and effectively</a:t>
            </a:r>
            <a:r>
              <a:rPr lang="en-US" sz="110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100">
                <a:solidFill>
                  <a:schemeClr val="tx2"/>
                </a:solidFill>
                <a:cs typeface="Segoe UI" panose="020B0502040204020203" pitchFamily="34" charset="0"/>
              </a:rPr>
              <a:t>+ accelerate </a:t>
            </a:r>
            <a:r>
              <a:rPr lang="en-US" sz="1100" b="1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</a:rPr>
              <a:t>revenue recognition </a:t>
            </a:r>
          </a:p>
        </p:txBody>
      </p:sp>
      <p:sp>
        <p:nvSpPr>
          <p:cNvPr id="52" name="Rectangle: Rounded Corners 28">
            <a:extLst>
              <a:ext uri="{FF2B5EF4-FFF2-40B4-BE49-F238E27FC236}">
                <a16:creationId xmlns:a16="http://schemas.microsoft.com/office/drawing/2014/main" id="{E59B06E0-AB3F-473F-8E67-BD21EEC083E3}"/>
              </a:ext>
            </a:extLst>
          </p:cNvPr>
          <p:cNvSpPr/>
          <p:nvPr/>
        </p:nvSpPr>
        <p:spPr bwMode="auto">
          <a:xfrm>
            <a:off x="6977548" y="4691502"/>
            <a:ext cx="3723116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KEY METRIC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D250473-4CF8-41BF-B2EC-8100E9BED813}"/>
              </a:ext>
            </a:extLst>
          </p:cNvPr>
          <p:cNvSpPr/>
          <p:nvPr/>
        </p:nvSpPr>
        <p:spPr>
          <a:xfrm>
            <a:off x="9146247" y="5409411"/>
            <a:ext cx="1808551" cy="78683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>
              <a:highlight>
                <a:srgbClr val="000080"/>
              </a:highlight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EA648C0-4875-4956-8534-FC7F02BFFBC0}"/>
              </a:ext>
            </a:extLst>
          </p:cNvPr>
          <p:cNvSpPr/>
          <p:nvPr/>
        </p:nvSpPr>
        <p:spPr>
          <a:xfrm>
            <a:off x="9047936" y="5339304"/>
            <a:ext cx="1820819" cy="774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CE07229-CC37-43B5-8DF8-0C3D6788F3EC}"/>
              </a:ext>
            </a:extLst>
          </p:cNvPr>
          <p:cNvSpPr txBox="1"/>
          <p:nvPr/>
        </p:nvSpPr>
        <p:spPr>
          <a:xfrm>
            <a:off x="9097091" y="5367936"/>
            <a:ext cx="17225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</a:rPr>
              <a:t>300+ users receiving daily email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D48E9B8-6724-4AB5-B41F-56858CE4B912}"/>
              </a:ext>
            </a:extLst>
          </p:cNvPr>
          <p:cNvSpPr/>
          <p:nvPr/>
        </p:nvSpPr>
        <p:spPr>
          <a:xfrm>
            <a:off x="2464238" y="96392"/>
            <a:ext cx="7929610" cy="790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en-US" sz="2400"/>
              <a:t>USBU Proof of Delivery (“POD”) Reporting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FDD1A70-B2EF-4FF7-B254-3B005A48C7EA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>
              <a:lnSpc>
                <a:spcPct val="100000"/>
              </a:lnSpc>
            </a:pPr>
            <a:r>
              <a:rPr lang="es-ES" sz="2400"/>
              <a:t>ED&amp;A 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FD850A8-4EFA-45FF-998F-6B591FE74262}"/>
              </a:ext>
            </a:extLst>
          </p:cNvPr>
          <p:cNvSpPr txBox="1"/>
          <p:nvPr/>
        </p:nvSpPr>
        <p:spPr>
          <a:xfrm>
            <a:off x="963105" y="2044400"/>
            <a:ext cx="1981896" cy="71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2"/>
                </a:solidFill>
              </a:rPr>
              <a:t>US BU Comm. Ops</a:t>
            </a:r>
          </a:p>
          <a:p>
            <a:pPr>
              <a:lnSpc>
                <a:spcPct val="150000"/>
              </a:lnSpc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Key Sponsor: 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Joey Mattisson, Director, Sales Operation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10A14A4-F6CB-45DE-B6E1-A3DA7E36F837}"/>
              </a:ext>
            </a:extLst>
          </p:cNvPr>
          <p:cNvSpPr/>
          <p:nvPr/>
        </p:nvSpPr>
        <p:spPr>
          <a:xfrm>
            <a:off x="529553" y="1835110"/>
            <a:ext cx="2476095" cy="101021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00" name="Rectangle: Rounded Corners 28">
            <a:extLst>
              <a:ext uri="{FF2B5EF4-FFF2-40B4-BE49-F238E27FC236}">
                <a16:creationId xmlns:a16="http://schemas.microsoft.com/office/drawing/2014/main" id="{5092F700-CF47-48CD-96B9-E8BBC27D95BA}"/>
              </a:ext>
            </a:extLst>
          </p:cNvPr>
          <p:cNvSpPr/>
          <p:nvPr/>
        </p:nvSpPr>
        <p:spPr bwMode="auto">
          <a:xfrm>
            <a:off x="1102393" y="1736627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TEAM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0A2EAC0-10DD-4C33-9401-33636E60C0F1}"/>
              </a:ext>
            </a:extLst>
          </p:cNvPr>
          <p:cNvGrpSpPr/>
          <p:nvPr/>
        </p:nvGrpSpPr>
        <p:grpSpPr>
          <a:xfrm>
            <a:off x="355304" y="1942882"/>
            <a:ext cx="516734" cy="848788"/>
            <a:chOff x="423269" y="3504204"/>
            <a:chExt cx="1310876" cy="2478694"/>
          </a:xfrm>
        </p:grpSpPr>
        <p:sp>
          <p:nvSpPr>
            <p:cNvPr id="102" name="Freeform 3">
              <a:extLst>
                <a:ext uri="{FF2B5EF4-FFF2-40B4-BE49-F238E27FC236}">
                  <a16:creationId xmlns:a16="http://schemas.microsoft.com/office/drawing/2014/main" id="{60B3D97A-8D2B-4066-B50B-1E5ED83F3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269" y="3504204"/>
              <a:ext cx="538068" cy="2161714"/>
            </a:xfrm>
            <a:custGeom>
              <a:avLst/>
              <a:gdLst>
                <a:gd name="T0" fmla="*/ 280 w 287"/>
                <a:gd name="T1" fmla="*/ 271 h 1160"/>
                <a:gd name="T2" fmla="*/ 247 w 287"/>
                <a:gd name="T3" fmla="*/ 188 h 1160"/>
                <a:gd name="T4" fmla="*/ 213 w 287"/>
                <a:gd name="T5" fmla="*/ 135 h 1160"/>
                <a:gd name="T6" fmla="*/ 181 w 287"/>
                <a:gd name="T7" fmla="*/ 23 h 1160"/>
                <a:gd name="T8" fmla="*/ 82 w 287"/>
                <a:gd name="T9" fmla="*/ 57 h 1160"/>
                <a:gd name="T10" fmla="*/ 76 w 287"/>
                <a:gd name="T11" fmla="*/ 189 h 1160"/>
                <a:gd name="T12" fmla="*/ 40 w 287"/>
                <a:gd name="T13" fmla="*/ 237 h 1160"/>
                <a:gd name="T14" fmla="*/ 4 w 287"/>
                <a:gd name="T15" fmla="*/ 366 h 1160"/>
                <a:gd name="T16" fmla="*/ 7 w 287"/>
                <a:gd name="T17" fmla="*/ 412 h 1160"/>
                <a:gd name="T18" fmla="*/ 40 w 287"/>
                <a:gd name="T19" fmla="*/ 467 h 1160"/>
                <a:gd name="T20" fmla="*/ 35 w 287"/>
                <a:gd name="T21" fmla="*/ 546 h 1160"/>
                <a:gd name="T22" fmla="*/ 27 w 287"/>
                <a:gd name="T23" fmla="*/ 759 h 1160"/>
                <a:gd name="T24" fmla="*/ 47 w 287"/>
                <a:gd name="T25" fmla="*/ 843 h 1160"/>
                <a:gd name="T26" fmla="*/ 75 w 287"/>
                <a:gd name="T27" fmla="*/ 1036 h 1160"/>
                <a:gd name="T28" fmla="*/ 44 w 287"/>
                <a:gd name="T29" fmla="*/ 1127 h 1160"/>
                <a:gd name="T30" fmla="*/ 70 w 287"/>
                <a:gd name="T31" fmla="*/ 1155 h 1160"/>
                <a:gd name="T32" fmla="*/ 108 w 287"/>
                <a:gd name="T33" fmla="*/ 1107 h 1160"/>
                <a:gd name="T34" fmla="*/ 107 w 287"/>
                <a:gd name="T35" fmla="*/ 1141 h 1160"/>
                <a:gd name="T36" fmla="*/ 119 w 287"/>
                <a:gd name="T37" fmla="*/ 1132 h 1160"/>
                <a:gd name="T38" fmla="*/ 117 w 287"/>
                <a:gd name="T39" fmla="*/ 1050 h 1160"/>
                <a:gd name="T40" fmla="*/ 115 w 287"/>
                <a:gd name="T41" fmla="*/ 885 h 1160"/>
                <a:gd name="T42" fmla="*/ 167 w 287"/>
                <a:gd name="T43" fmla="*/ 851 h 1160"/>
                <a:gd name="T44" fmla="*/ 169 w 287"/>
                <a:gd name="T45" fmla="*/ 977 h 1160"/>
                <a:gd name="T46" fmla="*/ 154 w 287"/>
                <a:gd name="T47" fmla="*/ 1096 h 1160"/>
                <a:gd name="T48" fmla="*/ 148 w 287"/>
                <a:gd name="T49" fmla="*/ 1159 h 1160"/>
                <a:gd name="T50" fmla="*/ 205 w 287"/>
                <a:gd name="T51" fmla="*/ 1104 h 1160"/>
                <a:gd name="T52" fmla="*/ 202 w 287"/>
                <a:gd name="T53" fmla="*/ 1043 h 1160"/>
                <a:gd name="T54" fmla="*/ 234 w 287"/>
                <a:gd name="T55" fmla="*/ 852 h 1160"/>
                <a:gd name="T56" fmla="*/ 251 w 287"/>
                <a:gd name="T57" fmla="*/ 721 h 1160"/>
                <a:gd name="T58" fmla="*/ 265 w 287"/>
                <a:gd name="T59" fmla="*/ 535 h 1160"/>
                <a:gd name="T60" fmla="*/ 258 w 287"/>
                <a:gd name="T61" fmla="*/ 449 h 1160"/>
                <a:gd name="T62" fmla="*/ 244 w 287"/>
                <a:gd name="T63" fmla="*/ 388 h 1160"/>
                <a:gd name="T64" fmla="*/ 102 w 287"/>
                <a:gd name="T65" fmla="*/ 452 h 1160"/>
                <a:gd name="T66" fmla="*/ 114 w 287"/>
                <a:gd name="T67" fmla="*/ 452 h 1160"/>
                <a:gd name="T68" fmla="*/ 168 w 287"/>
                <a:gd name="T69" fmla="*/ 213 h 1160"/>
                <a:gd name="T70" fmla="*/ 117 w 287"/>
                <a:gd name="T71" fmla="*/ 344 h 1160"/>
                <a:gd name="T72" fmla="*/ 114 w 287"/>
                <a:gd name="T73" fmla="*/ 257 h 1160"/>
                <a:gd name="T74" fmla="*/ 102 w 287"/>
                <a:gd name="T75" fmla="*/ 205 h 1160"/>
                <a:gd name="T76" fmla="*/ 134 w 287"/>
                <a:gd name="T77" fmla="*/ 223 h 1160"/>
                <a:gd name="T78" fmla="*/ 152 w 287"/>
                <a:gd name="T79" fmla="*/ 222 h 1160"/>
                <a:gd name="T80" fmla="*/ 159 w 287"/>
                <a:gd name="T81" fmla="*/ 184 h 1160"/>
                <a:gd name="T82" fmla="*/ 189 w 287"/>
                <a:gd name="T83" fmla="*/ 176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1160">
                  <a:moveTo>
                    <a:pt x="257" y="366"/>
                  </a:moveTo>
                  <a:cubicBezTo>
                    <a:pt x="258" y="353"/>
                    <a:pt x="279" y="285"/>
                    <a:pt x="280" y="271"/>
                  </a:cubicBezTo>
                  <a:cubicBezTo>
                    <a:pt x="281" y="257"/>
                    <a:pt x="287" y="214"/>
                    <a:pt x="282" y="199"/>
                  </a:cubicBezTo>
                  <a:cubicBezTo>
                    <a:pt x="277" y="183"/>
                    <a:pt x="247" y="188"/>
                    <a:pt x="247" y="188"/>
                  </a:cubicBezTo>
                  <a:cubicBezTo>
                    <a:pt x="247" y="188"/>
                    <a:pt x="240" y="172"/>
                    <a:pt x="226" y="168"/>
                  </a:cubicBezTo>
                  <a:cubicBezTo>
                    <a:pt x="211" y="164"/>
                    <a:pt x="229" y="145"/>
                    <a:pt x="213" y="135"/>
                  </a:cubicBezTo>
                  <a:cubicBezTo>
                    <a:pt x="203" y="128"/>
                    <a:pt x="206" y="92"/>
                    <a:pt x="202" y="78"/>
                  </a:cubicBezTo>
                  <a:cubicBezTo>
                    <a:pt x="199" y="64"/>
                    <a:pt x="190" y="35"/>
                    <a:pt x="181" y="23"/>
                  </a:cubicBezTo>
                  <a:cubicBezTo>
                    <a:pt x="171" y="10"/>
                    <a:pt x="152" y="17"/>
                    <a:pt x="152" y="17"/>
                  </a:cubicBezTo>
                  <a:cubicBezTo>
                    <a:pt x="108" y="0"/>
                    <a:pt x="86" y="37"/>
                    <a:pt x="82" y="57"/>
                  </a:cubicBezTo>
                  <a:cubicBezTo>
                    <a:pt x="79" y="77"/>
                    <a:pt x="89" y="114"/>
                    <a:pt x="77" y="140"/>
                  </a:cubicBezTo>
                  <a:cubicBezTo>
                    <a:pt x="66" y="165"/>
                    <a:pt x="91" y="174"/>
                    <a:pt x="76" y="189"/>
                  </a:cubicBezTo>
                  <a:cubicBezTo>
                    <a:pt x="60" y="203"/>
                    <a:pt x="74" y="208"/>
                    <a:pt x="59" y="215"/>
                  </a:cubicBezTo>
                  <a:cubicBezTo>
                    <a:pt x="45" y="221"/>
                    <a:pt x="40" y="224"/>
                    <a:pt x="40" y="237"/>
                  </a:cubicBezTo>
                  <a:cubicBezTo>
                    <a:pt x="40" y="250"/>
                    <a:pt x="28" y="284"/>
                    <a:pt x="22" y="314"/>
                  </a:cubicBezTo>
                  <a:cubicBezTo>
                    <a:pt x="15" y="344"/>
                    <a:pt x="8" y="355"/>
                    <a:pt x="4" y="366"/>
                  </a:cubicBezTo>
                  <a:cubicBezTo>
                    <a:pt x="0" y="378"/>
                    <a:pt x="2" y="382"/>
                    <a:pt x="4" y="388"/>
                  </a:cubicBezTo>
                  <a:cubicBezTo>
                    <a:pt x="6" y="393"/>
                    <a:pt x="7" y="394"/>
                    <a:pt x="7" y="412"/>
                  </a:cubicBezTo>
                  <a:cubicBezTo>
                    <a:pt x="7" y="431"/>
                    <a:pt x="38" y="434"/>
                    <a:pt x="38" y="434"/>
                  </a:cubicBezTo>
                  <a:cubicBezTo>
                    <a:pt x="38" y="434"/>
                    <a:pt x="40" y="451"/>
                    <a:pt x="40" y="467"/>
                  </a:cubicBezTo>
                  <a:cubicBezTo>
                    <a:pt x="40" y="482"/>
                    <a:pt x="30" y="526"/>
                    <a:pt x="28" y="538"/>
                  </a:cubicBezTo>
                  <a:cubicBezTo>
                    <a:pt x="26" y="550"/>
                    <a:pt x="35" y="546"/>
                    <a:pt x="35" y="546"/>
                  </a:cubicBezTo>
                  <a:cubicBezTo>
                    <a:pt x="35" y="546"/>
                    <a:pt x="35" y="559"/>
                    <a:pt x="33" y="578"/>
                  </a:cubicBezTo>
                  <a:cubicBezTo>
                    <a:pt x="30" y="597"/>
                    <a:pt x="27" y="724"/>
                    <a:pt x="27" y="759"/>
                  </a:cubicBezTo>
                  <a:cubicBezTo>
                    <a:pt x="27" y="794"/>
                    <a:pt x="23" y="842"/>
                    <a:pt x="27" y="842"/>
                  </a:cubicBezTo>
                  <a:cubicBezTo>
                    <a:pt x="32" y="842"/>
                    <a:pt x="47" y="843"/>
                    <a:pt x="47" y="843"/>
                  </a:cubicBezTo>
                  <a:cubicBezTo>
                    <a:pt x="47" y="843"/>
                    <a:pt x="45" y="866"/>
                    <a:pt x="46" y="895"/>
                  </a:cubicBezTo>
                  <a:cubicBezTo>
                    <a:pt x="47" y="923"/>
                    <a:pt x="70" y="1014"/>
                    <a:pt x="75" y="1036"/>
                  </a:cubicBezTo>
                  <a:cubicBezTo>
                    <a:pt x="79" y="1059"/>
                    <a:pt x="78" y="1079"/>
                    <a:pt x="70" y="1091"/>
                  </a:cubicBezTo>
                  <a:cubicBezTo>
                    <a:pt x="63" y="1103"/>
                    <a:pt x="57" y="1118"/>
                    <a:pt x="44" y="1127"/>
                  </a:cubicBezTo>
                  <a:cubicBezTo>
                    <a:pt x="31" y="1137"/>
                    <a:pt x="26" y="1141"/>
                    <a:pt x="28" y="1150"/>
                  </a:cubicBezTo>
                  <a:cubicBezTo>
                    <a:pt x="30" y="1158"/>
                    <a:pt x="46" y="1156"/>
                    <a:pt x="70" y="1155"/>
                  </a:cubicBezTo>
                  <a:cubicBezTo>
                    <a:pt x="94" y="1154"/>
                    <a:pt x="91" y="1139"/>
                    <a:pt x="94" y="1132"/>
                  </a:cubicBezTo>
                  <a:cubicBezTo>
                    <a:pt x="97" y="1125"/>
                    <a:pt x="108" y="1107"/>
                    <a:pt x="108" y="1107"/>
                  </a:cubicBezTo>
                  <a:cubicBezTo>
                    <a:pt x="108" y="1107"/>
                    <a:pt x="111" y="1110"/>
                    <a:pt x="111" y="1118"/>
                  </a:cubicBezTo>
                  <a:cubicBezTo>
                    <a:pt x="111" y="1127"/>
                    <a:pt x="107" y="1141"/>
                    <a:pt x="107" y="1141"/>
                  </a:cubicBezTo>
                  <a:cubicBezTo>
                    <a:pt x="117" y="1141"/>
                    <a:pt x="117" y="1141"/>
                    <a:pt x="117" y="1141"/>
                  </a:cubicBezTo>
                  <a:cubicBezTo>
                    <a:pt x="117" y="1141"/>
                    <a:pt x="120" y="1140"/>
                    <a:pt x="119" y="1132"/>
                  </a:cubicBezTo>
                  <a:cubicBezTo>
                    <a:pt x="118" y="1124"/>
                    <a:pt x="123" y="1106"/>
                    <a:pt x="127" y="1091"/>
                  </a:cubicBezTo>
                  <a:cubicBezTo>
                    <a:pt x="132" y="1075"/>
                    <a:pt x="123" y="1057"/>
                    <a:pt x="117" y="1050"/>
                  </a:cubicBezTo>
                  <a:cubicBezTo>
                    <a:pt x="112" y="1044"/>
                    <a:pt x="114" y="1009"/>
                    <a:pt x="115" y="974"/>
                  </a:cubicBezTo>
                  <a:cubicBezTo>
                    <a:pt x="117" y="939"/>
                    <a:pt x="119" y="901"/>
                    <a:pt x="115" y="885"/>
                  </a:cubicBezTo>
                  <a:cubicBezTo>
                    <a:pt x="112" y="868"/>
                    <a:pt x="107" y="846"/>
                    <a:pt x="107" y="846"/>
                  </a:cubicBezTo>
                  <a:cubicBezTo>
                    <a:pt x="167" y="851"/>
                    <a:pt x="167" y="851"/>
                    <a:pt x="167" y="851"/>
                  </a:cubicBezTo>
                  <a:cubicBezTo>
                    <a:pt x="167" y="851"/>
                    <a:pt x="169" y="863"/>
                    <a:pt x="169" y="889"/>
                  </a:cubicBezTo>
                  <a:cubicBezTo>
                    <a:pt x="169" y="916"/>
                    <a:pt x="169" y="934"/>
                    <a:pt x="169" y="977"/>
                  </a:cubicBezTo>
                  <a:cubicBezTo>
                    <a:pt x="169" y="1019"/>
                    <a:pt x="165" y="1035"/>
                    <a:pt x="160" y="1051"/>
                  </a:cubicBezTo>
                  <a:cubicBezTo>
                    <a:pt x="156" y="1068"/>
                    <a:pt x="159" y="1080"/>
                    <a:pt x="154" y="1096"/>
                  </a:cubicBezTo>
                  <a:cubicBezTo>
                    <a:pt x="149" y="1113"/>
                    <a:pt x="140" y="1125"/>
                    <a:pt x="135" y="1134"/>
                  </a:cubicBezTo>
                  <a:cubicBezTo>
                    <a:pt x="129" y="1143"/>
                    <a:pt x="127" y="1158"/>
                    <a:pt x="148" y="1159"/>
                  </a:cubicBezTo>
                  <a:cubicBezTo>
                    <a:pt x="170" y="1160"/>
                    <a:pt x="196" y="1150"/>
                    <a:pt x="196" y="1140"/>
                  </a:cubicBezTo>
                  <a:cubicBezTo>
                    <a:pt x="196" y="1131"/>
                    <a:pt x="198" y="1119"/>
                    <a:pt x="205" y="1104"/>
                  </a:cubicBezTo>
                  <a:cubicBezTo>
                    <a:pt x="213" y="1088"/>
                    <a:pt x="206" y="1075"/>
                    <a:pt x="204" y="1069"/>
                  </a:cubicBezTo>
                  <a:cubicBezTo>
                    <a:pt x="201" y="1062"/>
                    <a:pt x="202" y="1055"/>
                    <a:pt x="202" y="1043"/>
                  </a:cubicBezTo>
                  <a:cubicBezTo>
                    <a:pt x="202" y="1031"/>
                    <a:pt x="213" y="991"/>
                    <a:pt x="225" y="947"/>
                  </a:cubicBezTo>
                  <a:cubicBezTo>
                    <a:pt x="237" y="903"/>
                    <a:pt x="234" y="852"/>
                    <a:pt x="234" y="852"/>
                  </a:cubicBezTo>
                  <a:cubicBezTo>
                    <a:pt x="243" y="852"/>
                    <a:pt x="243" y="852"/>
                    <a:pt x="243" y="852"/>
                  </a:cubicBezTo>
                  <a:cubicBezTo>
                    <a:pt x="243" y="852"/>
                    <a:pt x="244" y="787"/>
                    <a:pt x="251" y="721"/>
                  </a:cubicBezTo>
                  <a:cubicBezTo>
                    <a:pt x="258" y="654"/>
                    <a:pt x="248" y="585"/>
                    <a:pt x="248" y="566"/>
                  </a:cubicBezTo>
                  <a:cubicBezTo>
                    <a:pt x="248" y="547"/>
                    <a:pt x="255" y="539"/>
                    <a:pt x="265" y="535"/>
                  </a:cubicBezTo>
                  <a:cubicBezTo>
                    <a:pt x="276" y="530"/>
                    <a:pt x="277" y="528"/>
                    <a:pt x="272" y="510"/>
                  </a:cubicBezTo>
                  <a:cubicBezTo>
                    <a:pt x="266" y="492"/>
                    <a:pt x="258" y="449"/>
                    <a:pt x="258" y="449"/>
                  </a:cubicBezTo>
                  <a:cubicBezTo>
                    <a:pt x="258" y="449"/>
                    <a:pt x="257" y="443"/>
                    <a:pt x="251" y="424"/>
                  </a:cubicBezTo>
                  <a:cubicBezTo>
                    <a:pt x="244" y="406"/>
                    <a:pt x="244" y="388"/>
                    <a:pt x="244" y="388"/>
                  </a:cubicBezTo>
                  <a:cubicBezTo>
                    <a:pt x="244" y="388"/>
                    <a:pt x="256" y="378"/>
                    <a:pt x="257" y="366"/>
                  </a:cubicBezTo>
                  <a:close/>
                  <a:moveTo>
                    <a:pt x="102" y="452"/>
                  </a:moveTo>
                  <a:cubicBezTo>
                    <a:pt x="110" y="434"/>
                    <a:pt x="110" y="434"/>
                    <a:pt x="110" y="434"/>
                  </a:cubicBezTo>
                  <a:cubicBezTo>
                    <a:pt x="114" y="452"/>
                    <a:pt x="114" y="452"/>
                    <a:pt x="114" y="452"/>
                  </a:cubicBezTo>
                  <a:lnTo>
                    <a:pt x="102" y="452"/>
                  </a:lnTo>
                  <a:close/>
                  <a:moveTo>
                    <a:pt x="168" y="213"/>
                  </a:moveTo>
                  <a:cubicBezTo>
                    <a:pt x="158" y="230"/>
                    <a:pt x="141" y="260"/>
                    <a:pt x="135" y="285"/>
                  </a:cubicBezTo>
                  <a:cubicBezTo>
                    <a:pt x="128" y="309"/>
                    <a:pt x="117" y="344"/>
                    <a:pt x="117" y="344"/>
                  </a:cubicBezTo>
                  <a:cubicBezTo>
                    <a:pt x="117" y="344"/>
                    <a:pt x="116" y="338"/>
                    <a:pt x="115" y="329"/>
                  </a:cubicBezTo>
                  <a:cubicBezTo>
                    <a:pt x="114" y="320"/>
                    <a:pt x="114" y="277"/>
                    <a:pt x="114" y="257"/>
                  </a:cubicBezTo>
                  <a:cubicBezTo>
                    <a:pt x="114" y="237"/>
                    <a:pt x="115" y="220"/>
                    <a:pt x="112" y="219"/>
                  </a:cubicBezTo>
                  <a:cubicBezTo>
                    <a:pt x="108" y="217"/>
                    <a:pt x="102" y="205"/>
                    <a:pt x="102" y="205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17" y="218"/>
                    <a:pt x="129" y="210"/>
                    <a:pt x="134" y="223"/>
                  </a:cubicBezTo>
                  <a:cubicBezTo>
                    <a:pt x="138" y="236"/>
                    <a:pt x="133" y="269"/>
                    <a:pt x="136" y="253"/>
                  </a:cubicBezTo>
                  <a:cubicBezTo>
                    <a:pt x="138" y="238"/>
                    <a:pt x="146" y="237"/>
                    <a:pt x="152" y="222"/>
                  </a:cubicBezTo>
                  <a:cubicBezTo>
                    <a:pt x="159" y="207"/>
                    <a:pt x="139" y="196"/>
                    <a:pt x="139" y="196"/>
                  </a:cubicBezTo>
                  <a:cubicBezTo>
                    <a:pt x="139" y="196"/>
                    <a:pt x="150" y="192"/>
                    <a:pt x="159" y="184"/>
                  </a:cubicBezTo>
                  <a:cubicBezTo>
                    <a:pt x="169" y="175"/>
                    <a:pt x="182" y="164"/>
                    <a:pt x="182" y="164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89" y="176"/>
                    <a:pt x="178" y="196"/>
                    <a:pt x="168" y="21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  <p:sp>
          <p:nvSpPr>
            <p:cNvPr id="103" name="Freeform 4">
              <a:extLst>
                <a:ext uri="{FF2B5EF4-FFF2-40B4-BE49-F238E27FC236}">
                  <a16:creationId xmlns:a16="http://schemas.microsoft.com/office/drawing/2014/main" id="{6EAEE653-EDA3-463F-B3F4-7CDF013403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360" y="3692194"/>
              <a:ext cx="734785" cy="2290704"/>
            </a:xfrm>
            <a:custGeom>
              <a:avLst/>
              <a:gdLst>
                <a:gd name="T0" fmla="*/ 379 w 386"/>
                <a:gd name="T1" fmla="*/ 464 h 1210"/>
                <a:gd name="T2" fmla="*/ 364 w 386"/>
                <a:gd name="T3" fmla="*/ 267 h 1210"/>
                <a:gd name="T4" fmla="*/ 269 w 386"/>
                <a:gd name="T5" fmla="*/ 191 h 1210"/>
                <a:gd name="T6" fmla="*/ 251 w 386"/>
                <a:gd name="T7" fmla="*/ 145 h 1210"/>
                <a:gd name="T8" fmla="*/ 266 w 386"/>
                <a:gd name="T9" fmla="*/ 116 h 1210"/>
                <a:gd name="T10" fmla="*/ 263 w 386"/>
                <a:gd name="T11" fmla="*/ 82 h 1210"/>
                <a:gd name="T12" fmla="*/ 205 w 386"/>
                <a:gd name="T13" fmla="*/ 0 h 1210"/>
                <a:gd name="T14" fmla="*/ 155 w 386"/>
                <a:gd name="T15" fmla="*/ 90 h 1210"/>
                <a:gd name="T16" fmla="*/ 174 w 386"/>
                <a:gd name="T17" fmla="*/ 126 h 1210"/>
                <a:gd name="T18" fmla="*/ 176 w 386"/>
                <a:gd name="T19" fmla="*/ 167 h 1210"/>
                <a:gd name="T20" fmla="*/ 177 w 386"/>
                <a:gd name="T21" fmla="*/ 167 h 1210"/>
                <a:gd name="T22" fmla="*/ 156 w 386"/>
                <a:gd name="T23" fmla="*/ 186 h 1210"/>
                <a:gd name="T24" fmla="*/ 99 w 386"/>
                <a:gd name="T25" fmla="*/ 207 h 1210"/>
                <a:gd name="T26" fmla="*/ 57 w 386"/>
                <a:gd name="T27" fmla="*/ 370 h 1210"/>
                <a:gd name="T28" fmla="*/ 38 w 386"/>
                <a:gd name="T29" fmla="*/ 604 h 1210"/>
                <a:gd name="T30" fmla="*/ 68 w 386"/>
                <a:gd name="T31" fmla="*/ 598 h 1210"/>
                <a:gd name="T32" fmla="*/ 68 w 386"/>
                <a:gd name="T33" fmla="*/ 607 h 1210"/>
                <a:gd name="T34" fmla="*/ 41 w 386"/>
                <a:gd name="T35" fmla="*/ 619 h 1210"/>
                <a:gd name="T36" fmla="*/ 47 w 386"/>
                <a:gd name="T37" fmla="*/ 662 h 1210"/>
                <a:gd name="T38" fmla="*/ 3 w 386"/>
                <a:gd name="T39" fmla="*/ 849 h 1210"/>
                <a:gd name="T40" fmla="*/ 99 w 386"/>
                <a:gd name="T41" fmla="*/ 898 h 1210"/>
                <a:gd name="T42" fmla="*/ 118 w 386"/>
                <a:gd name="T43" fmla="*/ 899 h 1210"/>
                <a:gd name="T44" fmla="*/ 127 w 386"/>
                <a:gd name="T45" fmla="*/ 1051 h 1210"/>
                <a:gd name="T46" fmla="*/ 118 w 386"/>
                <a:gd name="T47" fmla="*/ 1153 h 1210"/>
                <a:gd name="T48" fmla="*/ 181 w 386"/>
                <a:gd name="T49" fmla="*/ 1159 h 1210"/>
                <a:gd name="T50" fmla="*/ 194 w 386"/>
                <a:gd name="T51" fmla="*/ 1084 h 1210"/>
                <a:gd name="T52" fmla="*/ 192 w 386"/>
                <a:gd name="T53" fmla="*/ 968 h 1210"/>
                <a:gd name="T54" fmla="*/ 222 w 386"/>
                <a:gd name="T55" fmla="*/ 712 h 1210"/>
                <a:gd name="T56" fmla="*/ 252 w 386"/>
                <a:gd name="T57" fmla="*/ 767 h 1210"/>
                <a:gd name="T58" fmla="*/ 285 w 386"/>
                <a:gd name="T59" fmla="*/ 1024 h 1210"/>
                <a:gd name="T60" fmla="*/ 277 w 386"/>
                <a:gd name="T61" fmla="*/ 1067 h 1210"/>
                <a:gd name="T62" fmla="*/ 298 w 386"/>
                <a:gd name="T63" fmla="*/ 1146 h 1210"/>
                <a:gd name="T64" fmla="*/ 355 w 386"/>
                <a:gd name="T65" fmla="*/ 1205 h 1210"/>
                <a:gd name="T66" fmla="*/ 347 w 386"/>
                <a:gd name="T67" fmla="*/ 1105 h 1210"/>
                <a:gd name="T68" fmla="*/ 351 w 386"/>
                <a:gd name="T69" fmla="*/ 1046 h 1210"/>
                <a:gd name="T70" fmla="*/ 356 w 386"/>
                <a:gd name="T71" fmla="*/ 829 h 1210"/>
                <a:gd name="T72" fmla="*/ 354 w 386"/>
                <a:gd name="T73" fmla="*/ 603 h 1210"/>
                <a:gd name="T74" fmla="*/ 367 w 386"/>
                <a:gd name="T75" fmla="*/ 565 h 1210"/>
                <a:gd name="T76" fmla="*/ 109 w 386"/>
                <a:gd name="T77" fmla="*/ 669 h 1210"/>
                <a:gd name="T78" fmla="*/ 91 w 386"/>
                <a:gd name="T79" fmla="*/ 666 h 1210"/>
                <a:gd name="T80" fmla="*/ 90 w 386"/>
                <a:gd name="T81" fmla="*/ 617 h 1210"/>
                <a:gd name="T82" fmla="*/ 101 w 386"/>
                <a:gd name="T83" fmla="*/ 628 h 1210"/>
                <a:gd name="T84" fmla="*/ 108 w 386"/>
                <a:gd name="T85" fmla="*/ 649 h 1210"/>
                <a:gd name="T86" fmla="*/ 223 w 386"/>
                <a:gd name="T87" fmla="*/ 505 h 1210"/>
                <a:gd name="T88" fmla="*/ 221 w 386"/>
                <a:gd name="T89" fmla="*/ 232 h 1210"/>
                <a:gd name="T90" fmla="*/ 215 w 386"/>
                <a:gd name="T91" fmla="*/ 208 h 1210"/>
                <a:gd name="T92" fmla="*/ 205 w 386"/>
                <a:gd name="T93" fmla="*/ 231 h 1210"/>
                <a:gd name="T94" fmla="*/ 199 w 386"/>
                <a:gd name="T95" fmla="*/ 505 h 1210"/>
                <a:gd name="T96" fmla="*/ 190 w 386"/>
                <a:gd name="T97" fmla="*/ 325 h 1210"/>
                <a:gd name="T98" fmla="*/ 173 w 386"/>
                <a:gd name="T99" fmla="*/ 188 h 1210"/>
                <a:gd name="T100" fmla="*/ 182 w 386"/>
                <a:gd name="T101" fmla="*/ 176 h 1210"/>
                <a:gd name="T102" fmla="*/ 248 w 386"/>
                <a:gd name="T103" fmla="*/ 179 h 1210"/>
                <a:gd name="T104" fmla="*/ 259 w 386"/>
                <a:gd name="T105" fmla="*/ 196 h 1210"/>
                <a:gd name="T106" fmla="*/ 258 w 386"/>
                <a:gd name="T107" fmla="*/ 201 h 1210"/>
                <a:gd name="T108" fmla="*/ 260 w 386"/>
                <a:gd name="T109" fmla="*/ 256 h 1210"/>
                <a:gd name="T110" fmla="*/ 301 w 386"/>
                <a:gd name="T111" fmla="*/ 488 h 1210"/>
                <a:gd name="T112" fmla="*/ 360 w 386"/>
                <a:gd name="T113" fmla="*/ 585 h 1210"/>
                <a:gd name="T114" fmla="*/ 328 w 386"/>
                <a:gd name="T115" fmla="*/ 554 h 1210"/>
                <a:gd name="T116" fmla="*/ 360 w 386"/>
                <a:gd name="T117" fmla="*/ 585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1210">
                  <a:moveTo>
                    <a:pt x="379" y="512"/>
                  </a:moveTo>
                  <a:cubicBezTo>
                    <a:pt x="385" y="497"/>
                    <a:pt x="386" y="471"/>
                    <a:pt x="379" y="464"/>
                  </a:cubicBezTo>
                  <a:cubicBezTo>
                    <a:pt x="372" y="456"/>
                    <a:pt x="383" y="413"/>
                    <a:pt x="376" y="380"/>
                  </a:cubicBezTo>
                  <a:cubicBezTo>
                    <a:pt x="370" y="347"/>
                    <a:pt x="365" y="295"/>
                    <a:pt x="364" y="267"/>
                  </a:cubicBezTo>
                  <a:cubicBezTo>
                    <a:pt x="364" y="239"/>
                    <a:pt x="362" y="219"/>
                    <a:pt x="326" y="210"/>
                  </a:cubicBezTo>
                  <a:cubicBezTo>
                    <a:pt x="302" y="204"/>
                    <a:pt x="282" y="197"/>
                    <a:pt x="269" y="191"/>
                  </a:cubicBezTo>
                  <a:cubicBezTo>
                    <a:pt x="269" y="191"/>
                    <a:pt x="255" y="179"/>
                    <a:pt x="252" y="168"/>
                  </a:cubicBezTo>
                  <a:cubicBezTo>
                    <a:pt x="251" y="159"/>
                    <a:pt x="251" y="150"/>
                    <a:pt x="251" y="145"/>
                  </a:cubicBezTo>
                  <a:cubicBezTo>
                    <a:pt x="253" y="136"/>
                    <a:pt x="253" y="129"/>
                    <a:pt x="253" y="124"/>
                  </a:cubicBezTo>
                  <a:cubicBezTo>
                    <a:pt x="253" y="118"/>
                    <a:pt x="264" y="126"/>
                    <a:pt x="266" y="116"/>
                  </a:cubicBezTo>
                  <a:cubicBezTo>
                    <a:pt x="269" y="107"/>
                    <a:pt x="271" y="85"/>
                    <a:pt x="269" y="84"/>
                  </a:cubicBezTo>
                  <a:cubicBezTo>
                    <a:pt x="267" y="82"/>
                    <a:pt x="265" y="82"/>
                    <a:pt x="263" y="82"/>
                  </a:cubicBezTo>
                  <a:cubicBezTo>
                    <a:pt x="263" y="79"/>
                    <a:pt x="265" y="59"/>
                    <a:pt x="263" y="38"/>
                  </a:cubicBezTo>
                  <a:cubicBezTo>
                    <a:pt x="262" y="18"/>
                    <a:pt x="242" y="2"/>
                    <a:pt x="205" y="0"/>
                  </a:cubicBezTo>
                  <a:cubicBezTo>
                    <a:pt x="184" y="0"/>
                    <a:pt x="160" y="16"/>
                    <a:pt x="157" y="38"/>
                  </a:cubicBezTo>
                  <a:cubicBezTo>
                    <a:pt x="154" y="60"/>
                    <a:pt x="155" y="90"/>
                    <a:pt x="155" y="90"/>
                  </a:cubicBezTo>
                  <a:cubicBezTo>
                    <a:pt x="155" y="90"/>
                    <a:pt x="148" y="105"/>
                    <a:pt x="154" y="117"/>
                  </a:cubicBezTo>
                  <a:cubicBezTo>
                    <a:pt x="160" y="129"/>
                    <a:pt x="174" y="126"/>
                    <a:pt x="174" y="126"/>
                  </a:cubicBezTo>
                  <a:cubicBezTo>
                    <a:pt x="174" y="126"/>
                    <a:pt x="177" y="145"/>
                    <a:pt x="177" y="155"/>
                  </a:cubicBezTo>
                  <a:cubicBezTo>
                    <a:pt x="177" y="160"/>
                    <a:pt x="177" y="164"/>
                    <a:pt x="176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7" y="167"/>
                    <a:pt x="177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64" y="182"/>
                    <a:pt x="156" y="186"/>
                  </a:cubicBezTo>
                  <a:cubicBezTo>
                    <a:pt x="143" y="192"/>
                    <a:pt x="123" y="200"/>
                    <a:pt x="107" y="205"/>
                  </a:cubicBezTo>
                  <a:cubicBezTo>
                    <a:pt x="104" y="206"/>
                    <a:pt x="102" y="206"/>
                    <a:pt x="99" y="207"/>
                  </a:cubicBezTo>
                  <a:cubicBezTo>
                    <a:pt x="80" y="213"/>
                    <a:pt x="65" y="218"/>
                    <a:pt x="65" y="244"/>
                  </a:cubicBezTo>
                  <a:cubicBezTo>
                    <a:pt x="64" y="274"/>
                    <a:pt x="61" y="331"/>
                    <a:pt x="57" y="370"/>
                  </a:cubicBezTo>
                  <a:cubicBezTo>
                    <a:pt x="53" y="408"/>
                    <a:pt x="41" y="490"/>
                    <a:pt x="41" y="516"/>
                  </a:cubicBezTo>
                  <a:cubicBezTo>
                    <a:pt x="40" y="542"/>
                    <a:pt x="37" y="598"/>
                    <a:pt x="38" y="604"/>
                  </a:cubicBezTo>
                  <a:cubicBezTo>
                    <a:pt x="38" y="609"/>
                    <a:pt x="42" y="609"/>
                    <a:pt x="42" y="615"/>
                  </a:cubicBezTo>
                  <a:cubicBezTo>
                    <a:pt x="43" y="612"/>
                    <a:pt x="48" y="598"/>
                    <a:pt x="68" y="598"/>
                  </a:cubicBezTo>
                  <a:cubicBezTo>
                    <a:pt x="90" y="598"/>
                    <a:pt x="90" y="614"/>
                    <a:pt x="90" y="614"/>
                  </a:cubicBezTo>
                  <a:cubicBezTo>
                    <a:pt x="83" y="607"/>
                    <a:pt x="83" y="607"/>
                    <a:pt x="68" y="607"/>
                  </a:cubicBezTo>
                  <a:cubicBezTo>
                    <a:pt x="54" y="606"/>
                    <a:pt x="43" y="614"/>
                    <a:pt x="42" y="615"/>
                  </a:cubicBezTo>
                  <a:cubicBezTo>
                    <a:pt x="42" y="616"/>
                    <a:pt x="42" y="618"/>
                    <a:pt x="41" y="619"/>
                  </a:cubicBezTo>
                  <a:cubicBezTo>
                    <a:pt x="39" y="630"/>
                    <a:pt x="39" y="639"/>
                    <a:pt x="45" y="646"/>
                  </a:cubicBezTo>
                  <a:cubicBezTo>
                    <a:pt x="50" y="653"/>
                    <a:pt x="47" y="662"/>
                    <a:pt x="47" y="662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849"/>
                    <a:pt x="3" y="849"/>
                    <a:pt x="3" y="849"/>
                  </a:cubicBezTo>
                  <a:cubicBezTo>
                    <a:pt x="78" y="907"/>
                    <a:pt x="78" y="907"/>
                    <a:pt x="78" y="907"/>
                  </a:cubicBezTo>
                  <a:cubicBezTo>
                    <a:pt x="78" y="907"/>
                    <a:pt x="89" y="899"/>
                    <a:pt x="99" y="898"/>
                  </a:cubicBezTo>
                  <a:cubicBezTo>
                    <a:pt x="100" y="898"/>
                    <a:pt x="101" y="898"/>
                    <a:pt x="101" y="898"/>
                  </a:cubicBezTo>
                  <a:cubicBezTo>
                    <a:pt x="112" y="898"/>
                    <a:pt x="118" y="899"/>
                    <a:pt x="118" y="899"/>
                  </a:cubicBezTo>
                  <a:cubicBezTo>
                    <a:pt x="118" y="899"/>
                    <a:pt x="115" y="955"/>
                    <a:pt x="115" y="977"/>
                  </a:cubicBezTo>
                  <a:cubicBezTo>
                    <a:pt x="115" y="1000"/>
                    <a:pt x="117" y="1035"/>
                    <a:pt x="127" y="1051"/>
                  </a:cubicBezTo>
                  <a:cubicBezTo>
                    <a:pt x="136" y="1067"/>
                    <a:pt x="138" y="1073"/>
                    <a:pt x="138" y="1087"/>
                  </a:cubicBezTo>
                  <a:cubicBezTo>
                    <a:pt x="138" y="1101"/>
                    <a:pt x="117" y="1140"/>
                    <a:pt x="118" y="1153"/>
                  </a:cubicBezTo>
                  <a:cubicBezTo>
                    <a:pt x="118" y="1166"/>
                    <a:pt x="121" y="1186"/>
                    <a:pt x="143" y="1186"/>
                  </a:cubicBezTo>
                  <a:cubicBezTo>
                    <a:pt x="165" y="1185"/>
                    <a:pt x="181" y="1176"/>
                    <a:pt x="181" y="1159"/>
                  </a:cubicBezTo>
                  <a:cubicBezTo>
                    <a:pt x="181" y="1141"/>
                    <a:pt x="178" y="1130"/>
                    <a:pt x="185" y="1124"/>
                  </a:cubicBezTo>
                  <a:cubicBezTo>
                    <a:pt x="193" y="1117"/>
                    <a:pt x="181" y="1101"/>
                    <a:pt x="194" y="1084"/>
                  </a:cubicBezTo>
                  <a:cubicBezTo>
                    <a:pt x="206" y="1067"/>
                    <a:pt x="193" y="1066"/>
                    <a:pt x="196" y="1050"/>
                  </a:cubicBezTo>
                  <a:cubicBezTo>
                    <a:pt x="199" y="1034"/>
                    <a:pt x="193" y="987"/>
                    <a:pt x="192" y="968"/>
                  </a:cubicBezTo>
                  <a:cubicBezTo>
                    <a:pt x="191" y="949"/>
                    <a:pt x="194" y="926"/>
                    <a:pt x="204" y="846"/>
                  </a:cubicBezTo>
                  <a:cubicBezTo>
                    <a:pt x="213" y="765"/>
                    <a:pt x="219" y="729"/>
                    <a:pt x="222" y="712"/>
                  </a:cubicBezTo>
                  <a:cubicBezTo>
                    <a:pt x="225" y="694"/>
                    <a:pt x="229" y="672"/>
                    <a:pt x="229" y="672"/>
                  </a:cubicBezTo>
                  <a:cubicBezTo>
                    <a:pt x="229" y="672"/>
                    <a:pt x="242" y="748"/>
                    <a:pt x="252" y="767"/>
                  </a:cubicBezTo>
                  <a:cubicBezTo>
                    <a:pt x="262" y="785"/>
                    <a:pt x="274" y="879"/>
                    <a:pt x="277" y="907"/>
                  </a:cubicBezTo>
                  <a:cubicBezTo>
                    <a:pt x="280" y="934"/>
                    <a:pt x="278" y="1015"/>
                    <a:pt x="285" y="1024"/>
                  </a:cubicBezTo>
                  <a:cubicBezTo>
                    <a:pt x="291" y="1032"/>
                    <a:pt x="294" y="1044"/>
                    <a:pt x="294" y="1044"/>
                  </a:cubicBezTo>
                  <a:cubicBezTo>
                    <a:pt x="294" y="1044"/>
                    <a:pt x="277" y="1054"/>
                    <a:pt x="277" y="1067"/>
                  </a:cubicBezTo>
                  <a:cubicBezTo>
                    <a:pt x="277" y="1081"/>
                    <a:pt x="290" y="1092"/>
                    <a:pt x="289" y="1110"/>
                  </a:cubicBezTo>
                  <a:cubicBezTo>
                    <a:pt x="289" y="1128"/>
                    <a:pt x="291" y="1143"/>
                    <a:pt x="298" y="1146"/>
                  </a:cubicBezTo>
                  <a:cubicBezTo>
                    <a:pt x="305" y="1150"/>
                    <a:pt x="304" y="1180"/>
                    <a:pt x="313" y="1191"/>
                  </a:cubicBezTo>
                  <a:cubicBezTo>
                    <a:pt x="322" y="1201"/>
                    <a:pt x="337" y="1210"/>
                    <a:pt x="355" y="1205"/>
                  </a:cubicBezTo>
                  <a:cubicBezTo>
                    <a:pt x="373" y="1199"/>
                    <a:pt x="373" y="1175"/>
                    <a:pt x="364" y="1152"/>
                  </a:cubicBezTo>
                  <a:cubicBezTo>
                    <a:pt x="355" y="1129"/>
                    <a:pt x="344" y="1114"/>
                    <a:pt x="347" y="1105"/>
                  </a:cubicBezTo>
                  <a:cubicBezTo>
                    <a:pt x="351" y="1096"/>
                    <a:pt x="354" y="1082"/>
                    <a:pt x="345" y="1073"/>
                  </a:cubicBezTo>
                  <a:cubicBezTo>
                    <a:pt x="336" y="1064"/>
                    <a:pt x="345" y="1054"/>
                    <a:pt x="351" y="1046"/>
                  </a:cubicBezTo>
                  <a:cubicBezTo>
                    <a:pt x="357" y="1038"/>
                    <a:pt x="356" y="1002"/>
                    <a:pt x="356" y="982"/>
                  </a:cubicBezTo>
                  <a:cubicBezTo>
                    <a:pt x="357" y="962"/>
                    <a:pt x="354" y="864"/>
                    <a:pt x="356" y="829"/>
                  </a:cubicBezTo>
                  <a:cubicBezTo>
                    <a:pt x="357" y="793"/>
                    <a:pt x="360" y="685"/>
                    <a:pt x="355" y="655"/>
                  </a:cubicBezTo>
                  <a:cubicBezTo>
                    <a:pt x="350" y="625"/>
                    <a:pt x="354" y="603"/>
                    <a:pt x="354" y="603"/>
                  </a:cubicBezTo>
                  <a:cubicBezTo>
                    <a:pt x="354" y="603"/>
                    <a:pt x="366" y="609"/>
                    <a:pt x="366" y="597"/>
                  </a:cubicBezTo>
                  <a:cubicBezTo>
                    <a:pt x="366" y="586"/>
                    <a:pt x="362" y="584"/>
                    <a:pt x="367" y="565"/>
                  </a:cubicBezTo>
                  <a:cubicBezTo>
                    <a:pt x="372" y="545"/>
                    <a:pt x="373" y="527"/>
                    <a:pt x="379" y="512"/>
                  </a:cubicBezTo>
                  <a:close/>
                  <a:moveTo>
                    <a:pt x="109" y="669"/>
                  </a:moveTo>
                  <a:cubicBezTo>
                    <a:pt x="99" y="668"/>
                    <a:pt x="99" y="668"/>
                    <a:pt x="99" y="668"/>
                  </a:cubicBezTo>
                  <a:cubicBezTo>
                    <a:pt x="91" y="666"/>
                    <a:pt x="91" y="666"/>
                    <a:pt x="91" y="666"/>
                  </a:cubicBezTo>
                  <a:cubicBezTo>
                    <a:pt x="91" y="666"/>
                    <a:pt x="93" y="653"/>
                    <a:pt x="90" y="644"/>
                  </a:cubicBezTo>
                  <a:cubicBezTo>
                    <a:pt x="87" y="635"/>
                    <a:pt x="88" y="627"/>
                    <a:pt x="90" y="617"/>
                  </a:cubicBezTo>
                  <a:cubicBezTo>
                    <a:pt x="90" y="617"/>
                    <a:pt x="93" y="627"/>
                    <a:pt x="99" y="628"/>
                  </a:cubicBezTo>
                  <a:cubicBezTo>
                    <a:pt x="100" y="628"/>
                    <a:pt x="100" y="628"/>
                    <a:pt x="101" y="628"/>
                  </a:cubicBezTo>
                  <a:cubicBezTo>
                    <a:pt x="108" y="628"/>
                    <a:pt x="111" y="629"/>
                    <a:pt x="111" y="629"/>
                  </a:cubicBezTo>
                  <a:cubicBezTo>
                    <a:pt x="111" y="629"/>
                    <a:pt x="108" y="640"/>
                    <a:pt x="108" y="649"/>
                  </a:cubicBezTo>
                  <a:cubicBezTo>
                    <a:pt x="108" y="659"/>
                    <a:pt x="109" y="669"/>
                    <a:pt x="109" y="669"/>
                  </a:cubicBezTo>
                  <a:close/>
                  <a:moveTo>
                    <a:pt x="223" y="505"/>
                  </a:moveTo>
                  <a:cubicBezTo>
                    <a:pt x="225" y="464"/>
                    <a:pt x="224" y="347"/>
                    <a:pt x="223" y="322"/>
                  </a:cubicBezTo>
                  <a:cubicBezTo>
                    <a:pt x="223" y="296"/>
                    <a:pt x="218" y="239"/>
                    <a:pt x="221" y="232"/>
                  </a:cubicBezTo>
                  <a:cubicBezTo>
                    <a:pt x="224" y="224"/>
                    <a:pt x="232" y="218"/>
                    <a:pt x="241" y="223"/>
                  </a:cubicBezTo>
                  <a:cubicBezTo>
                    <a:pt x="241" y="223"/>
                    <a:pt x="231" y="208"/>
                    <a:pt x="215" y="208"/>
                  </a:cubicBezTo>
                  <a:cubicBezTo>
                    <a:pt x="199" y="208"/>
                    <a:pt x="188" y="223"/>
                    <a:pt x="188" y="223"/>
                  </a:cubicBezTo>
                  <a:cubicBezTo>
                    <a:pt x="188" y="223"/>
                    <a:pt x="206" y="219"/>
                    <a:pt x="205" y="231"/>
                  </a:cubicBezTo>
                  <a:cubicBezTo>
                    <a:pt x="205" y="243"/>
                    <a:pt x="199" y="305"/>
                    <a:pt x="199" y="346"/>
                  </a:cubicBezTo>
                  <a:cubicBezTo>
                    <a:pt x="199" y="383"/>
                    <a:pt x="196" y="472"/>
                    <a:pt x="199" y="505"/>
                  </a:cubicBezTo>
                  <a:cubicBezTo>
                    <a:pt x="187" y="504"/>
                    <a:pt x="183" y="503"/>
                    <a:pt x="183" y="503"/>
                  </a:cubicBezTo>
                  <a:cubicBezTo>
                    <a:pt x="183" y="503"/>
                    <a:pt x="194" y="386"/>
                    <a:pt x="190" y="325"/>
                  </a:cubicBezTo>
                  <a:cubicBezTo>
                    <a:pt x="186" y="279"/>
                    <a:pt x="178" y="220"/>
                    <a:pt x="173" y="188"/>
                  </a:cubicBezTo>
                  <a:cubicBezTo>
                    <a:pt x="173" y="188"/>
                    <a:pt x="173" y="188"/>
                    <a:pt x="173" y="188"/>
                  </a:cubicBezTo>
                  <a:cubicBezTo>
                    <a:pt x="173" y="188"/>
                    <a:pt x="178" y="170"/>
                    <a:pt x="182" y="176"/>
                  </a:cubicBezTo>
                  <a:cubicBezTo>
                    <a:pt x="182" y="176"/>
                    <a:pt x="182" y="176"/>
                    <a:pt x="182" y="176"/>
                  </a:cubicBezTo>
                  <a:cubicBezTo>
                    <a:pt x="190" y="189"/>
                    <a:pt x="203" y="204"/>
                    <a:pt x="212" y="204"/>
                  </a:cubicBezTo>
                  <a:cubicBezTo>
                    <a:pt x="222" y="204"/>
                    <a:pt x="238" y="193"/>
                    <a:pt x="248" y="179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48" y="179"/>
                    <a:pt x="258" y="182"/>
                    <a:pt x="259" y="196"/>
                  </a:cubicBezTo>
                  <a:cubicBezTo>
                    <a:pt x="259" y="197"/>
                    <a:pt x="258" y="199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13"/>
                    <a:pt x="258" y="230"/>
                    <a:pt x="260" y="256"/>
                  </a:cubicBezTo>
                  <a:cubicBezTo>
                    <a:pt x="263" y="335"/>
                    <a:pt x="277" y="429"/>
                    <a:pt x="284" y="450"/>
                  </a:cubicBezTo>
                  <a:cubicBezTo>
                    <a:pt x="292" y="472"/>
                    <a:pt x="301" y="488"/>
                    <a:pt x="301" y="488"/>
                  </a:cubicBezTo>
                  <a:cubicBezTo>
                    <a:pt x="301" y="488"/>
                    <a:pt x="251" y="504"/>
                    <a:pt x="223" y="505"/>
                  </a:cubicBezTo>
                  <a:close/>
                  <a:moveTo>
                    <a:pt x="360" y="585"/>
                  </a:moveTo>
                  <a:cubicBezTo>
                    <a:pt x="358" y="573"/>
                    <a:pt x="361" y="568"/>
                    <a:pt x="352" y="561"/>
                  </a:cubicBezTo>
                  <a:cubicBezTo>
                    <a:pt x="343" y="554"/>
                    <a:pt x="328" y="554"/>
                    <a:pt x="328" y="554"/>
                  </a:cubicBezTo>
                  <a:cubicBezTo>
                    <a:pt x="328" y="554"/>
                    <a:pt x="350" y="545"/>
                    <a:pt x="360" y="557"/>
                  </a:cubicBezTo>
                  <a:cubicBezTo>
                    <a:pt x="369" y="570"/>
                    <a:pt x="360" y="585"/>
                    <a:pt x="360" y="58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240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E76E050-2422-4DC7-903B-5E405C53FAA8}"/>
              </a:ext>
            </a:extLst>
          </p:cNvPr>
          <p:cNvSpPr/>
          <p:nvPr/>
        </p:nvSpPr>
        <p:spPr>
          <a:xfrm>
            <a:off x="3133165" y="1835110"/>
            <a:ext cx="2575926" cy="101057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pic>
        <p:nvPicPr>
          <p:cNvPr id="105" name="Picture 4" descr="SAP Announces Whole Entity OpenChain ISO/IEC 5230 Conformance - OpenChain">
            <a:extLst>
              <a:ext uri="{FF2B5EF4-FFF2-40B4-BE49-F238E27FC236}">
                <a16:creationId xmlns:a16="http://schemas.microsoft.com/office/drawing/2014/main" id="{ED30FFA0-AB99-4219-B8AD-9BD79D1E9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153" y="2194471"/>
            <a:ext cx="904713" cy="31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3" descr="Salesforce logo">
            <a:extLst>
              <a:ext uri="{FF2B5EF4-FFF2-40B4-BE49-F238E27FC236}">
                <a16:creationId xmlns:a16="http://schemas.microsoft.com/office/drawing/2014/main" id="{20C699C7-85AD-4FC9-8033-BDEBF20F8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824" y="2130952"/>
            <a:ext cx="698164" cy="46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Rectangle: Rounded Corners 28">
            <a:extLst>
              <a:ext uri="{FF2B5EF4-FFF2-40B4-BE49-F238E27FC236}">
                <a16:creationId xmlns:a16="http://schemas.microsoft.com/office/drawing/2014/main" id="{0D548263-2095-40C2-99A6-C65E56F8E021}"/>
              </a:ext>
            </a:extLst>
          </p:cNvPr>
          <p:cNvSpPr/>
          <p:nvPr/>
        </p:nvSpPr>
        <p:spPr bwMode="auto">
          <a:xfrm>
            <a:off x="3792435" y="1750249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DATA SOURCE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CD59763-5A6D-4CFC-ABFF-D575511AF534}"/>
              </a:ext>
            </a:extLst>
          </p:cNvPr>
          <p:cNvSpPr/>
          <p:nvPr/>
        </p:nvSpPr>
        <p:spPr>
          <a:xfrm>
            <a:off x="466325" y="3204496"/>
            <a:ext cx="5277906" cy="1255403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/>
          </a:p>
        </p:txBody>
      </p:sp>
      <p:sp>
        <p:nvSpPr>
          <p:cNvPr id="111" name="Rectangle: Rounded Corners 28">
            <a:extLst>
              <a:ext uri="{FF2B5EF4-FFF2-40B4-BE49-F238E27FC236}">
                <a16:creationId xmlns:a16="http://schemas.microsoft.com/office/drawing/2014/main" id="{41A0F59D-6751-4324-942C-A595A0D85D30}"/>
              </a:ext>
            </a:extLst>
          </p:cNvPr>
          <p:cNvSpPr/>
          <p:nvPr/>
        </p:nvSpPr>
        <p:spPr bwMode="auto">
          <a:xfrm>
            <a:off x="1327137" y="3083706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Segoe UI Semilight" charset="0"/>
              </a:rPr>
              <a:t>SOLUTION</a:t>
            </a:r>
          </a:p>
        </p:txBody>
      </p:sp>
      <p:pic>
        <p:nvPicPr>
          <p:cNvPr id="112" name="Picture 3" descr="Salesforce logo">
            <a:extLst>
              <a:ext uri="{FF2B5EF4-FFF2-40B4-BE49-F238E27FC236}">
                <a16:creationId xmlns:a16="http://schemas.microsoft.com/office/drawing/2014/main" id="{461616C2-6BAA-4B8B-A215-9B0EC1FFD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679" y="3468851"/>
            <a:ext cx="618434" cy="412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" descr="The Python Logo | Python Software Foundation">
            <a:extLst>
              <a:ext uri="{FF2B5EF4-FFF2-40B4-BE49-F238E27FC236}">
                <a16:creationId xmlns:a16="http://schemas.microsoft.com/office/drawing/2014/main" id="{E832BD43-6E09-4E4A-A4DF-A5D62A1A0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969" y="3778173"/>
            <a:ext cx="1011090" cy="33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4" descr="SAP Announces Whole Entity OpenChain ISO/IEC 5230 Conformance - OpenChain">
            <a:extLst>
              <a:ext uri="{FF2B5EF4-FFF2-40B4-BE49-F238E27FC236}">
                <a16:creationId xmlns:a16="http://schemas.microsoft.com/office/drawing/2014/main" id="{B6CB8315-D433-4E33-B91A-3419311F3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686" y="4073107"/>
            <a:ext cx="763758" cy="266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BAC2D1DA-B563-43BA-97A5-F0DC8EE10663}"/>
              </a:ext>
            </a:extLst>
          </p:cNvPr>
          <p:cNvCxnSpPr>
            <a:cxnSpLocks/>
          </p:cNvCxnSpPr>
          <p:nvPr/>
        </p:nvCxnSpPr>
        <p:spPr>
          <a:xfrm>
            <a:off x="1361444" y="3634216"/>
            <a:ext cx="493426" cy="285480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3E3DC23C-956C-46BE-80FF-0DB819DF4D06}"/>
              </a:ext>
            </a:extLst>
          </p:cNvPr>
          <p:cNvCxnSpPr>
            <a:cxnSpLocks/>
            <a:stCxn id="122" idx="3"/>
          </p:cNvCxnSpPr>
          <p:nvPr/>
        </p:nvCxnSpPr>
        <p:spPr>
          <a:xfrm flipV="1">
            <a:off x="1361444" y="3919696"/>
            <a:ext cx="486576" cy="286784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800AF2D3-9460-44C2-9591-60994EA6C7DA}"/>
              </a:ext>
            </a:extLst>
          </p:cNvPr>
          <p:cNvCxnSpPr>
            <a:cxnSpLocks/>
          </p:cNvCxnSpPr>
          <p:nvPr/>
        </p:nvCxnSpPr>
        <p:spPr>
          <a:xfrm flipV="1">
            <a:off x="2709170" y="3914896"/>
            <a:ext cx="207299" cy="960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22A87617-CD5A-4721-8D80-03E847295574}"/>
              </a:ext>
            </a:extLst>
          </p:cNvPr>
          <p:cNvCxnSpPr>
            <a:cxnSpLocks/>
          </p:cNvCxnSpPr>
          <p:nvPr/>
        </p:nvCxnSpPr>
        <p:spPr>
          <a:xfrm>
            <a:off x="4000934" y="3919343"/>
            <a:ext cx="527952" cy="339212"/>
          </a:xfrm>
          <a:prstGeom prst="bentConnector3">
            <a:avLst>
              <a:gd name="adj1" fmla="val 46465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Graphic 129" descr="Envelope outline">
            <a:extLst>
              <a:ext uri="{FF2B5EF4-FFF2-40B4-BE49-F238E27FC236}">
                <a16:creationId xmlns:a16="http://schemas.microsoft.com/office/drawing/2014/main" id="{A7969F12-3A5C-43AA-A20A-3800B33A52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16328" y="4062653"/>
            <a:ext cx="402645" cy="402645"/>
          </a:xfrm>
          <a:prstGeom prst="rect">
            <a:avLst/>
          </a:prstGeom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C3C63079-B501-4E9D-8CA6-0305D6776C60}"/>
              </a:ext>
            </a:extLst>
          </p:cNvPr>
          <p:cNvSpPr txBox="1"/>
          <p:nvPr/>
        </p:nvSpPr>
        <p:spPr>
          <a:xfrm>
            <a:off x="4823036" y="4076260"/>
            <a:ext cx="1035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tx2"/>
                </a:solidFill>
              </a:rPr>
              <a:t>Daily email to user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6EC4F9BE-4216-4E19-BF86-DFD8361CAFCA}"/>
              </a:ext>
            </a:extLst>
          </p:cNvPr>
          <p:cNvCxnSpPr>
            <a:cxnSpLocks/>
          </p:cNvCxnSpPr>
          <p:nvPr/>
        </p:nvCxnSpPr>
        <p:spPr>
          <a:xfrm flipV="1">
            <a:off x="4000889" y="3555746"/>
            <a:ext cx="485363" cy="355130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Picture 6">
            <a:extLst>
              <a:ext uri="{FF2B5EF4-FFF2-40B4-BE49-F238E27FC236}">
                <a16:creationId xmlns:a16="http://schemas.microsoft.com/office/drawing/2014/main" id="{1974947D-3620-4AD1-B224-5DAFECC15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856" y="3380201"/>
            <a:ext cx="314180" cy="307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C6AED27B-BBEE-4016-818F-9FDE158118A2}"/>
              </a:ext>
            </a:extLst>
          </p:cNvPr>
          <p:cNvSpPr txBox="1"/>
          <p:nvPr/>
        </p:nvSpPr>
        <p:spPr>
          <a:xfrm>
            <a:off x="4785022" y="3362499"/>
            <a:ext cx="10437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tx2"/>
                </a:solidFill>
              </a:rPr>
              <a:t>Publish report in SharePoint</a:t>
            </a:r>
          </a:p>
        </p:txBody>
      </p:sp>
      <p:pic>
        <p:nvPicPr>
          <p:cNvPr id="135" name="Picture 8" descr="Alteryx Designer Reviews, Ratings &amp; Features 2022 | Gartner Peer Insights">
            <a:extLst>
              <a:ext uri="{FF2B5EF4-FFF2-40B4-BE49-F238E27FC236}">
                <a16:creationId xmlns:a16="http://schemas.microsoft.com/office/drawing/2014/main" id="{FA2DEE95-CB78-4E13-9229-3C0FC6EE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704" y="3786852"/>
            <a:ext cx="1069020" cy="26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4">
            <a:extLst>
              <a:ext uri="{FF2B5EF4-FFF2-40B4-BE49-F238E27FC236}">
                <a16:creationId xmlns:a16="http://schemas.microsoft.com/office/drawing/2014/main" id="{5BDF3EC0-E1A0-4DA3-9837-DD3DB98EF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7795" y="3641027"/>
            <a:ext cx="165560" cy="15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Arrow: Down 56">
            <a:extLst>
              <a:ext uri="{FF2B5EF4-FFF2-40B4-BE49-F238E27FC236}">
                <a16:creationId xmlns:a16="http://schemas.microsoft.com/office/drawing/2014/main" id="{5FA5BCF3-E00E-40DB-B093-2F16EAFB6CC1}"/>
              </a:ext>
            </a:extLst>
          </p:cNvPr>
          <p:cNvSpPr/>
          <p:nvPr/>
        </p:nvSpPr>
        <p:spPr>
          <a:xfrm rot="16200000">
            <a:off x="3014798" y="5490524"/>
            <a:ext cx="249360" cy="59860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s-ES" sz="1600" err="1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779CDAC-A950-4CE7-A92B-C4CE60160E8F}"/>
              </a:ext>
            </a:extLst>
          </p:cNvPr>
          <p:cNvSpPr/>
          <p:nvPr/>
        </p:nvSpPr>
        <p:spPr>
          <a:xfrm>
            <a:off x="6840798" y="5409411"/>
            <a:ext cx="1808551" cy="7868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A7754A2-5949-4B81-A627-129FCC42AAF4}"/>
              </a:ext>
            </a:extLst>
          </p:cNvPr>
          <p:cNvSpPr/>
          <p:nvPr/>
        </p:nvSpPr>
        <p:spPr>
          <a:xfrm>
            <a:off x="6742487" y="5339304"/>
            <a:ext cx="1820819" cy="774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3787028-B8F1-4980-8F89-E87E7BAA3EA1}"/>
              </a:ext>
            </a:extLst>
          </p:cNvPr>
          <p:cNvSpPr txBox="1"/>
          <p:nvPr/>
        </p:nvSpPr>
        <p:spPr>
          <a:xfrm>
            <a:off x="6717910" y="5380181"/>
            <a:ext cx="193143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b="1">
                <a:solidFill>
                  <a:schemeClr val="accent2"/>
                </a:solidFill>
              </a:rPr>
              <a:t>40+ Reports &amp; Summary Emails Sent Monthl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1EB903-8BDE-49F6-97EA-A73F696D2B25}"/>
              </a:ext>
            </a:extLst>
          </p:cNvPr>
          <p:cNvSpPr txBox="1"/>
          <p:nvPr/>
        </p:nvSpPr>
        <p:spPr>
          <a:xfrm>
            <a:off x="355303" y="1013083"/>
            <a:ext cx="5530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COMPLETED – Jan 2023</a:t>
            </a:r>
            <a:endParaRPr lang="en-US" sz="1600" i="1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C3CD5-CA19-43F7-AE28-45891730E920}"/>
              </a:ext>
            </a:extLst>
          </p:cNvPr>
          <p:cNvSpPr txBox="1"/>
          <p:nvPr/>
        </p:nvSpPr>
        <p:spPr>
          <a:xfrm>
            <a:off x="466325" y="6497413"/>
            <a:ext cx="53624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accent2"/>
                </a:solidFill>
              </a:rPr>
              <a:t>* Calculation per month</a:t>
            </a:r>
            <a:r>
              <a:rPr lang="en-US" sz="1050">
                <a:solidFill>
                  <a:schemeClr val="tx2"/>
                </a:solidFill>
              </a:rPr>
              <a:t>: Onshore 15h x 67.3€/h + Offshore 20h x 6.7€/h  </a:t>
            </a:r>
          </a:p>
        </p:txBody>
      </p:sp>
    </p:spTree>
    <p:extLst>
      <p:ext uri="{BB962C8B-B14F-4D97-AF65-F5344CB8AC3E}">
        <p14:creationId xmlns:p14="http://schemas.microsoft.com/office/powerpoint/2010/main" val="55681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69AC24-D204-49E9-88C7-8DCC12F09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69AC24-D204-49E9-88C7-8DCC12F09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5F2044D-1B47-4153-A980-0AE09BCFC19C}"/>
              </a:ext>
            </a:extLst>
          </p:cNvPr>
          <p:cNvSpPr/>
          <p:nvPr/>
        </p:nvSpPr>
        <p:spPr>
          <a:xfrm>
            <a:off x="7550821" y="3546534"/>
            <a:ext cx="1042616" cy="5222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6B338AE8-A845-4244-A5F0-E7202690CA67}"/>
              </a:ext>
            </a:extLst>
          </p:cNvPr>
          <p:cNvSpPr/>
          <p:nvPr/>
        </p:nvSpPr>
        <p:spPr>
          <a:xfrm>
            <a:off x="8810781" y="3546951"/>
            <a:ext cx="2198229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3BE239B-9EFA-4EF6-AAD8-D8341D9C4267}"/>
              </a:ext>
            </a:extLst>
          </p:cNvPr>
          <p:cNvSpPr/>
          <p:nvPr/>
        </p:nvSpPr>
        <p:spPr>
          <a:xfrm>
            <a:off x="5541803" y="3546951"/>
            <a:ext cx="1758951" cy="522282"/>
          </a:xfrm>
          <a:prstGeom prst="round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9754E2-F0DF-4ACB-8FFE-6607F1D06DCC}"/>
              </a:ext>
            </a:extLst>
          </p:cNvPr>
          <p:cNvSpPr/>
          <p:nvPr/>
        </p:nvSpPr>
        <p:spPr>
          <a:xfrm>
            <a:off x="2456473" y="107856"/>
            <a:ext cx="7929610" cy="7838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Sci Opportunity Tracker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F2A5D4-0B7C-4B84-9FD0-2BB5CF482F31}"/>
              </a:ext>
            </a:extLst>
          </p:cNvPr>
          <p:cNvSpPr/>
          <p:nvPr/>
        </p:nvSpPr>
        <p:spPr>
          <a:xfrm>
            <a:off x="-5290" y="98977"/>
            <a:ext cx="3999374" cy="790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&amp;A </a:t>
            </a:r>
          </a:p>
        </p:txBody>
      </p:sp>
      <p:sp>
        <p:nvSpPr>
          <p:cNvPr id="44" name="Diagrama de flujo: operación manual 3">
            <a:extLst>
              <a:ext uri="{FF2B5EF4-FFF2-40B4-BE49-F238E27FC236}">
                <a16:creationId xmlns:a16="http://schemas.microsoft.com/office/drawing/2014/main" id="{7EEB1677-B37B-4753-9D15-28588C6923E5}"/>
              </a:ext>
            </a:extLst>
          </p:cNvPr>
          <p:cNvSpPr/>
          <p:nvPr/>
        </p:nvSpPr>
        <p:spPr>
          <a:xfrm>
            <a:off x="331825" y="1504338"/>
            <a:ext cx="11077077" cy="1093513"/>
          </a:xfrm>
          <a:prstGeom prst="flowChartManualOperation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91000">
                <a:schemeClr val="bg1"/>
              </a:gs>
            </a:gsLst>
            <a:lin ang="5400000" scaled="0"/>
          </a:gra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Tx/>
              <a:buNone/>
              <a:tabLst/>
              <a:defRPr/>
            </a:pP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6EBF07F-42E2-4742-A17D-CE550EAF83BB}"/>
              </a:ext>
            </a:extLst>
          </p:cNvPr>
          <p:cNvSpPr/>
          <p:nvPr/>
        </p:nvSpPr>
        <p:spPr>
          <a:xfrm>
            <a:off x="1293601" y="1761273"/>
            <a:ext cx="2842087" cy="871480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ctangle: Rounded Corners 28">
            <a:extLst>
              <a:ext uri="{FF2B5EF4-FFF2-40B4-BE49-F238E27FC236}">
                <a16:creationId xmlns:a16="http://schemas.microsoft.com/office/drawing/2014/main" id="{B24752AE-C80A-47FB-B83E-78DB4B50D7E0}"/>
              </a:ext>
            </a:extLst>
          </p:cNvPr>
          <p:cNvSpPr/>
          <p:nvPr/>
        </p:nvSpPr>
        <p:spPr bwMode="auto">
          <a:xfrm>
            <a:off x="1942747" y="169049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TEAM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E991AB8-3E84-443B-BD44-7978A2048F04}"/>
              </a:ext>
            </a:extLst>
          </p:cNvPr>
          <p:cNvGrpSpPr/>
          <p:nvPr/>
        </p:nvGrpSpPr>
        <p:grpSpPr>
          <a:xfrm>
            <a:off x="932681" y="1640654"/>
            <a:ext cx="618434" cy="1093513"/>
            <a:chOff x="423269" y="3504204"/>
            <a:chExt cx="1310876" cy="2478694"/>
          </a:xfrm>
        </p:grpSpPr>
        <p:sp>
          <p:nvSpPr>
            <p:cNvPr id="103" name="Freeform 3">
              <a:extLst>
                <a:ext uri="{FF2B5EF4-FFF2-40B4-BE49-F238E27FC236}">
                  <a16:creationId xmlns:a16="http://schemas.microsoft.com/office/drawing/2014/main" id="{3832A323-BF09-416A-B92B-2BF34546FF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269" y="3504204"/>
              <a:ext cx="538068" cy="2161714"/>
            </a:xfrm>
            <a:custGeom>
              <a:avLst/>
              <a:gdLst>
                <a:gd name="T0" fmla="*/ 280 w 287"/>
                <a:gd name="T1" fmla="*/ 271 h 1160"/>
                <a:gd name="T2" fmla="*/ 247 w 287"/>
                <a:gd name="T3" fmla="*/ 188 h 1160"/>
                <a:gd name="T4" fmla="*/ 213 w 287"/>
                <a:gd name="T5" fmla="*/ 135 h 1160"/>
                <a:gd name="T6" fmla="*/ 181 w 287"/>
                <a:gd name="T7" fmla="*/ 23 h 1160"/>
                <a:gd name="T8" fmla="*/ 82 w 287"/>
                <a:gd name="T9" fmla="*/ 57 h 1160"/>
                <a:gd name="T10" fmla="*/ 76 w 287"/>
                <a:gd name="T11" fmla="*/ 189 h 1160"/>
                <a:gd name="T12" fmla="*/ 40 w 287"/>
                <a:gd name="T13" fmla="*/ 237 h 1160"/>
                <a:gd name="T14" fmla="*/ 4 w 287"/>
                <a:gd name="T15" fmla="*/ 366 h 1160"/>
                <a:gd name="T16" fmla="*/ 7 w 287"/>
                <a:gd name="T17" fmla="*/ 412 h 1160"/>
                <a:gd name="T18" fmla="*/ 40 w 287"/>
                <a:gd name="T19" fmla="*/ 467 h 1160"/>
                <a:gd name="T20" fmla="*/ 35 w 287"/>
                <a:gd name="T21" fmla="*/ 546 h 1160"/>
                <a:gd name="T22" fmla="*/ 27 w 287"/>
                <a:gd name="T23" fmla="*/ 759 h 1160"/>
                <a:gd name="T24" fmla="*/ 47 w 287"/>
                <a:gd name="T25" fmla="*/ 843 h 1160"/>
                <a:gd name="T26" fmla="*/ 75 w 287"/>
                <a:gd name="T27" fmla="*/ 1036 h 1160"/>
                <a:gd name="T28" fmla="*/ 44 w 287"/>
                <a:gd name="T29" fmla="*/ 1127 h 1160"/>
                <a:gd name="T30" fmla="*/ 70 w 287"/>
                <a:gd name="T31" fmla="*/ 1155 h 1160"/>
                <a:gd name="T32" fmla="*/ 108 w 287"/>
                <a:gd name="T33" fmla="*/ 1107 h 1160"/>
                <a:gd name="T34" fmla="*/ 107 w 287"/>
                <a:gd name="T35" fmla="*/ 1141 h 1160"/>
                <a:gd name="T36" fmla="*/ 119 w 287"/>
                <a:gd name="T37" fmla="*/ 1132 h 1160"/>
                <a:gd name="T38" fmla="*/ 117 w 287"/>
                <a:gd name="T39" fmla="*/ 1050 h 1160"/>
                <a:gd name="T40" fmla="*/ 115 w 287"/>
                <a:gd name="T41" fmla="*/ 885 h 1160"/>
                <a:gd name="T42" fmla="*/ 167 w 287"/>
                <a:gd name="T43" fmla="*/ 851 h 1160"/>
                <a:gd name="T44" fmla="*/ 169 w 287"/>
                <a:gd name="T45" fmla="*/ 977 h 1160"/>
                <a:gd name="T46" fmla="*/ 154 w 287"/>
                <a:gd name="T47" fmla="*/ 1096 h 1160"/>
                <a:gd name="T48" fmla="*/ 148 w 287"/>
                <a:gd name="T49" fmla="*/ 1159 h 1160"/>
                <a:gd name="T50" fmla="*/ 205 w 287"/>
                <a:gd name="T51" fmla="*/ 1104 h 1160"/>
                <a:gd name="T52" fmla="*/ 202 w 287"/>
                <a:gd name="T53" fmla="*/ 1043 h 1160"/>
                <a:gd name="T54" fmla="*/ 234 w 287"/>
                <a:gd name="T55" fmla="*/ 852 h 1160"/>
                <a:gd name="T56" fmla="*/ 251 w 287"/>
                <a:gd name="T57" fmla="*/ 721 h 1160"/>
                <a:gd name="T58" fmla="*/ 265 w 287"/>
                <a:gd name="T59" fmla="*/ 535 h 1160"/>
                <a:gd name="T60" fmla="*/ 258 w 287"/>
                <a:gd name="T61" fmla="*/ 449 h 1160"/>
                <a:gd name="T62" fmla="*/ 244 w 287"/>
                <a:gd name="T63" fmla="*/ 388 h 1160"/>
                <a:gd name="T64" fmla="*/ 102 w 287"/>
                <a:gd name="T65" fmla="*/ 452 h 1160"/>
                <a:gd name="T66" fmla="*/ 114 w 287"/>
                <a:gd name="T67" fmla="*/ 452 h 1160"/>
                <a:gd name="T68" fmla="*/ 168 w 287"/>
                <a:gd name="T69" fmla="*/ 213 h 1160"/>
                <a:gd name="T70" fmla="*/ 117 w 287"/>
                <a:gd name="T71" fmla="*/ 344 h 1160"/>
                <a:gd name="T72" fmla="*/ 114 w 287"/>
                <a:gd name="T73" fmla="*/ 257 h 1160"/>
                <a:gd name="T74" fmla="*/ 102 w 287"/>
                <a:gd name="T75" fmla="*/ 205 h 1160"/>
                <a:gd name="T76" fmla="*/ 134 w 287"/>
                <a:gd name="T77" fmla="*/ 223 h 1160"/>
                <a:gd name="T78" fmla="*/ 152 w 287"/>
                <a:gd name="T79" fmla="*/ 222 h 1160"/>
                <a:gd name="T80" fmla="*/ 159 w 287"/>
                <a:gd name="T81" fmla="*/ 184 h 1160"/>
                <a:gd name="T82" fmla="*/ 189 w 287"/>
                <a:gd name="T83" fmla="*/ 176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1160">
                  <a:moveTo>
                    <a:pt x="257" y="366"/>
                  </a:moveTo>
                  <a:cubicBezTo>
                    <a:pt x="258" y="353"/>
                    <a:pt x="279" y="285"/>
                    <a:pt x="280" y="271"/>
                  </a:cubicBezTo>
                  <a:cubicBezTo>
                    <a:pt x="281" y="257"/>
                    <a:pt x="287" y="214"/>
                    <a:pt x="282" y="199"/>
                  </a:cubicBezTo>
                  <a:cubicBezTo>
                    <a:pt x="277" y="183"/>
                    <a:pt x="247" y="188"/>
                    <a:pt x="247" y="188"/>
                  </a:cubicBezTo>
                  <a:cubicBezTo>
                    <a:pt x="247" y="188"/>
                    <a:pt x="240" y="172"/>
                    <a:pt x="226" y="168"/>
                  </a:cubicBezTo>
                  <a:cubicBezTo>
                    <a:pt x="211" y="164"/>
                    <a:pt x="229" y="145"/>
                    <a:pt x="213" y="135"/>
                  </a:cubicBezTo>
                  <a:cubicBezTo>
                    <a:pt x="203" y="128"/>
                    <a:pt x="206" y="92"/>
                    <a:pt x="202" y="78"/>
                  </a:cubicBezTo>
                  <a:cubicBezTo>
                    <a:pt x="199" y="64"/>
                    <a:pt x="190" y="35"/>
                    <a:pt x="181" y="23"/>
                  </a:cubicBezTo>
                  <a:cubicBezTo>
                    <a:pt x="171" y="10"/>
                    <a:pt x="152" y="17"/>
                    <a:pt x="152" y="17"/>
                  </a:cubicBezTo>
                  <a:cubicBezTo>
                    <a:pt x="108" y="0"/>
                    <a:pt x="86" y="37"/>
                    <a:pt x="82" y="57"/>
                  </a:cubicBezTo>
                  <a:cubicBezTo>
                    <a:pt x="79" y="77"/>
                    <a:pt x="89" y="114"/>
                    <a:pt x="77" y="140"/>
                  </a:cubicBezTo>
                  <a:cubicBezTo>
                    <a:pt x="66" y="165"/>
                    <a:pt x="91" y="174"/>
                    <a:pt x="76" y="189"/>
                  </a:cubicBezTo>
                  <a:cubicBezTo>
                    <a:pt x="60" y="203"/>
                    <a:pt x="74" y="208"/>
                    <a:pt x="59" y="215"/>
                  </a:cubicBezTo>
                  <a:cubicBezTo>
                    <a:pt x="45" y="221"/>
                    <a:pt x="40" y="224"/>
                    <a:pt x="40" y="237"/>
                  </a:cubicBezTo>
                  <a:cubicBezTo>
                    <a:pt x="40" y="250"/>
                    <a:pt x="28" y="284"/>
                    <a:pt x="22" y="314"/>
                  </a:cubicBezTo>
                  <a:cubicBezTo>
                    <a:pt x="15" y="344"/>
                    <a:pt x="8" y="355"/>
                    <a:pt x="4" y="366"/>
                  </a:cubicBezTo>
                  <a:cubicBezTo>
                    <a:pt x="0" y="378"/>
                    <a:pt x="2" y="382"/>
                    <a:pt x="4" y="388"/>
                  </a:cubicBezTo>
                  <a:cubicBezTo>
                    <a:pt x="6" y="393"/>
                    <a:pt x="7" y="394"/>
                    <a:pt x="7" y="412"/>
                  </a:cubicBezTo>
                  <a:cubicBezTo>
                    <a:pt x="7" y="431"/>
                    <a:pt x="38" y="434"/>
                    <a:pt x="38" y="434"/>
                  </a:cubicBezTo>
                  <a:cubicBezTo>
                    <a:pt x="38" y="434"/>
                    <a:pt x="40" y="451"/>
                    <a:pt x="40" y="467"/>
                  </a:cubicBezTo>
                  <a:cubicBezTo>
                    <a:pt x="40" y="482"/>
                    <a:pt x="30" y="526"/>
                    <a:pt x="28" y="538"/>
                  </a:cubicBezTo>
                  <a:cubicBezTo>
                    <a:pt x="26" y="550"/>
                    <a:pt x="35" y="546"/>
                    <a:pt x="35" y="546"/>
                  </a:cubicBezTo>
                  <a:cubicBezTo>
                    <a:pt x="35" y="546"/>
                    <a:pt x="35" y="559"/>
                    <a:pt x="33" y="578"/>
                  </a:cubicBezTo>
                  <a:cubicBezTo>
                    <a:pt x="30" y="597"/>
                    <a:pt x="27" y="724"/>
                    <a:pt x="27" y="759"/>
                  </a:cubicBezTo>
                  <a:cubicBezTo>
                    <a:pt x="27" y="794"/>
                    <a:pt x="23" y="842"/>
                    <a:pt x="27" y="842"/>
                  </a:cubicBezTo>
                  <a:cubicBezTo>
                    <a:pt x="32" y="842"/>
                    <a:pt x="47" y="843"/>
                    <a:pt x="47" y="843"/>
                  </a:cubicBezTo>
                  <a:cubicBezTo>
                    <a:pt x="47" y="843"/>
                    <a:pt x="45" y="866"/>
                    <a:pt x="46" y="895"/>
                  </a:cubicBezTo>
                  <a:cubicBezTo>
                    <a:pt x="47" y="923"/>
                    <a:pt x="70" y="1014"/>
                    <a:pt x="75" y="1036"/>
                  </a:cubicBezTo>
                  <a:cubicBezTo>
                    <a:pt x="79" y="1059"/>
                    <a:pt x="78" y="1079"/>
                    <a:pt x="70" y="1091"/>
                  </a:cubicBezTo>
                  <a:cubicBezTo>
                    <a:pt x="63" y="1103"/>
                    <a:pt x="57" y="1118"/>
                    <a:pt x="44" y="1127"/>
                  </a:cubicBezTo>
                  <a:cubicBezTo>
                    <a:pt x="31" y="1137"/>
                    <a:pt x="26" y="1141"/>
                    <a:pt x="28" y="1150"/>
                  </a:cubicBezTo>
                  <a:cubicBezTo>
                    <a:pt x="30" y="1158"/>
                    <a:pt x="46" y="1156"/>
                    <a:pt x="70" y="1155"/>
                  </a:cubicBezTo>
                  <a:cubicBezTo>
                    <a:pt x="94" y="1154"/>
                    <a:pt x="91" y="1139"/>
                    <a:pt x="94" y="1132"/>
                  </a:cubicBezTo>
                  <a:cubicBezTo>
                    <a:pt x="97" y="1125"/>
                    <a:pt x="108" y="1107"/>
                    <a:pt x="108" y="1107"/>
                  </a:cubicBezTo>
                  <a:cubicBezTo>
                    <a:pt x="108" y="1107"/>
                    <a:pt x="111" y="1110"/>
                    <a:pt x="111" y="1118"/>
                  </a:cubicBezTo>
                  <a:cubicBezTo>
                    <a:pt x="111" y="1127"/>
                    <a:pt x="107" y="1141"/>
                    <a:pt x="107" y="1141"/>
                  </a:cubicBezTo>
                  <a:cubicBezTo>
                    <a:pt x="117" y="1141"/>
                    <a:pt x="117" y="1141"/>
                    <a:pt x="117" y="1141"/>
                  </a:cubicBezTo>
                  <a:cubicBezTo>
                    <a:pt x="117" y="1141"/>
                    <a:pt x="120" y="1140"/>
                    <a:pt x="119" y="1132"/>
                  </a:cubicBezTo>
                  <a:cubicBezTo>
                    <a:pt x="118" y="1124"/>
                    <a:pt x="123" y="1106"/>
                    <a:pt x="127" y="1091"/>
                  </a:cubicBezTo>
                  <a:cubicBezTo>
                    <a:pt x="132" y="1075"/>
                    <a:pt x="123" y="1057"/>
                    <a:pt x="117" y="1050"/>
                  </a:cubicBezTo>
                  <a:cubicBezTo>
                    <a:pt x="112" y="1044"/>
                    <a:pt x="114" y="1009"/>
                    <a:pt x="115" y="974"/>
                  </a:cubicBezTo>
                  <a:cubicBezTo>
                    <a:pt x="117" y="939"/>
                    <a:pt x="119" y="901"/>
                    <a:pt x="115" y="885"/>
                  </a:cubicBezTo>
                  <a:cubicBezTo>
                    <a:pt x="112" y="868"/>
                    <a:pt x="107" y="846"/>
                    <a:pt x="107" y="846"/>
                  </a:cubicBezTo>
                  <a:cubicBezTo>
                    <a:pt x="167" y="851"/>
                    <a:pt x="167" y="851"/>
                    <a:pt x="167" y="851"/>
                  </a:cubicBezTo>
                  <a:cubicBezTo>
                    <a:pt x="167" y="851"/>
                    <a:pt x="169" y="863"/>
                    <a:pt x="169" y="889"/>
                  </a:cubicBezTo>
                  <a:cubicBezTo>
                    <a:pt x="169" y="916"/>
                    <a:pt x="169" y="934"/>
                    <a:pt x="169" y="977"/>
                  </a:cubicBezTo>
                  <a:cubicBezTo>
                    <a:pt x="169" y="1019"/>
                    <a:pt x="165" y="1035"/>
                    <a:pt x="160" y="1051"/>
                  </a:cubicBezTo>
                  <a:cubicBezTo>
                    <a:pt x="156" y="1068"/>
                    <a:pt x="159" y="1080"/>
                    <a:pt x="154" y="1096"/>
                  </a:cubicBezTo>
                  <a:cubicBezTo>
                    <a:pt x="149" y="1113"/>
                    <a:pt x="140" y="1125"/>
                    <a:pt x="135" y="1134"/>
                  </a:cubicBezTo>
                  <a:cubicBezTo>
                    <a:pt x="129" y="1143"/>
                    <a:pt x="127" y="1158"/>
                    <a:pt x="148" y="1159"/>
                  </a:cubicBezTo>
                  <a:cubicBezTo>
                    <a:pt x="170" y="1160"/>
                    <a:pt x="196" y="1150"/>
                    <a:pt x="196" y="1140"/>
                  </a:cubicBezTo>
                  <a:cubicBezTo>
                    <a:pt x="196" y="1131"/>
                    <a:pt x="198" y="1119"/>
                    <a:pt x="205" y="1104"/>
                  </a:cubicBezTo>
                  <a:cubicBezTo>
                    <a:pt x="213" y="1088"/>
                    <a:pt x="206" y="1075"/>
                    <a:pt x="204" y="1069"/>
                  </a:cubicBezTo>
                  <a:cubicBezTo>
                    <a:pt x="201" y="1062"/>
                    <a:pt x="202" y="1055"/>
                    <a:pt x="202" y="1043"/>
                  </a:cubicBezTo>
                  <a:cubicBezTo>
                    <a:pt x="202" y="1031"/>
                    <a:pt x="213" y="991"/>
                    <a:pt x="225" y="947"/>
                  </a:cubicBezTo>
                  <a:cubicBezTo>
                    <a:pt x="237" y="903"/>
                    <a:pt x="234" y="852"/>
                    <a:pt x="234" y="852"/>
                  </a:cubicBezTo>
                  <a:cubicBezTo>
                    <a:pt x="243" y="852"/>
                    <a:pt x="243" y="852"/>
                    <a:pt x="243" y="852"/>
                  </a:cubicBezTo>
                  <a:cubicBezTo>
                    <a:pt x="243" y="852"/>
                    <a:pt x="244" y="787"/>
                    <a:pt x="251" y="721"/>
                  </a:cubicBezTo>
                  <a:cubicBezTo>
                    <a:pt x="258" y="654"/>
                    <a:pt x="248" y="585"/>
                    <a:pt x="248" y="566"/>
                  </a:cubicBezTo>
                  <a:cubicBezTo>
                    <a:pt x="248" y="547"/>
                    <a:pt x="255" y="539"/>
                    <a:pt x="265" y="535"/>
                  </a:cubicBezTo>
                  <a:cubicBezTo>
                    <a:pt x="276" y="530"/>
                    <a:pt x="277" y="528"/>
                    <a:pt x="272" y="510"/>
                  </a:cubicBezTo>
                  <a:cubicBezTo>
                    <a:pt x="266" y="492"/>
                    <a:pt x="258" y="449"/>
                    <a:pt x="258" y="449"/>
                  </a:cubicBezTo>
                  <a:cubicBezTo>
                    <a:pt x="258" y="449"/>
                    <a:pt x="257" y="443"/>
                    <a:pt x="251" y="424"/>
                  </a:cubicBezTo>
                  <a:cubicBezTo>
                    <a:pt x="244" y="406"/>
                    <a:pt x="244" y="388"/>
                    <a:pt x="244" y="388"/>
                  </a:cubicBezTo>
                  <a:cubicBezTo>
                    <a:pt x="244" y="388"/>
                    <a:pt x="256" y="378"/>
                    <a:pt x="257" y="366"/>
                  </a:cubicBezTo>
                  <a:close/>
                  <a:moveTo>
                    <a:pt x="102" y="452"/>
                  </a:moveTo>
                  <a:cubicBezTo>
                    <a:pt x="110" y="434"/>
                    <a:pt x="110" y="434"/>
                    <a:pt x="110" y="434"/>
                  </a:cubicBezTo>
                  <a:cubicBezTo>
                    <a:pt x="114" y="452"/>
                    <a:pt x="114" y="452"/>
                    <a:pt x="114" y="452"/>
                  </a:cubicBezTo>
                  <a:lnTo>
                    <a:pt x="102" y="452"/>
                  </a:lnTo>
                  <a:close/>
                  <a:moveTo>
                    <a:pt x="168" y="213"/>
                  </a:moveTo>
                  <a:cubicBezTo>
                    <a:pt x="158" y="230"/>
                    <a:pt x="141" y="260"/>
                    <a:pt x="135" y="285"/>
                  </a:cubicBezTo>
                  <a:cubicBezTo>
                    <a:pt x="128" y="309"/>
                    <a:pt x="117" y="344"/>
                    <a:pt x="117" y="344"/>
                  </a:cubicBezTo>
                  <a:cubicBezTo>
                    <a:pt x="117" y="344"/>
                    <a:pt x="116" y="338"/>
                    <a:pt x="115" y="329"/>
                  </a:cubicBezTo>
                  <a:cubicBezTo>
                    <a:pt x="114" y="320"/>
                    <a:pt x="114" y="277"/>
                    <a:pt x="114" y="257"/>
                  </a:cubicBezTo>
                  <a:cubicBezTo>
                    <a:pt x="114" y="237"/>
                    <a:pt x="115" y="220"/>
                    <a:pt x="112" y="219"/>
                  </a:cubicBezTo>
                  <a:cubicBezTo>
                    <a:pt x="108" y="217"/>
                    <a:pt x="102" y="205"/>
                    <a:pt x="102" y="205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17" y="218"/>
                    <a:pt x="129" y="210"/>
                    <a:pt x="134" y="223"/>
                  </a:cubicBezTo>
                  <a:cubicBezTo>
                    <a:pt x="138" y="236"/>
                    <a:pt x="133" y="269"/>
                    <a:pt x="136" y="253"/>
                  </a:cubicBezTo>
                  <a:cubicBezTo>
                    <a:pt x="138" y="238"/>
                    <a:pt x="146" y="237"/>
                    <a:pt x="152" y="222"/>
                  </a:cubicBezTo>
                  <a:cubicBezTo>
                    <a:pt x="159" y="207"/>
                    <a:pt x="139" y="196"/>
                    <a:pt x="139" y="196"/>
                  </a:cubicBezTo>
                  <a:cubicBezTo>
                    <a:pt x="139" y="196"/>
                    <a:pt x="150" y="192"/>
                    <a:pt x="159" y="184"/>
                  </a:cubicBezTo>
                  <a:cubicBezTo>
                    <a:pt x="169" y="175"/>
                    <a:pt x="182" y="164"/>
                    <a:pt x="182" y="164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89" y="176"/>
                    <a:pt x="178" y="196"/>
                    <a:pt x="168" y="21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Freeform 4">
              <a:extLst>
                <a:ext uri="{FF2B5EF4-FFF2-40B4-BE49-F238E27FC236}">
                  <a16:creationId xmlns:a16="http://schemas.microsoft.com/office/drawing/2014/main" id="{D5095088-36D4-4805-8B6B-42637FB4D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360" y="3692194"/>
              <a:ext cx="734785" cy="2290704"/>
            </a:xfrm>
            <a:custGeom>
              <a:avLst/>
              <a:gdLst>
                <a:gd name="T0" fmla="*/ 379 w 386"/>
                <a:gd name="T1" fmla="*/ 464 h 1210"/>
                <a:gd name="T2" fmla="*/ 364 w 386"/>
                <a:gd name="T3" fmla="*/ 267 h 1210"/>
                <a:gd name="T4" fmla="*/ 269 w 386"/>
                <a:gd name="T5" fmla="*/ 191 h 1210"/>
                <a:gd name="T6" fmla="*/ 251 w 386"/>
                <a:gd name="T7" fmla="*/ 145 h 1210"/>
                <a:gd name="T8" fmla="*/ 266 w 386"/>
                <a:gd name="T9" fmla="*/ 116 h 1210"/>
                <a:gd name="T10" fmla="*/ 263 w 386"/>
                <a:gd name="T11" fmla="*/ 82 h 1210"/>
                <a:gd name="T12" fmla="*/ 205 w 386"/>
                <a:gd name="T13" fmla="*/ 0 h 1210"/>
                <a:gd name="T14" fmla="*/ 155 w 386"/>
                <a:gd name="T15" fmla="*/ 90 h 1210"/>
                <a:gd name="T16" fmla="*/ 174 w 386"/>
                <a:gd name="T17" fmla="*/ 126 h 1210"/>
                <a:gd name="T18" fmla="*/ 176 w 386"/>
                <a:gd name="T19" fmla="*/ 167 h 1210"/>
                <a:gd name="T20" fmla="*/ 177 w 386"/>
                <a:gd name="T21" fmla="*/ 167 h 1210"/>
                <a:gd name="T22" fmla="*/ 156 w 386"/>
                <a:gd name="T23" fmla="*/ 186 h 1210"/>
                <a:gd name="T24" fmla="*/ 99 w 386"/>
                <a:gd name="T25" fmla="*/ 207 h 1210"/>
                <a:gd name="T26" fmla="*/ 57 w 386"/>
                <a:gd name="T27" fmla="*/ 370 h 1210"/>
                <a:gd name="T28" fmla="*/ 38 w 386"/>
                <a:gd name="T29" fmla="*/ 604 h 1210"/>
                <a:gd name="T30" fmla="*/ 68 w 386"/>
                <a:gd name="T31" fmla="*/ 598 h 1210"/>
                <a:gd name="T32" fmla="*/ 68 w 386"/>
                <a:gd name="T33" fmla="*/ 607 h 1210"/>
                <a:gd name="T34" fmla="*/ 41 w 386"/>
                <a:gd name="T35" fmla="*/ 619 h 1210"/>
                <a:gd name="T36" fmla="*/ 47 w 386"/>
                <a:gd name="T37" fmla="*/ 662 h 1210"/>
                <a:gd name="T38" fmla="*/ 3 w 386"/>
                <a:gd name="T39" fmla="*/ 849 h 1210"/>
                <a:gd name="T40" fmla="*/ 99 w 386"/>
                <a:gd name="T41" fmla="*/ 898 h 1210"/>
                <a:gd name="T42" fmla="*/ 118 w 386"/>
                <a:gd name="T43" fmla="*/ 899 h 1210"/>
                <a:gd name="T44" fmla="*/ 127 w 386"/>
                <a:gd name="T45" fmla="*/ 1051 h 1210"/>
                <a:gd name="T46" fmla="*/ 118 w 386"/>
                <a:gd name="T47" fmla="*/ 1153 h 1210"/>
                <a:gd name="T48" fmla="*/ 181 w 386"/>
                <a:gd name="T49" fmla="*/ 1159 h 1210"/>
                <a:gd name="T50" fmla="*/ 194 w 386"/>
                <a:gd name="T51" fmla="*/ 1084 h 1210"/>
                <a:gd name="T52" fmla="*/ 192 w 386"/>
                <a:gd name="T53" fmla="*/ 968 h 1210"/>
                <a:gd name="T54" fmla="*/ 222 w 386"/>
                <a:gd name="T55" fmla="*/ 712 h 1210"/>
                <a:gd name="T56" fmla="*/ 252 w 386"/>
                <a:gd name="T57" fmla="*/ 767 h 1210"/>
                <a:gd name="T58" fmla="*/ 285 w 386"/>
                <a:gd name="T59" fmla="*/ 1024 h 1210"/>
                <a:gd name="T60" fmla="*/ 277 w 386"/>
                <a:gd name="T61" fmla="*/ 1067 h 1210"/>
                <a:gd name="T62" fmla="*/ 298 w 386"/>
                <a:gd name="T63" fmla="*/ 1146 h 1210"/>
                <a:gd name="T64" fmla="*/ 355 w 386"/>
                <a:gd name="T65" fmla="*/ 1205 h 1210"/>
                <a:gd name="T66" fmla="*/ 347 w 386"/>
                <a:gd name="T67" fmla="*/ 1105 h 1210"/>
                <a:gd name="T68" fmla="*/ 351 w 386"/>
                <a:gd name="T69" fmla="*/ 1046 h 1210"/>
                <a:gd name="T70" fmla="*/ 356 w 386"/>
                <a:gd name="T71" fmla="*/ 829 h 1210"/>
                <a:gd name="T72" fmla="*/ 354 w 386"/>
                <a:gd name="T73" fmla="*/ 603 h 1210"/>
                <a:gd name="T74" fmla="*/ 367 w 386"/>
                <a:gd name="T75" fmla="*/ 565 h 1210"/>
                <a:gd name="T76" fmla="*/ 109 w 386"/>
                <a:gd name="T77" fmla="*/ 669 h 1210"/>
                <a:gd name="T78" fmla="*/ 91 w 386"/>
                <a:gd name="T79" fmla="*/ 666 h 1210"/>
                <a:gd name="T80" fmla="*/ 90 w 386"/>
                <a:gd name="T81" fmla="*/ 617 h 1210"/>
                <a:gd name="T82" fmla="*/ 101 w 386"/>
                <a:gd name="T83" fmla="*/ 628 h 1210"/>
                <a:gd name="T84" fmla="*/ 108 w 386"/>
                <a:gd name="T85" fmla="*/ 649 h 1210"/>
                <a:gd name="T86" fmla="*/ 223 w 386"/>
                <a:gd name="T87" fmla="*/ 505 h 1210"/>
                <a:gd name="T88" fmla="*/ 221 w 386"/>
                <a:gd name="T89" fmla="*/ 232 h 1210"/>
                <a:gd name="T90" fmla="*/ 215 w 386"/>
                <a:gd name="T91" fmla="*/ 208 h 1210"/>
                <a:gd name="T92" fmla="*/ 205 w 386"/>
                <a:gd name="T93" fmla="*/ 231 h 1210"/>
                <a:gd name="T94" fmla="*/ 199 w 386"/>
                <a:gd name="T95" fmla="*/ 505 h 1210"/>
                <a:gd name="T96" fmla="*/ 190 w 386"/>
                <a:gd name="T97" fmla="*/ 325 h 1210"/>
                <a:gd name="T98" fmla="*/ 173 w 386"/>
                <a:gd name="T99" fmla="*/ 188 h 1210"/>
                <a:gd name="T100" fmla="*/ 182 w 386"/>
                <a:gd name="T101" fmla="*/ 176 h 1210"/>
                <a:gd name="T102" fmla="*/ 248 w 386"/>
                <a:gd name="T103" fmla="*/ 179 h 1210"/>
                <a:gd name="T104" fmla="*/ 259 w 386"/>
                <a:gd name="T105" fmla="*/ 196 h 1210"/>
                <a:gd name="T106" fmla="*/ 258 w 386"/>
                <a:gd name="T107" fmla="*/ 201 h 1210"/>
                <a:gd name="T108" fmla="*/ 260 w 386"/>
                <a:gd name="T109" fmla="*/ 256 h 1210"/>
                <a:gd name="T110" fmla="*/ 301 w 386"/>
                <a:gd name="T111" fmla="*/ 488 h 1210"/>
                <a:gd name="T112" fmla="*/ 360 w 386"/>
                <a:gd name="T113" fmla="*/ 585 h 1210"/>
                <a:gd name="T114" fmla="*/ 328 w 386"/>
                <a:gd name="T115" fmla="*/ 554 h 1210"/>
                <a:gd name="T116" fmla="*/ 360 w 386"/>
                <a:gd name="T117" fmla="*/ 585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6" h="1210">
                  <a:moveTo>
                    <a:pt x="379" y="512"/>
                  </a:moveTo>
                  <a:cubicBezTo>
                    <a:pt x="385" y="497"/>
                    <a:pt x="386" y="471"/>
                    <a:pt x="379" y="464"/>
                  </a:cubicBezTo>
                  <a:cubicBezTo>
                    <a:pt x="372" y="456"/>
                    <a:pt x="383" y="413"/>
                    <a:pt x="376" y="380"/>
                  </a:cubicBezTo>
                  <a:cubicBezTo>
                    <a:pt x="370" y="347"/>
                    <a:pt x="365" y="295"/>
                    <a:pt x="364" y="267"/>
                  </a:cubicBezTo>
                  <a:cubicBezTo>
                    <a:pt x="364" y="239"/>
                    <a:pt x="362" y="219"/>
                    <a:pt x="326" y="210"/>
                  </a:cubicBezTo>
                  <a:cubicBezTo>
                    <a:pt x="302" y="204"/>
                    <a:pt x="282" y="197"/>
                    <a:pt x="269" y="191"/>
                  </a:cubicBezTo>
                  <a:cubicBezTo>
                    <a:pt x="269" y="191"/>
                    <a:pt x="255" y="179"/>
                    <a:pt x="252" y="168"/>
                  </a:cubicBezTo>
                  <a:cubicBezTo>
                    <a:pt x="251" y="159"/>
                    <a:pt x="251" y="150"/>
                    <a:pt x="251" y="145"/>
                  </a:cubicBezTo>
                  <a:cubicBezTo>
                    <a:pt x="253" y="136"/>
                    <a:pt x="253" y="129"/>
                    <a:pt x="253" y="124"/>
                  </a:cubicBezTo>
                  <a:cubicBezTo>
                    <a:pt x="253" y="118"/>
                    <a:pt x="264" y="126"/>
                    <a:pt x="266" y="116"/>
                  </a:cubicBezTo>
                  <a:cubicBezTo>
                    <a:pt x="269" y="107"/>
                    <a:pt x="271" y="85"/>
                    <a:pt x="269" y="84"/>
                  </a:cubicBezTo>
                  <a:cubicBezTo>
                    <a:pt x="267" y="82"/>
                    <a:pt x="265" y="82"/>
                    <a:pt x="263" y="82"/>
                  </a:cubicBezTo>
                  <a:cubicBezTo>
                    <a:pt x="263" y="79"/>
                    <a:pt x="265" y="59"/>
                    <a:pt x="263" y="38"/>
                  </a:cubicBezTo>
                  <a:cubicBezTo>
                    <a:pt x="262" y="18"/>
                    <a:pt x="242" y="2"/>
                    <a:pt x="205" y="0"/>
                  </a:cubicBezTo>
                  <a:cubicBezTo>
                    <a:pt x="184" y="0"/>
                    <a:pt x="160" y="16"/>
                    <a:pt x="157" y="38"/>
                  </a:cubicBezTo>
                  <a:cubicBezTo>
                    <a:pt x="154" y="60"/>
                    <a:pt x="155" y="90"/>
                    <a:pt x="155" y="90"/>
                  </a:cubicBezTo>
                  <a:cubicBezTo>
                    <a:pt x="155" y="90"/>
                    <a:pt x="148" y="105"/>
                    <a:pt x="154" y="117"/>
                  </a:cubicBezTo>
                  <a:cubicBezTo>
                    <a:pt x="160" y="129"/>
                    <a:pt x="174" y="126"/>
                    <a:pt x="174" y="126"/>
                  </a:cubicBezTo>
                  <a:cubicBezTo>
                    <a:pt x="174" y="126"/>
                    <a:pt x="177" y="145"/>
                    <a:pt x="177" y="155"/>
                  </a:cubicBezTo>
                  <a:cubicBezTo>
                    <a:pt x="177" y="160"/>
                    <a:pt x="177" y="164"/>
                    <a:pt x="176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77" y="167"/>
                    <a:pt x="177" y="167"/>
                  </a:cubicBezTo>
                  <a:cubicBezTo>
                    <a:pt x="176" y="167"/>
                    <a:pt x="176" y="167"/>
                    <a:pt x="176" y="167"/>
                  </a:cubicBezTo>
                  <a:cubicBezTo>
                    <a:pt x="176" y="167"/>
                    <a:pt x="164" y="182"/>
                    <a:pt x="156" y="186"/>
                  </a:cubicBezTo>
                  <a:cubicBezTo>
                    <a:pt x="143" y="192"/>
                    <a:pt x="123" y="200"/>
                    <a:pt x="107" y="205"/>
                  </a:cubicBezTo>
                  <a:cubicBezTo>
                    <a:pt x="104" y="206"/>
                    <a:pt x="102" y="206"/>
                    <a:pt x="99" y="207"/>
                  </a:cubicBezTo>
                  <a:cubicBezTo>
                    <a:pt x="80" y="213"/>
                    <a:pt x="65" y="218"/>
                    <a:pt x="65" y="244"/>
                  </a:cubicBezTo>
                  <a:cubicBezTo>
                    <a:pt x="64" y="274"/>
                    <a:pt x="61" y="331"/>
                    <a:pt x="57" y="370"/>
                  </a:cubicBezTo>
                  <a:cubicBezTo>
                    <a:pt x="53" y="408"/>
                    <a:pt x="41" y="490"/>
                    <a:pt x="41" y="516"/>
                  </a:cubicBezTo>
                  <a:cubicBezTo>
                    <a:pt x="40" y="542"/>
                    <a:pt x="37" y="598"/>
                    <a:pt x="38" y="604"/>
                  </a:cubicBezTo>
                  <a:cubicBezTo>
                    <a:pt x="38" y="609"/>
                    <a:pt x="42" y="609"/>
                    <a:pt x="42" y="615"/>
                  </a:cubicBezTo>
                  <a:cubicBezTo>
                    <a:pt x="43" y="612"/>
                    <a:pt x="48" y="598"/>
                    <a:pt x="68" y="598"/>
                  </a:cubicBezTo>
                  <a:cubicBezTo>
                    <a:pt x="90" y="598"/>
                    <a:pt x="90" y="614"/>
                    <a:pt x="90" y="614"/>
                  </a:cubicBezTo>
                  <a:cubicBezTo>
                    <a:pt x="83" y="607"/>
                    <a:pt x="83" y="607"/>
                    <a:pt x="68" y="607"/>
                  </a:cubicBezTo>
                  <a:cubicBezTo>
                    <a:pt x="54" y="606"/>
                    <a:pt x="43" y="614"/>
                    <a:pt x="42" y="615"/>
                  </a:cubicBezTo>
                  <a:cubicBezTo>
                    <a:pt x="42" y="616"/>
                    <a:pt x="42" y="618"/>
                    <a:pt x="41" y="619"/>
                  </a:cubicBezTo>
                  <a:cubicBezTo>
                    <a:pt x="39" y="630"/>
                    <a:pt x="39" y="639"/>
                    <a:pt x="45" y="646"/>
                  </a:cubicBezTo>
                  <a:cubicBezTo>
                    <a:pt x="50" y="653"/>
                    <a:pt x="47" y="662"/>
                    <a:pt x="47" y="662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849"/>
                    <a:pt x="3" y="849"/>
                    <a:pt x="3" y="849"/>
                  </a:cubicBezTo>
                  <a:cubicBezTo>
                    <a:pt x="78" y="907"/>
                    <a:pt x="78" y="907"/>
                    <a:pt x="78" y="907"/>
                  </a:cubicBezTo>
                  <a:cubicBezTo>
                    <a:pt x="78" y="907"/>
                    <a:pt x="89" y="899"/>
                    <a:pt x="99" y="898"/>
                  </a:cubicBezTo>
                  <a:cubicBezTo>
                    <a:pt x="100" y="898"/>
                    <a:pt x="101" y="898"/>
                    <a:pt x="101" y="898"/>
                  </a:cubicBezTo>
                  <a:cubicBezTo>
                    <a:pt x="112" y="898"/>
                    <a:pt x="118" y="899"/>
                    <a:pt x="118" y="899"/>
                  </a:cubicBezTo>
                  <a:cubicBezTo>
                    <a:pt x="118" y="899"/>
                    <a:pt x="115" y="955"/>
                    <a:pt x="115" y="977"/>
                  </a:cubicBezTo>
                  <a:cubicBezTo>
                    <a:pt x="115" y="1000"/>
                    <a:pt x="117" y="1035"/>
                    <a:pt x="127" y="1051"/>
                  </a:cubicBezTo>
                  <a:cubicBezTo>
                    <a:pt x="136" y="1067"/>
                    <a:pt x="138" y="1073"/>
                    <a:pt x="138" y="1087"/>
                  </a:cubicBezTo>
                  <a:cubicBezTo>
                    <a:pt x="138" y="1101"/>
                    <a:pt x="117" y="1140"/>
                    <a:pt x="118" y="1153"/>
                  </a:cubicBezTo>
                  <a:cubicBezTo>
                    <a:pt x="118" y="1166"/>
                    <a:pt x="121" y="1186"/>
                    <a:pt x="143" y="1186"/>
                  </a:cubicBezTo>
                  <a:cubicBezTo>
                    <a:pt x="165" y="1185"/>
                    <a:pt x="181" y="1176"/>
                    <a:pt x="181" y="1159"/>
                  </a:cubicBezTo>
                  <a:cubicBezTo>
                    <a:pt x="181" y="1141"/>
                    <a:pt x="178" y="1130"/>
                    <a:pt x="185" y="1124"/>
                  </a:cubicBezTo>
                  <a:cubicBezTo>
                    <a:pt x="193" y="1117"/>
                    <a:pt x="181" y="1101"/>
                    <a:pt x="194" y="1084"/>
                  </a:cubicBezTo>
                  <a:cubicBezTo>
                    <a:pt x="206" y="1067"/>
                    <a:pt x="193" y="1066"/>
                    <a:pt x="196" y="1050"/>
                  </a:cubicBezTo>
                  <a:cubicBezTo>
                    <a:pt x="199" y="1034"/>
                    <a:pt x="193" y="987"/>
                    <a:pt x="192" y="968"/>
                  </a:cubicBezTo>
                  <a:cubicBezTo>
                    <a:pt x="191" y="949"/>
                    <a:pt x="194" y="926"/>
                    <a:pt x="204" y="846"/>
                  </a:cubicBezTo>
                  <a:cubicBezTo>
                    <a:pt x="213" y="765"/>
                    <a:pt x="219" y="729"/>
                    <a:pt x="222" y="712"/>
                  </a:cubicBezTo>
                  <a:cubicBezTo>
                    <a:pt x="225" y="694"/>
                    <a:pt x="229" y="672"/>
                    <a:pt x="229" y="672"/>
                  </a:cubicBezTo>
                  <a:cubicBezTo>
                    <a:pt x="229" y="672"/>
                    <a:pt x="242" y="748"/>
                    <a:pt x="252" y="767"/>
                  </a:cubicBezTo>
                  <a:cubicBezTo>
                    <a:pt x="262" y="785"/>
                    <a:pt x="274" y="879"/>
                    <a:pt x="277" y="907"/>
                  </a:cubicBezTo>
                  <a:cubicBezTo>
                    <a:pt x="280" y="934"/>
                    <a:pt x="278" y="1015"/>
                    <a:pt x="285" y="1024"/>
                  </a:cubicBezTo>
                  <a:cubicBezTo>
                    <a:pt x="291" y="1032"/>
                    <a:pt x="294" y="1044"/>
                    <a:pt x="294" y="1044"/>
                  </a:cubicBezTo>
                  <a:cubicBezTo>
                    <a:pt x="294" y="1044"/>
                    <a:pt x="277" y="1054"/>
                    <a:pt x="277" y="1067"/>
                  </a:cubicBezTo>
                  <a:cubicBezTo>
                    <a:pt x="277" y="1081"/>
                    <a:pt x="290" y="1092"/>
                    <a:pt x="289" y="1110"/>
                  </a:cubicBezTo>
                  <a:cubicBezTo>
                    <a:pt x="289" y="1128"/>
                    <a:pt x="291" y="1143"/>
                    <a:pt x="298" y="1146"/>
                  </a:cubicBezTo>
                  <a:cubicBezTo>
                    <a:pt x="305" y="1150"/>
                    <a:pt x="304" y="1180"/>
                    <a:pt x="313" y="1191"/>
                  </a:cubicBezTo>
                  <a:cubicBezTo>
                    <a:pt x="322" y="1201"/>
                    <a:pt x="337" y="1210"/>
                    <a:pt x="355" y="1205"/>
                  </a:cubicBezTo>
                  <a:cubicBezTo>
                    <a:pt x="373" y="1199"/>
                    <a:pt x="373" y="1175"/>
                    <a:pt x="364" y="1152"/>
                  </a:cubicBezTo>
                  <a:cubicBezTo>
                    <a:pt x="355" y="1129"/>
                    <a:pt x="344" y="1114"/>
                    <a:pt x="347" y="1105"/>
                  </a:cubicBezTo>
                  <a:cubicBezTo>
                    <a:pt x="351" y="1096"/>
                    <a:pt x="354" y="1082"/>
                    <a:pt x="345" y="1073"/>
                  </a:cubicBezTo>
                  <a:cubicBezTo>
                    <a:pt x="336" y="1064"/>
                    <a:pt x="345" y="1054"/>
                    <a:pt x="351" y="1046"/>
                  </a:cubicBezTo>
                  <a:cubicBezTo>
                    <a:pt x="357" y="1038"/>
                    <a:pt x="356" y="1002"/>
                    <a:pt x="356" y="982"/>
                  </a:cubicBezTo>
                  <a:cubicBezTo>
                    <a:pt x="357" y="962"/>
                    <a:pt x="354" y="864"/>
                    <a:pt x="356" y="829"/>
                  </a:cubicBezTo>
                  <a:cubicBezTo>
                    <a:pt x="357" y="793"/>
                    <a:pt x="360" y="685"/>
                    <a:pt x="355" y="655"/>
                  </a:cubicBezTo>
                  <a:cubicBezTo>
                    <a:pt x="350" y="625"/>
                    <a:pt x="354" y="603"/>
                    <a:pt x="354" y="603"/>
                  </a:cubicBezTo>
                  <a:cubicBezTo>
                    <a:pt x="354" y="603"/>
                    <a:pt x="366" y="609"/>
                    <a:pt x="366" y="597"/>
                  </a:cubicBezTo>
                  <a:cubicBezTo>
                    <a:pt x="366" y="586"/>
                    <a:pt x="362" y="584"/>
                    <a:pt x="367" y="565"/>
                  </a:cubicBezTo>
                  <a:cubicBezTo>
                    <a:pt x="372" y="545"/>
                    <a:pt x="373" y="527"/>
                    <a:pt x="379" y="512"/>
                  </a:cubicBezTo>
                  <a:close/>
                  <a:moveTo>
                    <a:pt x="109" y="669"/>
                  </a:moveTo>
                  <a:cubicBezTo>
                    <a:pt x="99" y="668"/>
                    <a:pt x="99" y="668"/>
                    <a:pt x="99" y="668"/>
                  </a:cubicBezTo>
                  <a:cubicBezTo>
                    <a:pt x="91" y="666"/>
                    <a:pt x="91" y="666"/>
                    <a:pt x="91" y="666"/>
                  </a:cubicBezTo>
                  <a:cubicBezTo>
                    <a:pt x="91" y="666"/>
                    <a:pt x="93" y="653"/>
                    <a:pt x="90" y="644"/>
                  </a:cubicBezTo>
                  <a:cubicBezTo>
                    <a:pt x="87" y="635"/>
                    <a:pt x="88" y="627"/>
                    <a:pt x="90" y="617"/>
                  </a:cubicBezTo>
                  <a:cubicBezTo>
                    <a:pt x="90" y="617"/>
                    <a:pt x="93" y="627"/>
                    <a:pt x="99" y="628"/>
                  </a:cubicBezTo>
                  <a:cubicBezTo>
                    <a:pt x="100" y="628"/>
                    <a:pt x="100" y="628"/>
                    <a:pt x="101" y="628"/>
                  </a:cubicBezTo>
                  <a:cubicBezTo>
                    <a:pt x="108" y="628"/>
                    <a:pt x="111" y="629"/>
                    <a:pt x="111" y="629"/>
                  </a:cubicBezTo>
                  <a:cubicBezTo>
                    <a:pt x="111" y="629"/>
                    <a:pt x="108" y="640"/>
                    <a:pt x="108" y="649"/>
                  </a:cubicBezTo>
                  <a:cubicBezTo>
                    <a:pt x="108" y="659"/>
                    <a:pt x="109" y="669"/>
                    <a:pt x="109" y="669"/>
                  </a:cubicBezTo>
                  <a:close/>
                  <a:moveTo>
                    <a:pt x="223" y="505"/>
                  </a:moveTo>
                  <a:cubicBezTo>
                    <a:pt x="225" y="464"/>
                    <a:pt x="224" y="347"/>
                    <a:pt x="223" y="322"/>
                  </a:cubicBezTo>
                  <a:cubicBezTo>
                    <a:pt x="223" y="296"/>
                    <a:pt x="218" y="239"/>
                    <a:pt x="221" y="232"/>
                  </a:cubicBezTo>
                  <a:cubicBezTo>
                    <a:pt x="224" y="224"/>
                    <a:pt x="232" y="218"/>
                    <a:pt x="241" y="223"/>
                  </a:cubicBezTo>
                  <a:cubicBezTo>
                    <a:pt x="241" y="223"/>
                    <a:pt x="231" y="208"/>
                    <a:pt x="215" y="208"/>
                  </a:cubicBezTo>
                  <a:cubicBezTo>
                    <a:pt x="199" y="208"/>
                    <a:pt x="188" y="223"/>
                    <a:pt x="188" y="223"/>
                  </a:cubicBezTo>
                  <a:cubicBezTo>
                    <a:pt x="188" y="223"/>
                    <a:pt x="206" y="219"/>
                    <a:pt x="205" y="231"/>
                  </a:cubicBezTo>
                  <a:cubicBezTo>
                    <a:pt x="205" y="243"/>
                    <a:pt x="199" y="305"/>
                    <a:pt x="199" y="346"/>
                  </a:cubicBezTo>
                  <a:cubicBezTo>
                    <a:pt x="199" y="383"/>
                    <a:pt x="196" y="472"/>
                    <a:pt x="199" y="505"/>
                  </a:cubicBezTo>
                  <a:cubicBezTo>
                    <a:pt x="187" y="504"/>
                    <a:pt x="183" y="503"/>
                    <a:pt x="183" y="503"/>
                  </a:cubicBezTo>
                  <a:cubicBezTo>
                    <a:pt x="183" y="503"/>
                    <a:pt x="194" y="386"/>
                    <a:pt x="190" y="325"/>
                  </a:cubicBezTo>
                  <a:cubicBezTo>
                    <a:pt x="186" y="279"/>
                    <a:pt x="178" y="220"/>
                    <a:pt x="173" y="188"/>
                  </a:cubicBezTo>
                  <a:cubicBezTo>
                    <a:pt x="173" y="188"/>
                    <a:pt x="173" y="188"/>
                    <a:pt x="173" y="188"/>
                  </a:cubicBezTo>
                  <a:cubicBezTo>
                    <a:pt x="173" y="188"/>
                    <a:pt x="178" y="170"/>
                    <a:pt x="182" y="176"/>
                  </a:cubicBezTo>
                  <a:cubicBezTo>
                    <a:pt x="182" y="176"/>
                    <a:pt x="182" y="176"/>
                    <a:pt x="182" y="176"/>
                  </a:cubicBezTo>
                  <a:cubicBezTo>
                    <a:pt x="190" y="189"/>
                    <a:pt x="203" y="204"/>
                    <a:pt x="212" y="204"/>
                  </a:cubicBezTo>
                  <a:cubicBezTo>
                    <a:pt x="222" y="204"/>
                    <a:pt x="238" y="193"/>
                    <a:pt x="248" y="179"/>
                  </a:cubicBezTo>
                  <a:cubicBezTo>
                    <a:pt x="248" y="179"/>
                    <a:pt x="248" y="179"/>
                    <a:pt x="248" y="179"/>
                  </a:cubicBezTo>
                  <a:cubicBezTo>
                    <a:pt x="248" y="179"/>
                    <a:pt x="258" y="182"/>
                    <a:pt x="259" y="196"/>
                  </a:cubicBezTo>
                  <a:cubicBezTo>
                    <a:pt x="259" y="197"/>
                    <a:pt x="258" y="199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01"/>
                    <a:pt x="258" y="201"/>
                    <a:pt x="258" y="201"/>
                  </a:cubicBezTo>
                  <a:cubicBezTo>
                    <a:pt x="258" y="213"/>
                    <a:pt x="258" y="230"/>
                    <a:pt x="260" y="256"/>
                  </a:cubicBezTo>
                  <a:cubicBezTo>
                    <a:pt x="263" y="335"/>
                    <a:pt x="277" y="429"/>
                    <a:pt x="284" y="450"/>
                  </a:cubicBezTo>
                  <a:cubicBezTo>
                    <a:pt x="292" y="472"/>
                    <a:pt x="301" y="488"/>
                    <a:pt x="301" y="488"/>
                  </a:cubicBezTo>
                  <a:cubicBezTo>
                    <a:pt x="301" y="488"/>
                    <a:pt x="251" y="504"/>
                    <a:pt x="223" y="505"/>
                  </a:cubicBezTo>
                  <a:close/>
                  <a:moveTo>
                    <a:pt x="360" y="585"/>
                  </a:moveTo>
                  <a:cubicBezTo>
                    <a:pt x="358" y="573"/>
                    <a:pt x="361" y="568"/>
                    <a:pt x="352" y="561"/>
                  </a:cubicBezTo>
                  <a:cubicBezTo>
                    <a:pt x="343" y="554"/>
                    <a:pt x="328" y="554"/>
                    <a:pt x="328" y="554"/>
                  </a:cubicBezTo>
                  <a:cubicBezTo>
                    <a:pt x="328" y="554"/>
                    <a:pt x="350" y="545"/>
                    <a:pt x="360" y="557"/>
                  </a:cubicBezTo>
                  <a:cubicBezTo>
                    <a:pt x="369" y="570"/>
                    <a:pt x="360" y="585"/>
                    <a:pt x="360" y="58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6000"/>
                </a:prstClr>
              </a:out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24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1" name="Rectangle: Rounded Corners 28">
            <a:extLst>
              <a:ext uri="{FF2B5EF4-FFF2-40B4-BE49-F238E27FC236}">
                <a16:creationId xmlns:a16="http://schemas.microsoft.com/office/drawing/2014/main" id="{9957B1FD-542E-4953-BBB9-29CB3BDA1E05}"/>
              </a:ext>
            </a:extLst>
          </p:cNvPr>
          <p:cNvSpPr/>
          <p:nvPr/>
        </p:nvSpPr>
        <p:spPr bwMode="auto">
          <a:xfrm>
            <a:off x="1942747" y="2975773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Key Metri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DE66097-5F7C-4D6C-9EAE-89D148EB64BE}"/>
              </a:ext>
            </a:extLst>
          </p:cNvPr>
          <p:cNvSpPr/>
          <p:nvPr/>
        </p:nvSpPr>
        <p:spPr>
          <a:xfrm>
            <a:off x="704703" y="3590014"/>
            <a:ext cx="2037358" cy="107986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2F8C84-CD6E-4090-ACAC-F05983E2FF67}"/>
              </a:ext>
            </a:extLst>
          </p:cNvPr>
          <p:cNvSpPr/>
          <p:nvPr/>
        </p:nvSpPr>
        <p:spPr>
          <a:xfrm>
            <a:off x="634986" y="3522809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AB47CA-6502-4141-9EF9-81C9261C39EF}"/>
              </a:ext>
            </a:extLst>
          </p:cNvPr>
          <p:cNvSpPr txBox="1"/>
          <p:nvPr/>
        </p:nvSpPr>
        <p:spPr>
          <a:xfrm>
            <a:off x="769799" y="3760656"/>
            <a:ext cx="1722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BF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36M Revenu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B76F351-0154-408F-A7EE-B9082CD1AFBA}"/>
              </a:ext>
            </a:extLst>
          </p:cNvPr>
          <p:cNvSpPr txBox="1"/>
          <p:nvPr/>
        </p:nvSpPr>
        <p:spPr>
          <a:xfrm>
            <a:off x="634182" y="4147275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Year 2022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346CC4B-EFB0-4114-8A18-C52172620088}"/>
              </a:ext>
            </a:extLst>
          </p:cNvPr>
          <p:cNvSpPr/>
          <p:nvPr/>
        </p:nvSpPr>
        <p:spPr>
          <a:xfrm>
            <a:off x="2944460" y="3651387"/>
            <a:ext cx="1998986" cy="10184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2DFB2B-4115-41CA-A31C-F1ED3A0648D9}"/>
              </a:ext>
            </a:extLst>
          </p:cNvPr>
          <p:cNvSpPr/>
          <p:nvPr/>
        </p:nvSpPr>
        <p:spPr>
          <a:xfrm>
            <a:off x="2839263" y="3519661"/>
            <a:ext cx="1980000" cy="998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F3DB05-D207-46BB-972B-420BC6E0C9FF}"/>
              </a:ext>
            </a:extLst>
          </p:cNvPr>
          <p:cNvSpPr txBox="1"/>
          <p:nvPr/>
        </p:nvSpPr>
        <p:spPr>
          <a:xfrm>
            <a:off x="2908980" y="3559565"/>
            <a:ext cx="18988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72 Opportuniti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04B9A3B-80F7-4653-91B8-6AAEC289CE15}"/>
              </a:ext>
            </a:extLst>
          </p:cNvPr>
          <p:cNvSpPr txBox="1"/>
          <p:nvPr/>
        </p:nvSpPr>
        <p:spPr>
          <a:xfrm>
            <a:off x="2838457" y="4147276"/>
            <a:ext cx="1969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Year 2022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CB99C33-F120-42F0-8547-B3C66ECFEC77}"/>
              </a:ext>
            </a:extLst>
          </p:cNvPr>
          <p:cNvSpPr/>
          <p:nvPr/>
        </p:nvSpPr>
        <p:spPr>
          <a:xfrm>
            <a:off x="5371505" y="1785413"/>
            <a:ext cx="5750734" cy="2732869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ectangle: Rounded Corners 28">
            <a:extLst>
              <a:ext uri="{FF2B5EF4-FFF2-40B4-BE49-F238E27FC236}">
                <a16:creationId xmlns:a16="http://schemas.microsoft.com/office/drawing/2014/main" id="{DBE4E9F7-16FC-4882-A435-EF64BBEC7884}"/>
              </a:ext>
            </a:extLst>
          </p:cNvPr>
          <p:cNvSpPr/>
          <p:nvPr/>
        </p:nvSpPr>
        <p:spPr bwMode="auto">
          <a:xfrm>
            <a:off x="6460268" y="1690493"/>
            <a:ext cx="3723117" cy="25991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BUSINESS C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B7AB1A-0689-4793-8B55-8CCECE2348F9}"/>
              </a:ext>
            </a:extLst>
          </p:cNvPr>
          <p:cNvSpPr txBox="1"/>
          <p:nvPr/>
        </p:nvSpPr>
        <p:spPr>
          <a:xfrm>
            <a:off x="5446768" y="2149158"/>
            <a:ext cx="567547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to ED&amp;A´s involvement MedSci team was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cking real-time automated metric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dership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d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visibility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area performance and PIC´s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re only receiving ad-hoc reporting 2X per year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175991-4FDD-4605-8513-783EA38CBA9D}"/>
              </a:ext>
            </a:extLst>
          </p:cNvPr>
          <p:cNvSpPr txBox="1"/>
          <p:nvPr/>
        </p:nvSpPr>
        <p:spPr>
          <a:xfrm>
            <a:off x="5432637" y="2938437"/>
            <a:ext cx="56896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ter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months engagem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results have been: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2F2EA4-756C-4B8C-9F5C-ACDA8BBAF04B}"/>
              </a:ext>
            </a:extLst>
          </p:cNvPr>
          <p:cNvSpPr txBox="1"/>
          <p:nvPr/>
        </p:nvSpPr>
        <p:spPr>
          <a:xfrm>
            <a:off x="5492571" y="3592523"/>
            <a:ext cx="18574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ekly real time reporting for Leadership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4CE4A65-599C-404B-A76F-808C7E09D75D}"/>
              </a:ext>
            </a:extLst>
          </p:cNvPr>
          <p:cNvSpPr txBox="1"/>
          <p:nvPr/>
        </p:nvSpPr>
        <p:spPr>
          <a:xfrm>
            <a:off x="7550820" y="3595754"/>
            <a:ext cx="10426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ear KPIs and metric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1DEDD24-27F0-4650-8818-8AC3D4D22E4A}"/>
              </a:ext>
            </a:extLst>
          </p:cNvPr>
          <p:cNvSpPr txBox="1"/>
          <p:nvPr/>
        </p:nvSpPr>
        <p:spPr>
          <a:xfrm>
            <a:off x="8782544" y="3507084"/>
            <a:ext cx="22547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alized reporting for ~ 20 unique PIC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distributed every 2 weeks via email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1CDF162-81BF-4819-B3AF-193C81C451B9}"/>
              </a:ext>
            </a:extLst>
          </p:cNvPr>
          <p:cNvSpPr/>
          <p:nvPr/>
        </p:nvSpPr>
        <p:spPr>
          <a:xfrm>
            <a:off x="5376243" y="4895053"/>
            <a:ext cx="2736000" cy="1139589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CEC114D-E191-4446-A6C7-60F90C3A6E46}"/>
              </a:ext>
            </a:extLst>
          </p:cNvPr>
          <p:cNvSpPr/>
          <p:nvPr/>
        </p:nvSpPr>
        <p:spPr>
          <a:xfrm>
            <a:off x="8386239" y="4895054"/>
            <a:ext cx="2736000" cy="1168904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ectangle: Rounded Corners 28">
            <a:extLst>
              <a:ext uri="{FF2B5EF4-FFF2-40B4-BE49-F238E27FC236}">
                <a16:creationId xmlns:a16="http://schemas.microsoft.com/office/drawing/2014/main" id="{3D755988-E942-4C7C-B876-A3AD67E105EF}"/>
              </a:ext>
            </a:extLst>
          </p:cNvPr>
          <p:cNvSpPr/>
          <p:nvPr/>
        </p:nvSpPr>
        <p:spPr bwMode="auto">
          <a:xfrm>
            <a:off x="5945627" y="4765319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DATA SOURCES</a:t>
            </a:r>
          </a:p>
        </p:txBody>
      </p:sp>
      <p:sp>
        <p:nvSpPr>
          <p:cNvPr id="64" name="Rectangle: Rounded Corners 28">
            <a:extLst>
              <a:ext uri="{FF2B5EF4-FFF2-40B4-BE49-F238E27FC236}">
                <a16:creationId xmlns:a16="http://schemas.microsoft.com/office/drawing/2014/main" id="{5A0CAF75-CA30-40DB-8585-0C62F59864F1}"/>
              </a:ext>
            </a:extLst>
          </p:cNvPr>
          <p:cNvSpPr/>
          <p:nvPr/>
        </p:nvSpPr>
        <p:spPr bwMode="auto">
          <a:xfrm>
            <a:off x="8815906" y="4765319"/>
            <a:ext cx="1703321" cy="259913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charset="0"/>
              </a:rPr>
              <a:t>BENEFITS</a:t>
            </a:r>
          </a:p>
        </p:txBody>
      </p:sp>
      <p:pic>
        <p:nvPicPr>
          <p:cNvPr id="69" name="Picture 3" descr="Salesforce logo">
            <a:extLst>
              <a:ext uri="{FF2B5EF4-FFF2-40B4-BE49-F238E27FC236}">
                <a16:creationId xmlns:a16="http://schemas.microsoft.com/office/drawing/2014/main" id="{9AD23FFF-67F9-406B-A6E6-E144C51CB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338" y="5228977"/>
            <a:ext cx="698164" cy="46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A49E9B83-2C68-44F2-AA55-26CACF812903}"/>
              </a:ext>
            </a:extLst>
          </p:cNvPr>
          <p:cNvSpPr txBox="1"/>
          <p:nvPr/>
        </p:nvSpPr>
        <p:spPr>
          <a:xfrm>
            <a:off x="5446768" y="5786959"/>
            <a:ext cx="2680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 Covered: 2021, 2022 &amp; 2023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6F0F6FC-2F8E-4568-9912-2F28173F0437}"/>
              </a:ext>
            </a:extLst>
          </p:cNvPr>
          <p:cNvSpPr txBox="1"/>
          <p:nvPr/>
        </p:nvSpPr>
        <p:spPr>
          <a:xfrm>
            <a:off x="8448382" y="5048295"/>
            <a:ext cx="26738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3E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 To Market Strategy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increase sales win rate &amp; identify new revenue stream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3E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ibility on teams' performan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C86BDE6-C3DB-4C03-A036-C590FE2DA819}"/>
              </a:ext>
            </a:extLst>
          </p:cNvPr>
          <p:cNvSpPr/>
          <p:nvPr/>
        </p:nvSpPr>
        <p:spPr>
          <a:xfrm>
            <a:off x="704703" y="4989846"/>
            <a:ext cx="2037358" cy="10798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0E1B4AC-AE4B-45DE-86AF-2B14A54DA787}"/>
              </a:ext>
            </a:extLst>
          </p:cNvPr>
          <p:cNvSpPr/>
          <p:nvPr/>
        </p:nvSpPr>
        <p:spPr>
          <a:xfrm>
            <a:off x="634986" y="4922641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247000C-BD39-482C-9931-A3C8F50F570F}"/>
              </a:ext>
            </a:extLst>
          </p:cNvPr>
          <p:cNvSpPr/>
          <p:nvPr/>
        </p:nvSpPr>
        <p:spPr>
          <a:xfrm>
            <a:off x="2908980" y="4984090"/>
            <a:ext cx="2037358" cy="107986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C3EA30-B5EB-409F-8993-C26A5D69F8EC}"/>
              </a:ext>
            </a:extLst>
          </p:cNvPr>
          <p:cNvSpPr/>
          <p:nvPr/>
        </p:nvSpPr>
        <p:spPr>
          <a:xfrm>
            <a:off x="2839263" y="4916885"/>
            <a:ext cx="1980000" cy="9986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46CF565-7B62-4075-B568-3F402943E076}"/>
              </a:ext>
            </a:extLst>
          </p:cNvPr>
          <p:cNvSpPr txBox="1"/>
          <p:nvPr/>
        </p:nvSpPr>
        <p:spPr>
          <a:xfrm>
            <a:off x="2952871" y="5121898"/>
            <a:ext cx="1722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A3E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6% Win Rat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E82867-6B13-4C8E-8EA7-0268B59B58B8}"/>
              </a:ext>
            </a:extLst>
          </p:cNvPr>
          <p:cNvSpPr txBox="1"/>
          <p:nvPr/>
        </p:nvSpPr>
        <p:spPr>
          <a:xfrm>
            <a:off x="634986" y="5121898"/>
            <a:ext cx="197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93M TCV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2FFAE5A-8B9E-4082-BEF2-26C35B39D683}"/>
              </a:ext>
            </a:extLst>
          </p:cNvPr>
          <p:cNvSpPr txBox="1"/>
          <p:nvPr/>
        </p:nvSpPr>
        <p:spPr>
          <a:xfrm>
            <a:off x="646381" y="5589784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Year 2022)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96EAADB-2D72-4948-B3D9-5BD6250C55F6}"/>
              </a:ext>
            </a:extLst>
          </p:cNvPr>
          <p:cNvSpPr txBox="1"/>
          <p:nvPr/>
        </p:nvSpPr>
        <p:spPr>
          <a:xfrm>
            <a:off x="2833162" y="5589784"/>
            <a:ext cx="1979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Year 2022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36769A5-1DD4-48E2-BBCE-40FE2D884AA8}"/>
              </a:ext>
            </a:extLst>
          </p:cNvPr>
          <p:cNvSpPr txBox="1"/>
          <p:nvPr/>
        </p:nvSpPr>
        <p:spPr>
          <a:xfrm>
            <a:off x="362089" y="1031975"/>
            <a:ext cx="557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chemeClr val="accent1"/>
                </a:solidFill>
              </a:rPr>
              <a:t>Project Status: </a:t>
            </a:r>
            <a:r>
              <a:rPr lang="en-US" sz="1600" b="1" i="1">
                <a:solidFill>
                  <a:schemeClr val="accent4"/>
                </a:solidFill>
                <a:cs typeface="Arial"/>
              </a:rPr>
              <a:t>In Development – Target Feb 2023 </a:t>
            </a:r>
            <a:endParaRPr lang="en-US" sz="1600" i="1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3639E2-EC46-4FC6-9B0C-BEB5EB883CF4}"/>
              </a:ext>
            </a:extLst>
          </p:cNvPr>
          <p:cNvSpPr txBox="1"/>
          <p:nvPr/>
        </p:nvSpPr>
        <p:spPr>
          <a:xfrm>
            <a:off x="1648930" y="1930170"/>
            <a:ext cx="1981896" cy="71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2"/>
                </a:solidFill>
              </a:rPr>
              <a:t>US RWES – Medical Scientific</a:t>
            </a:r>
          </a:p>
          <a:p>
            <a:pPr>
              <a:lnSpc>
                <a:spcPct val="150000"/>
              </a:lnSpc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Key Sponsor: 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Jennifer Christian, VP &amp; GM, </a:t>
            </a:r>
            <a:r>
              <a:rPr lang="en-US" sz="900" b="1" i="1" err="1">
                <a:solidFill>
                  <a:schemeClr val="bg1">
                    <a:lumMod val="50000"/>
                  </a:schemeClr>
                </a:solidFill>
              </a:rPr>
              <a:t>MedSci</a:t>
            </a:r>
            <a:r>
              <a:rPr lang="en-US" sz="900" b="1" i="1">
                <a:solidFill>
                  <a:schemeClr val="bg1">
                    <a:lumMod val="50000"/>
                  </a:schemeClr>
                </a:solidFill>
              </a:rPr>
              <a:t>, RW, US</a:t>
            </a:r>
          </a:p>
        </p:txBody>
      </p:sp>
      <p:pic>
        <p:nvPicPr>
          <p:cNvPr id="51" name="Picture 50" descr="Logo, company name&#10;&#10;Description automatically generated">
            <a:extLst>
              <a:ext uri="{FF2B5EF4-FFF2-40B4-BE49-F238E27FC236}">
                <a16:creationId xmlns:a16="http://schemas.microsoft.com/office/drawing/2014/main" id="{2525B104-1BA9-4E32-BDF1-FDF56096B02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913" t="18533" r="16409" b="29186"/>
          <a:stretch/>
        </p:blipFill>
        <p:spPr>
          <a:xfrm>
            <a:off x="5703663" y="5126600"/>
            <a:ext cx="1286024" cy="63319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5316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A6DE1258-39A2-2945-9072-8BE7ECCDA81F}" vid="{B8DDE78A-610C-3E43-B28E-6C810C23E004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1eadb2d-2e64-414b-b6c8-0b703111ad91">
      <Terms xmlns="http://schemas.microsoft.com/office/infopath/2007/PartnerControls"/>
    </lcf76f155ced4ddcb4097134ff3c332f>
    <TaxCatchAll xmlns="5af3dc41-2a2e-48e6-a904-9e45d2b25eb6" xsi:nil="true"/>
    <_Flow_SignoffStatus xmlns="01eadb2d-2e64-414b-b6c8-0b703111ad9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4F6F6B396FDC40A2D768785D1B35CA" ma:contentTypeVersion="15" ma:contentTypeDescription="Create a new document." ma:contentTypeScope="" ma:versionID="755924a253169e88b00ec23cf68db840">
  <xsd:schema xmlns:xsd="http://www.w3.org/2001/XMLSchema" xmlns:xs="http://www.w3.org/2001/XMLSchema" xmlns:p="http://schemas.microsoft.com/office/2006/metadata/properties" xmlns:ns2="01eadb2d-2e64-414b-b6c8-0b703111ad91" xmlns:ns3="5af3dc41-2a2e-48e6-a904-9e45d2b25eb6" targetNamespace="http://schemas.microsoft.com/office/2006/metadata/properties" ma:root="true" ma:fieldsID="10389d26dc44d7d2544bdb543991159c" ns2:_="" ns3:_="">
    <xsd:import namespace="01eadb2d-2e64-414b-b6c8-0b703111ad91"/>
    <xsd:import namespace="5af3dc41-2a2e-48e6-a904-9e45d2b25e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ocTags" minOccurs="0"/>
                <xsd:element ref="ns2:MediaServiceObjectDetectorVersion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eadb2d-2e64-414b-b6c8-0b703111ad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ocTags" ma:index="2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Flow_SignoffStatus" ma:index="22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f3dc41-2a2e-48e6-a904-9e45d2b25eb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7ea8942d-fb3b-4d6e-9187-dbf7ef8a4498}" ma:internalName="TaxCatchAll" ma:showField="CatchAllData" ma:web="5af3dc41-2a2e-48e6-a904-9e45d2b25e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F091E5A-E7F5-4AA1-8A50-FC3EB21DD395}">
  <ds:schemaRefs>
    <ds:schemaRef ds:uri="01eadb2d-2e64-414b-b6c8-0b703111ad91"/>
    <ds:schemaRef ds:uri="5af3dc41-2a2e-48e6-a904-9e45d2b25eb6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B739FF7-9E54-453D-9C7E-2A8FACEC0E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8D0647-A7D4-4CBA-A69B-2328C1609A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eadb2d-2e64-414b-b6c8-0b703111ad91"/>
    <ds:schemaRef ds:uri="5af3dc41-2a2e-48e6-a904-9e45d2b25eb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</TotalTime>
  <Words>3087</Words>
  <Application>Microsoft Office PowerPoint</Application>
  <PresentationFormat>Widescreen</PresentationFormat>
  <Paragraphs>739</Paragraphs>
  <Slides>28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badi</vt:lpstr>
      <vt:lpstr>Arial</vt:lpstr>
      <vt:lpstr>Arial Narrow</vt:lpstr>
      <vt:lpstr>Arial Unicode MS</vt:lpstr>
      <vt:lpstr>Calibri</vt:lpstr>
      <vt:lpstr>Georgia</vt:lpstr>
      <vt:lpstr>System Font Regular</vt:lpstr>
      <vt:lpstr>Wingdings</vt:lpstr>
      <vt:lpstr>IQVIA_V2.1.0</vt:lpstr>
      <vt:lpstr>think-cell Slide</vt:lpstr>
      <vt:lpstr>Business Operation LT</vt:lpstr>
      <vt:lpstr>Agenda</vt:lpstr>
      <vt:lpstr>ED&amp;A</vt:lpstr>
      <vt:lpstr>PowerPoint Presentation</vt:lpstr>
      <vt:lpstr>ED&amp;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D&amp;A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&amp;A Portfolio</dc:title>
  <dc:creator>Tejada, Carmen</dc:creator>
  <cp:lastModifiedBy>Marin, Ayreen</cp:lastModifiedBy>
  <cp:revision>1</cp:revision>
  <cp:lastPrinted>2019-08-20T20:33:24Z</cp:lastPrinted>
  <dcterms:created xsi:type="dcterms:W3CDTF">2023-01-17T09:58:50Z</dcterms:created>
  <dcterms:modified xsi:type="dcterms:W3CDTF">2023-12-19T12:1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4F6F6B396FDC40A2D768785D1B35CA</vt:lpwstr>
  </property>
  <property fmtid="{D5CDD505-2E9C-101B-9397-08002B2CF9AE}" pid="3" name="MediaServiceImageTags">
    <vt:lpwstr/>
  </property>
</Properties>
</file>